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8"/>
  </p:notesMasterIdLst>
  <p:sldIdLst>
    <p:sldId id="337" r:id="rId2"/>
    <p:sldId id="334" r:id="rId3"/>
    <p:sldId id="335" r:id="rId4"/>
    <p:sldId id="336" r:id="rId5"/>
    <p:sldId id="338" r:id="rId6"/>
    <p:sldId id="339" r:id="rId7"/>
    <p:sldId id="340" r:id="rId8"/>
    <p:sldId id="341" r:id="rId9"/>
    <p:sldId id="342" r:id="rId10"/>
    <p:sldId id="343" r:id="rId11"/>
    <p:sldId id="344" r:id="rId12"/>
    <p:sldId id="345" r:id="rId13"/>
    <p:sldId id="356" r:id="rId14"/>
    <p:sldId id="357" r:id="rId15"/>
    <p:sldId id="358" r:id="rId16"/>
    <p:sldId id="359" r:id="rId17"/>
    <p:sldId id="346" r:id="rId18"/>
    <p:sldId id="347" r:id="rId19"/>
    <p:sldId id="348" r:id="rId20"/>
    <p:sldId id="349" r:id="rId21"/>
    <p:sldId id="350" r:id="rId22"/>
    <p:sldId id="351" r:id="rId23"/>
    <p:sldId id="352" r:id="rId24"/>
    <p:sldId id="353" r:id="rId25"/>
    <p:sldId id="354" r:id="rId26"/>
    <p:sldId id="355" r:id="rId27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AD47"/>
    <a:srgbClr val="7F7F7F"/>
    <a:srgbClr val="DFA884"/>
    <a:srgbClr val="E7BDA2"/>
    <a:srgbClr val="60646B"/>
    <a:srgbClr val="595959"/>
    <a:srgbClr val="AFABAB"/>
    <a:srgbClr val="D36D57"/>
    <a:srgbClr val="D9D9D9"/>
    <a:srgbClr val="D0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667" autoAdjust="0"/>
    <p:restoredTop sz="83002" autoAdjust="0"/>
  </p:normalViewPr>
  <p:slideViewPr>
    <p:cSldViewPr snapToGrid="0">
      <p:cViewPr varScale="1">
        <p:scale>
          <a:sx n="101" d="100"/>
          <a:sy n="101" d="100"/>
        </p:scale>
        <p:origin x="115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D:\STATISTIKA%20DN\ROK-2022\12%20-%20PROSINEC\Prezentace%20DN%20-%20rok%202022%20-%20tiskovka\tabulky%20-%20prezentace%20-%20rok%202022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STATISTIKA%20DN\ROK-2022\12%20-%20PROSINEC\Prezentace%20DN%20-%20rok%202022%20-%20tiskovka\tabulky%20-%20prezentace%20-%20rok%202022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2.int-ckp.cz\data\Komunikace\PR\PODKLADY%20DATA%20(Petr%20Jedli&#269;ka%20apod.)\cyklist&#233;\nehody%20dle%20v&#283;ku%20shor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file2.int-ckp.cz\data\Komunikace\PR&#366;ZKUMY\2023\Dopravn&#237;%20bezpe&#269;nost\Komunikace%20v&#253;sledk&#367;%202022\podklady\tab%20-%20nehody%20elektrokol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0690529899978717E-2"/>
          <c:y val="1.4660911369888468E-2"/>
          <c:w val="0.98731687593104911"/>
          <c:h val="0.911612824500414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Cyklisté!$P$2</c:f>
              <c:strCache>
                <c:ptCount val="1"/>
                <c:pt idx="0">
                  <c:v>2021</c:v>
                </c:pt>
              </c:strCache>
            </c:strRef>
          </c:tx>
          <c:spPr>
            <a:pattFill prst="dkUpDiag">
              <a:fgClr>
                <a:srgbClr val="DFA884"/>
              </a:fgClr>
              <a:bgClr>
                <a:sysClr val="window" lastClr="FFFFFF"/>
              </a:bgClr>
            </a:pattFill>
            <a:ln>
              <a:noFill/>
            </a:ln>
            <a:effectLst/>
          </c:spPr>
          <c:invertIfNegative val="0"/>
          <c:dLbls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rgbClr val="DFA884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yklisté!$B$3:$B$14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Cyklisté!$P$3:$P$14</c:f>
              <c:numCache>
                <c:formatCode>General</c:formatCode>
                <c:ptCount val="12"/>
                <c:pt idx="0">
                  <c:v>1</c:v>
                </c:pt>
                <c:pt idx="1">
                  <c:v>5</c:v>
                </c:pt>
                <c:pt idx="2">
                  <c:v>2</c:v>
                </c:pt>
                <c:pt idx="3">
                  <c:v>1</c:v>
                </c:pt>
                <c:pt idx="4">
                  <c:v>4</c:v>
                </c:pt>
                <c:pt idx="5">
                  <c:v>3</c:v>
                </c:pt>
                <c:pt idx="6">
                  <c:v>9</c:v>
                </c:pt>
                <c:pt idx="7">
                  <c:v>5</c:v>
                </c:pt>
                <c:pt idx="8">
                  <c:v>3</c:v>
                </c:pt>
                <c:pt idx="9">
                  <c:v>4</c:v>
                </c:pt>
                <c:pt idx="10">
                  <c:v>5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09-4CD3-9633-D0194FD7C4C6}"/>
            </c:ext>
          </c:extLst>
        </c:ser>
        <c:ser>
          <c:idx val="1"/>
          <c:order val="1"/>
          <c:tx>
            <c:strRef>
              <c:f>Cyklisté!$Q$2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DFA88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yklisté!$B$3:$B$14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Cyklisté!$Q$3:$Q$14</c:f>
              <c:numCache>
                <c:formatCode>General</c:formatCode>
                <c:ptCount val="12"/>
                <c:pt idx="0">
                  <c:v>0</c:v>
                </c:pt>
                <c:pt idx="1">
                  <c:v>1</c:v>
                </c:pt>
                <c:pt idx="2">
                  <c:v>4</c:v>
                </c:pt>
                <c:pt idx="3">
                  <c:v>3</c:v>
                </c:pt>
                <c:pt idx="4">
                  <c:v>6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7</c:v>
                </c:pt>
                <c:pt idx="10">
                  <c:v>4</c:v>
                </c:pt>
                <c:pt idx="1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809-4CD3-9633-D0194FD7C4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13"/>
        <c:axId val="257855360"/>
        <c:axId val="257855752"/>
      </c:barChart>
      <c:lineChart>
        <c:grouping val="standard"/>
        <c:varyColors val="0"/>
        <c:ser>
          <c:idx val="2"/>
          <c:order val="2"/>
          <c:tx>
            <c:v>rozdíl usmrcených</c:v>
          </c:tx>
          <c:spPr>
            <a:ln w="2222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C00000"/>
              </a:solidFill>
              <a:ln w="6350">
                <a:solidFill>
                  <a:srgbClr val="C00000"/>
                </a:solidFill>
              </a:ln>
              <a:effectLst/>
            </c:spPr>
          </c:marker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809-4CD3-9633-D0194FD7C4C6}"/>
                </c:ext>
              </c:extLst>
            </c:dLbl>
            <c:dLbl>
              <c:idx val="10"/>
              <c:layout>
                <c:manualLayout>
                  <c:x val="-2.4910063137415857E-3"/>
                  <c:y val="2.86573365608450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809-4CD3-9633-D0194FD7C4C6}"/>
                </c:ext>
              </c:extLst>
            </c:dLbl>
            <c:dLbl>
              <c:idx val="11"/>
              <c:layout>
                <c:manualLayout>
                  <c:x val="-5.563677422079103E-3"/>
                  <c:y val="-3.32582862998115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809-4CD3-9633-D0194FD7C4C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rgbClr val="C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yklisté!$B$3:$B$14</c:f>
              <c:strCache>
                <c:ptCount val="12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  <c:pt idx="11">
                  <c:v>prosinec</c:v>
                </c:pt>
              </c:strCache>
            </c:strRef>
          </c:cat>
          <c:val>
            <c:numRef>
              <c:f>Cyklisté!$R$3:$R$14</c:f>
              <c:numCache>
                <c:formatCode>General</c:formatCode>
                <c:ptCount val="12"/>
                <c:pt idx="0">
                  <c:v>-1</c:v>
                </c:pt>
                <c:pt idx="1">
                  <c:v>-4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-5</c:v>
                </c:pt>
                <c:pt idx="7">
                  <c:v>-1</c:v>
                </c:pt>
                <c:pt idx="8">
                  <c:v>1</c:v>
                </c:pt>
                <c:pt idx="9">
                  <c:v>3</c:v>
                </c:pt>
                <c:pt idx="10">
                  <c:v>-1</c:v>
                </c:pt>
                <c:pt idx="11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809-4CD3-9633-D0194FD7C4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7855360"/>
        <c:axId val="257855752"/>
      </c:lineChart>
      <c:catAx>
        <c:axId val="257855360"/>
        <c:scaling>
          <c:orientation val="minMax"/>
        </c:scaling>
        <c:delete val="0"/>
        <c:axPos val="b"/>
        <c:majorGridlines>
          <c:spPr>
            <a:ln w="6350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low"/>
        <c:spPr>
          <a:noFill/>
          <a:ln w="635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257855752"/>
        <c:crosses val="autoZero"/>
        <c:auto val="1"/>
        <c:lblAlgn val="ctr"/>
        <c:lblOffset val="100"/>
        <c:noMultiLvlLbl val="0"/>
      </c:catAx>
      <c:valAx>
        <c:axId val="2578557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57855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1.4284305119640326E-2"/>
          <c:y val="1.9835626537085791E-2"/>
          <c:w val="0.25084617796962277"/>
          <c:h val="0.25623853022942511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Arial Narrow" panose="020B0606020202030204" pitchFamily="34" charset="0"/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v>2021</c:v>
          </c:tx>
          <c:spPr>
            <a:pattFill prst="dkUpDiag">
              <a:fgClr>
                <a:srgbClr val="DFA884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rgbClr val="DFA884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yklisté!$B$85:$B$95</c:f>
              <c:strCache>
                <c:ptCount val="11"/>
                <c:pt idx="0">
                  <c:v>do 6 let</c:v>
                </c:pt>
                <c:pt idx="1">
                  <c:v>6-9</c:v>
                </c:pt>
                <c:pt idx="2">
                  <c:v>10-14</c:v>
                </c:pt>
                <c:pt idx="3">
                  <c:v>15 - 17</c:v>
                </c:pt>
                <c:pt idx="4">
                  <c:v>18-20</c:v>
                </c:pt>
                <c:pt idx="5">
                  <c:v>21-24</c:v>
                </c:pt>
                <c:pt idx="6">
                  <c:v>25-34</c:v>
                </c:pt>
                <c:pt idx="7">
                  <c:v>35-44</c:v>
                </c:pt>
                <c:pt idx="8">
                  <c:v>45-54</c:v>
                </c:pt>
                <c:pt idx="9">
                  <c:v>55-64</c:v>
                </c:pt>
                <c:pt idx="10">
                  <c:v>nad 64</c:v>
                </c:pt>
              </c:strCache>
            </c:strRef>
          </c:cat>
          <c:val>
            <c:numRef>
              <c:f>Cyklisté!$C$85:$C$9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2</c:v>
                </c:pt>
                <c:pt idx="7">
                  <c:v>5</c:v>
                </c:pt>
                <c:pt idx="8">
                  <c:v>6</c:v>
                </c:pt>
                <c:pt idx="9">
                  <c:v>12</c:v>
                </c:pt>
                <c:pt idx="10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2D-4619-B491-0D2CEE729810}"/>
            </c:ext>
          </c:extLst>
        </c:ser>
        <c:ser>
          <c:idx val="0"/>
          <c:order val="1"/>
          <c:tx>
            <c:v>2022</c:v>
          </c:tx>
          <c:spPr>
            <a:solidFill>
              <a:srgbClr val="DFA88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4">
                        <a:lumMod val="50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yklisté!$B$85:$B$95</c:f>
              <c:strCache>
                <c:ptCount val="11"/>
                <c:pt idx="0">
                  <c:v>do 6 let</c:v>
                </c:pt>
                <c:pt idx="1">
                  <c:v>6-9</c:v>
                </c:pt>
                <c:pt idx="2">
                  <c:v>10-14</c:v>
                </c:pt>
                <c:pt idx="3">
                  <c:v>15 - 17</c:v>
                </c:pt>
                <c:pt idx="4">
                  <c:v>18-20</c:v>
                </c:pt>
                <c:pt idx="5">
                  <c:v>21-24</c:v>
                </c:pt>
                <c:pt idx="6">
                  <c:v>25-34</c:v>
                </c:pt>
                <c:pt idx="7">
                  <c:v>35-44</c:v>
                </c:pt>
                <c:pt idx="8">
                  <c:v>45-54</c:v>
                </c:pt>
                <c:pt idx="9">
                  <c:v>55-64</c:v>
                </c:pt>
                <c:pt idx="10">
                  <c:v>nad 64</c:v>
                </c:pt>
              </c:strCache>
            </c:strRef>
          </c:cat>
          <c:val>
            <c:numRef>
              <c:f>Cyklisté!$D$85:$D$9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2</c:v>
                </c:pt>
                <c:pt idx="7">
                  <c:v>3</c:v>
                </c:pt>
                <c:pt idx="8">
                  <c:v>7</c:v>
                </c:pt>
                <c:pt idx="9">
                  <c:v>9</c:v>
                </c:pt>
                <c:pt idx="1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2D-4619-B491-0D2CEE7298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axId val="560231840"/>
        <c:axId val="560222688"/>
      </c:barChart>
      <c:lineChart>
        <c:grouping val="standard"/>
        <c:varyColors val="0"/>
        <c:ser>
          <c:idx val="2"/>
          <c:order val="2"/>
          <c:tx>
            <c:v>rozdíl</c:v>
          </c:tx>
          <c:spPr>
            <a:ln w="25400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C0000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C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yklisté!$B$85:$B$95</c:f>
              <c:strCache>
                <c:ptCount val="11"/>
                <c:pt idx="0">
                  <c:v>do 6 let</c:v>
                </c:pt>
                <c:pt idx="1">
                  <c:v>6-9</c:v>
                </c:pt>
                <c:pt idx="2">
                  <c:v>10-14</c:v>
                </c:pt>
                <c:pt idx="3">
                  <c:v>15 - 17</c:v>
                </c:pt>
                <c:pt idx="4">
                  <c:v>18-20</c:v>
                </c:pt>
                <c:pt idx="5">
                  <c:v>21-24</c:v>
                </c:pt>
                <c:pt idx="6">
                  <c:v>25-34</c:v>
                </c:pt>
                <c:pt idx="7">
                  <c:v>35-44</c:v>
                </c:pt>
                <c:pt idx="8">
                  <c:v>45-54</c:v>
                </c:pt>
                <c:pt idx="9">
                  <c:v>55-64</c:v>
                </c:pt>
                <c:pt idx="10">
                  <c:v>nad 64</c:v>
                </c:pt>
              </c:strCache>
            </c:strRef>
          </c:cat>
          <c:val>
            <c:numRef>
              <c:f>Cyklisté!$F$85:$F$95</c:f>
              <c:numCache>
                <c:formatCode>General</c:formatCode>
                <c:ptCount val="11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-1</c:v>
                </c:pt>
                <c:pt idx="6">
                  <c:v>0</c:v>
                </c:pt>
                <c:pt idx="7">
                  <c:v>-2</c:v>
                </c:pt>
                <c:pt idx="8">
                  <c:v>1</c:v>
                </c:pt>
                <c:pt idx="9">
                  <c:v>-3</c:v>
                </c:pt>
                <c:pt idx="10">
                  <c:v>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2D-4619-B491-0D2CEE7298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0231840"/>
        <c:axId val="560222688"/>
      </c:lineChart>
      <c:catAx>
        <c:axId val="560231840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560222688"/>
        <c:crosses val="autoZero"/>
        <c:auto val="1"/>
        <c:lblAlgn val="ctr"/>
        <c:lblOffset val="100"/>
        <c:noMultiLvlLbl val="0"/>
      </c:catAx>
      <c:valAx>
        <c:axId val="56022268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60231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rgbClr val="005A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cs-CZ"/>
              <a:t>Podíl zraněných a usmrcených cyklistů viníků nehod ze všech cyklistů viníků  nehod dle věku</a:t>
            </a:r>
          </a:p>
        </c:rich>
      </c:tx>
      <c:layout>
        <c:manualLayout>
          <c:xMode val="edge"/>
          <c:yMode val="edge"/>
          <c:x val="0.13926828110596776"/>
          <c:y val="3.075946755892938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rgbClr val="005AA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6.8889174844109849E-2"/>
          <c:y val="0.1219979360471775"/>
          <c:w val="0.9310438979487754"/>
          <c:h val="0.80130002617597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AX$9</c:f>
              <c:strCache>
                <c:ptCount val="1"/>
                <c:pt idx="0">
                  <c:v>Úmrtí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A6E-4801-9C25-9FEFD5E4E9F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6E-4801-9C25-9FEFD5E4E9FD}"/>
                </c:ext>
              </c:extLst>
            </c:dLbl>
            <c:dLbl>
              <c:idx val="2"/>
              <c:layout>
                <c:manualLayout>
                  <c:x val="1.6000173356208961E-3"/>
                  <c:y val="-1.210733774578546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000" b="0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A6E-4801-9C25-9FEFD5E4E9F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6E-4801-9C25-9FEFD5E4E9FD}"/>
                </c:ext>
              </c:extLst>
            </c:dLbl>
            <c:dLbl>
              <c:idx val="4"/>
              <c:layout>
                <c:manualLayout>
                  <c:x val="1.6000173356207788E-3"/>
                  <c:y val="-1.614311699438041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000" b="0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2720354513447326E-2"/>
                      <c:h val="5.85187991046290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BA6E-4801-9C25-9FEFD5E4E9FD}"/>
                </c:ext>
              </c:extLst>
            </c:dLbl>
            <c:dLbl>
              <c:idx val="5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000" b="0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BA6E-4801-9C25-9FEFD5E4E9FD}"/>
                </c:ext>
              </c:extLst>
            </c:dLbl>
            <c:dLbl>
              <c:idx val="6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000" b="0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BA6E-4801-9C25-9FEFD5E4E9FD}"/>
                </c:ext>
              </c:extLst>
            </c:dLbl>
            <c:dLbl>
              <c:idx val="7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000" b="0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BA6E-4801-9C25-9FEFD5E4E9FD}"/>
                </c:ext>
              </c:extLst>
            </c:dLbl>
            <c:dLbl>
              <c:idx val="8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000" b="0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BA6E-4801-9C25-9FEFD5E4E9FD}"/>
                </c:ext>
              </c:extLst>
            </c:dLbl>
            <c:dLbl>
              <c:idx val="9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cs-CZ" sz="1000" b="0" i="0" u="none" strike="noStrike" kern="1200" baseline="0">
                      <a:solidFill>
                        <a:schemeClr val="bg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BA6E-4801-9C25-9FEFD5E4E9F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000" b="0" i="0" u="none" strike="noStrike" kern="1200" baseline="0">
                    <a:solidFill>
                      <a:srgbClr val="005AA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ata!$S$95:$S$104</c:f>
              <c:numCache>
                <c:formatCode>General</c:formatCode>
                <c:ptCount val="10"/>
                <c:pt idx="0">
                  <c:v>0</c:v>
                </c:pt>
                <c:pt idx="1">
                  <c:v>18</c:v>
                </c:pt>
                <c:pt idx="2">
                  <c:v>25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65</c:v>
                </c:pt>
                <c:pt idx="8">
                  <c:v>70</c:v>
                </c:pt>
                <c:pt idx="9">
                  <c:v>80</c:v>
                </c:pt>
              </c:numCache>
            </c:numRef>
          </c:cat>
          <c:val>
            <c:numRef>
              <c:f>data!$AX$95:$AX$104</c:f>
              <c:numCache>
                <c:formatCode>0.0%</c:formatCode>
                <c:ptCount val="10"/>
                <c:pt idx="0">
                  <c:v>7.0175438596491223E-4</c:v>
                </c:pt>
                <c:pt idx="1">
                  <c:v>4.4709388971684054E-3</c:v>
                </c:pt>
                <c:pt idx="2">
                  <c:v>9.852216748768473E-3</c:v>
                </c:pt>
                <c:pt idx="3">
                  <c:v>4.4728434504792336E-3</c:v>
                </c:pt>
                <c:pt idx="4">
                  <c:v>5.3590568060021436E-3</c:v>
                </c:pt>
                <c:pt idx="5">
                  <c:v>1.4585764294049008E-2</c:v>
                </c:pt>
                <c:pt idx="6">
                  <c:v>2.0434227330779056E-2</c:v>
                </c:pt>
                <c:pt idx="7">
                  <c:v>1.8970189701897018E-2</c:v>
                </c:pt>
                <c:pt idx="8">
                  <c:v>3.273040482342808E-2</c:v>
                </c:pt>
                <c:pt idx="9">
                  <c:v>3.869047619047619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A6E-4801-9C25-9FEFD5E4E9FD}"/>
            </c:ext>
          </c:extLst>
        </c:ser>
        <c:ser>
          <c:idx val="1"/>
          <c:order val="1"/>
          <c:tx>
            <c:strRef>
              <c:f>data!$AY$9</c:f>
              <c:strCache>
                <c:ptCount val="1"/>
                <c:pt idx="0">
                  <c:v>Těžké zranění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2.82504547401657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A6E-4801-9C25-9FEFD5E4E9FD}"/>
                </c:ext>
              </c:extLst>
            </c:dLbl>
            <c:dLbl>
              <c:idx val="4"/>
              <c:layout>
                <c:manualLayout>
                  <c:x val="-5.8666624584246111E-17"/>
                  <c:y val="-2.42146754915706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BA6E-4801-9C25-9FEFD5E4E9FD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ata!$S$95:$S$104</c:f>
              <c:numCache>
                <c:formatCode>General</c:formatCode>
                <c:ptCount val="10"/>
                <c:pt idx="0">
                  <c:v>0</c:v>
                </c:pt>
                <c:pt idx="1">
                  <c:v>18</c:v>
                </c:pt>
                <c:pt idx="2">
                  <c:v>25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65</c:v>
                </c:pt>
                <c:pt idx="8">
                  <c:v>70</c:v>
                </c:pt>
                <c:pt idx="9">
                  <c:v>80</c:v>
                </c:pt>
              </c:numCache>
            </c:numRef>
          </c:cat>
          <c:val>
            <c:numRef>
              <c:f>data!$AY$95:$AY$104</c:f>
              <c:numCache>
                <c:formatCode>0.0%</c:formatCode>
                <c:ptCount val="10"/>
                <c:pt idx="0">
                  <c:v>3.8596491228070177E-2</c:v>
                </c:pt>
                <c:pt idx="1">
                  <c:v>3.129657228017884E-2</c:v>
                </c:pt>
                <c:pt idx="2">
                  <c:v>4.4334975369458129E-2</c:v>
                </c:pt>
                <c:pt idx="3">
                  <c:v>4.9201277955271565E-2</c:v>
                </c:pt>
                <c:pt idx="4">
                  <c:v>6.2700964630225078E-2</c:v>
                </c:pt>
                <c:pt idx="5">
                  <c:v>5.8343057176196034E-2</c:v>
                </c:pt>
                <c:pt idx="6">
                  <c:v>6.3856960408684549E-2</c:v>
                </c:pt>
                <c:pt idx="7">
                  <c:v>7.1815718157181574E-2</c:v>
                </c:pt>
                <c:pt idx="8">
                  <c:v>8.2687338501291993E-2</c:v>
                </c:pt>
                <c:pt idx="9">
                  <c:v>6.547619047619047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A6E-4801-9C25-9FEFD5E4E9FD}"/>
            </c:ext>
          </c:extLst>
        </c:ser>
        <c:ser>
          <c:idx val="2"/>
          <c:order val="2"/>
          <c:tx>
            <c:strRef>
              <c:f>data!$AZ$9</c:f>
              <c:strCache>
                <c:ptCount val="1"/>
                <c:pt idx="0">
                  <c:v>Lehké zranění</c:v>
                </c:pt>
              </c:strCache>
            </c:strRef>
          </c:tx>
          <c:spPr>
            <a:solidFill>
              <a:srgbClr val="FFC000"/>
            </a:solidFill>
            <a:ln>
              <a:solidFill>
                <a:srgbClr val="FFC000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5AA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data!$S$95:$S$104</c:f>
              <c:numCache>
                <c:formatCode>General</c:formatCode>
                <c:ptCount val="10"/>
                <c:pt idx="0">
                  <c:v>0</c:v>
                </c:pt>
                <c:pt idx="1">
                  <c:v>18</c:v>
                </c:pt>
                <c:pt idx="2">
                  <c:v>25</c:v>
                </c:pt>
                <c:pt idx="3">
                  <c:v>30</c:v>
                </c:pt>
                <c:pt idx="4">
                  <c:v>40</c:v>
                </c:pt>
                <c:pt idx="5">
                  <c:v>50</c:v>
                </c:pt>
                <c:pt idx="6">
                  <c:v>60</c:v>
                </c:pt>
                <c:pt idx="7">
                  <c:v>65</c:v>
                </c:pt>
                <c:pt idx="8">
                  <c:v>70</c:v>
                </c:pt>
                <c:pt idx="9">
                  <c:v>80</c:v>
                </c:pt>
              </c:numCache>
            </c:numRef>
          </c:cat>
          <c:val>
            <c:numRef>
              <c:f>data!$AZ$95:$AZ$104</c:f>
              <c:numCache>
                <c:formatCode>0.0%</c:formatCode>
                <c:ptCount val="10"/>
                <c:pt idx="0">
                  <c:v>0.71017543859649124</c:v>
                </c:pt>
                <c:pt idx="1">
                  <c:v>0.70640834575260802</c:v>
                </c:pt>
                <c:pt idx="2">
                  <c:v>0.7142857142857143</c:v>
                </c:pt>
                <c:pt idx="3">
                  <c:v>0.72268370607028753</c:v>
                </c:pt>
                <c:pt idx="4">
                  <c:v>0.76956055734190787</c:v>
                </c:pt>
                <c:pt idx="5">
                  <c:v>0.79813302217036175</c:v>
                </c:pt>
                <c:pt idx="6">
                  <c:v>0.80587484035759893</c:v>
                </c:pt>
                <c:pt idx="7">
                  <c:v>0.79403794037940378</c:v>
                </c:pt>
                <c:pt idx="8">
                  <c:v>0.79242032730404821</c:v>
                </c:pt>
                <c:pt idx="9">
                  <c:v>0.80952380952380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A6E-4801-9C25-9FEFD5E4E9F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38100656"/>
        <c:axId val="438095736"/>
      </c:barChart>
      <c:catAx>
        <c:axId val="438100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5A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38095736"/>
        <c:crosses val="autoZero"/>
        <c:auto val="1"/>
        <c:lblAlgn val="ctr"/>
        <c:lblOffset val="100"/>
        <c:noMultiLvlLbl val="0"/>
      </c:catAx>
      <c:valAx>
        <c:axId val="4380957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dash"/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5A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381006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8641229992059015E-2"/>
          <c:y val="0.12691341548408144"/>
          <c:w val="0.55033287308280776"/>
          <c:h val="6.62402251264983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5AA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solidFill>
            <a:srgbClr val="005AA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grafika!$D$4</c:f>
              <c:strCache>
                <c:ptCount val="1"/>
                <c:pt idx="0">
                  <c:v>elektrokolo</c:v>
                </c:pt>
              </c:strCache>
            </c:strRef>
          </c:tx>
          <c:spPr>
            <a:solidFill>
              <a:srgbClr val="FFC000">
                <a:alpha val="4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5AA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ka!$C$5:$C$15</c:f>
              <c:numCache>
                <c:formatCode>@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grafika!$D$5:$D$15</c:f>
              <c:numCache>
                <c:formatCode>General</c:formatCode>
                <c:ptCount val="11"/>
                <c:pt idx="0">
                  <c:v>25</c:v>
                </c:pt>
                <c:pt idx="1">
                  <c:v>29</c:v>
                </c:pt>
                <c:pt idx="2">
                  <c:v>66</c:v>
                </c:pt>
                <c:pt idx="3">
                  <c:v>94</c:v>
                </c:pt>
                <c:pt idx="4">
                  <c:v>110</c:v>
                </c:pt>
                <c:pt idx="5">
                  <c:v>143</c:v>
                </c:pt>
                <c:pt idx="6">
                  <c:v>196</c:v>
                </c:pt>
                <c:pt idx="7">
                  <c:v>298</c:v>
                </c:pt>
                <c:pt idx="8">
                  <c:v>341</c:v>
                </c:pt>
                <c:pt idx="9">
                  <c:v>416</c:v>
                </c:pt>
                <c:pt idx="10">
                  <c:v>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6A-4238-96A4-0943235B4CE0}"/>
            </c:ext>
          </c:extLst>
        </c:ser>
        <c:ser>
          <c:idx val="1"/>
          <c:order val="1"/>
          <c:tx>
            <c:strRef>
              <c:f>grafika!$E$4</c:f>
              <c:strCache>
                <c:ptCount val="1"/>
                <c:pt idx="0">
                  <c:v>elektrokoloběžka</c:v>
                </c:pt>
              </c:strCache>
            </c:strRef>
          </c:tx>
          <c:spPr>
            <a:solidFill>
              <a:srgbClr val="005AA0">
                <a:alpha val="50000"/>
              </a:srgbClr>
            </a:solidFill>
            <a:ln>
              <a:noFill/>
            </a:ln>
            <a:effectLst/>
          </c:spPr>
          <c:invertIfNegative val="0"/>
          <c:dLbls>
            <c:dLbl>
              <c:idx val="10"/>
              <c:layout>
                <c:manualLayout>
                  <c:x val="0"/>
                  <c:y val="-4.62427829853494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66A-4238-96A4-0943235B4C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5AA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ka!$C$5:$C$15</c:f>
              <c:numCache>
                <c:formatCode>@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grafika!$E$5:$E$15</c:f>
              <c:numCache>
                <c:formatCode>General</c:formatCode>
                <c:ptCount val="11"/>
                <c:pt idx="1">
                  <c:v>1</c:v>
                </c:pt>
                <c:pt idx="4">
                  <c:v>4</c:v>
                </c:pt>
                <c:pt idx="5">
                  <c:v>4</c:v>
                </c:pt>
                <c:pt idx="6">
                  <c:v>5</c:v>
                </c:pt>
                <c:pt idx="7">
                  <c:v>13</c:v>
                </c:pt>
                <c:pt idx="8">
                  <c:v>29</c:v>
                </c:pt>
                <c:pt idx="9">
                  <c:v>99</c:v>
                </c:pt>
                <c:pt idx="10">
                  <c:v>1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6A-4238-96A4-0943235B4CE0}"/>
            </c:ext>
          </c:extLst>
        </c:ser>
        <c:ser>
          <c:idx val="2"/>
          <c:order val="2"/>
          <c:tx>
            <c:strRef>
              <c:f>grafika!$F$4</c:f>
              <c:strCache>
                <c:ptCount val="1"/>
                <c:pt idx="0">
                  <c:v>kolo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5AA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ka!$C$5:$C$15</c:f>
              <c:numCache>
                <c:formatCode>@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grafika!$F$5:$F$15</c:f>
              <c:numCache>
                <c:formatCode>General</c:formatCode>
                <c:ptCount val="11"/>
                <c:pt idx="0">
                  <c:v>3548</c:v>
                </c:pt>
                <c:pt idx="1">
                  <c:v>3583</c:v>
                </c:pt>
                <c:pt idx="2">
                  <c:v>3942</c:v>
                </c:pt>
                <c:pt idx="3">
                  <c:v>3717</c:v>
                </c:pt>
                <c:pt idx="4">
                  <c:v>3628</c:v>
                </c:pt>
                <c:pt idx="5">
                  <c:v>3395</c:v>
                </c:pt>
                <c:pt idx="6">
                  <c:v>3774</c:v>
                </c:pt>
                <c:pt idx="7">
                  <c:v>3481</c:v>
                </c:pt>
                <c:pt idx="8">
                  <c:v>3553</c:v>
                </c:pt>
                <c:pt idx="9">
                  <c:v>3221</c:v>
                </c:pt>
                <c:pt idx="10">
                  <c:v>32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66A-4238-96A4-0943235B4CE0}"/>
            </c:ext>
          </c:extLst>
        </c:ser>
        <c:ser>
          <c:idx val="3"/>
          <c:order val="3"/>
          <c:tx>
            <c:strRef>
              <c:f>grafika!$G$4</c:f>
              <c:strCache>
                <c:ptCount val="1"/>
                <c:pt idx="0">
                  <c:v>koloběžka</c:v>
                </c:pt>
              </c:strCache>
            </c:strRef>
          </c:tx>
          <c:spPr>
            <a:solidFill>
              <a:srgbClr val="005AA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8497113194140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66A-4238-96A4-0943235B4CE0}"/>
                </c:ext>
              </c:extLst>
            </c:dLbl>
            <c:dLbl>
              <c:idx val="1"/>
              <c:layout>
                <c:manualLayout>
                  <c:x val="5.0073227087292453E-8"/>
                  <c:y val="-3.0057808940477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7614751813051397E-3"/>
                      <c:h val="6.197698092521613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66A-4238-96A4-0943235B4CE0}"/>
                </c:ext>
              </c:extLst>
            </c:dLbl>
            <c:dLbl>
              <c:idx val="2"/>
              <c:layout>
                <c:manualLayout>
                  <c:x val="0"/>
                  <c:y val="-2.3121391492675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66A-4238-96A4-0943235B4CE0}"/>
                </c:ext>
              </c:extLst>
            </c:dLbl>
            <c:dLbl>
              <c:idx val="3"/>
              <c:layout>
                <c:manualLayout>
                  <c:x val="1.2718599680172284E-3"/>
                  <c:y val="-2.31213914926751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66A-4238-96A4-0943235B4CE0}"/>
                </c:ext>
              </c:extLst>
            </c:dLbl>
            <c:dLbl>
              <c:idx val="4"/>
              <c:layout>
                <c:manualLayout>
                  <c:x val="1.2718599680172284E-3"/>
                  <c:y val="-2.7745669791210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66A-4238-96A4-0943235B4CE0}"/>
                </c:ext>
              </c:extLst>
            </c:dLbl>
            <c:dLbl>
              <c:idx val="5"/>
              <c:layout>
                <c:manualLayout>
                  <c:x val="0"/>
                  <c:y val="-2.77456697912101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66A-4238-96A4-0943235B4CE0}"/>
                </c:ext>
              </c:extLst>
            </c:dLbl>
            <c:dLbl>
              <c:idx val="6"/>
              <c:layout>
                <c:manualLayout>
                  <c:x val="-9.3268653540485452E-17"/>
                  <c:y val="-2.54335306419426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66A-4238-96A4-0943235B4CE0}"/>
                </c:ext>
              </c:extLst>
            </c:dLbl>
            <c:dLbl>
              <c:idx val="7"/>
              <c:layout>
                <c:manualLayout>
                  <c:x val="1.2718599680172284E-3"/>
                  <c:y val="-2.3121391492675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66A-4238-96A4-0943235B4CE0}"/>
                </c:ext>
              </c:extLst>
            </c:dLbl>
            <c:dLbl>
              <c:idx val="8"/>
              <c:layout>
                <c:manualLayout>
                  <c:x val="0"/>
                  <c:y val="-2.77456697912101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66A-4238-96A4-0943235B4CE0}"/>
                </c:ext>
              </c:extLst>
            </c:dLbl>
            <c:dLbl>
              <c:idx val="9"/>
              <c:layout>
                <c:manualLayout>
                  <c:x val="-1.2718599680172284E-3"/>
                  <c:y val="-3.00578089404777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66A-4238-96A4-0943235B4CE0}"/>
                </c:ext>
              </c:extLst>
            </c:dLbl>
            <c:dLbl>
              <c:idx val="10"/>
              <c:layout>
                <c:manualLayout>
                  <c:x val="1.2718599680172284E-3"/>
                  <c:y val="-2.3121391492675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66A-4238-96A4-0943235B4C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5AA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grafika!$C$5:$C$15</c:f>
              <c:numCache>
                <c:formatCode>@</c:formatCode>
                <c:ptCount val="11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</c:numCache>
            </c:numRef>
          </c:cat>
          <c:val>
            <c:numRef>
              <c:f>grafika!$G$5:$G$15</c:f>
              <c:numCache>
                <c:formatCode>General</c:formatCode>
                <c:ptCount val="11"/>
                <c:pt idx="0">
                  <c:v>5</c:v>
                </c:pt>
                <c:pt idx="1">
                  <c:v>8</c:v>
                </c:pt>
                <c:pt idx="2">
                  <c:v>10</c:v>
                </c:pt>
                <c:pt idx="3">
                  <c:v>18</c:v>
                </c:pt>
                <c:pt idx="4">
                  <c:v>16</c:v>
                </c:pt>
                <c:pt idx="5">
                  <c:v>19</c:v>
                </c:pt>
                <c:pt idx="6">
                  <c:v>19</c:v>
                </c:pt>
                <c:pt idx="7">
                  <c:v>29</c:v>
                </c:pt>
                <c:pt idx="8">
                  <c:v>29</c:v>
                </c:pt>
                <c:pt idx="9">
                  <c:v>57</c:v>
                </c:pt>
                <c:pt idx="10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66A-4238-96A4-0943235B4C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730498488"/>
        <c:axId val="730500456"/>
      </c:barChart>
      <c:catAx>
        <c:axId val="730498488"/>
        <c:scaling>
          <c:orientation val="minMax"/>
        </c:scaling>
        <c:delete val="0"/>
        <c:axPos val="b"/>
        <c:numFmt formatCode="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5AA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730500456"/>
        <c:crosses val="autoZero"/>
        <c:auto val="1"/>
        <c:lblAlgn val="ctr"/>
        <c:lblOffset val="100"/>
        <c:noMultiLvlLbl val="0"/>
      </c:catAx>
      <c:valAx>
        <c:axId val="73050045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0498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5AA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>
          <a:solidFill>
            <a:srgbClr val="005AA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23A739-DC1A-4E08-97F0-776F29B789C4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23CDE0-3D8E-4775-8B3F-82DDB8DC0B3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14619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23CDE0-3D8E-4775-8B3F-82DDB8DC0B3F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91990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E88946-C092-4115-8273-C5DB62AA7794}" type="slidenum">
              <a:rPr lang="cs-CZ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668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57218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502532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04006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Úvodní snímek bez pod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900" y="158750"/>
            <a:ext cx="3297238" cy="102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Zástupný symbol pro text 9"/>
          <p:cNvSpPr>
            <a:spLocks noGrp="1"/>
          </p:cNvSpPr>
          <p:nvPr>
            <p:ph type="body" sz="quarter" idx="10"/>
          </p:nvPr>
        </p:nvSpPr>
        <p:spPr>
          <a:xfrm>
            <a:off x="672786" y="1551788"/>
            <a:ext cx="2460429" cy="792639"/>
          </a:xfrm>
          <a:prstGeom prst="rect">
            <a:avLst/>
          </a:prstGeom>
        </p:spPr>
        <p:txBody>
          <a:bodyPr lIns="64298" tIns="32148" rIns="64298" bIns="32148"/>
          <a:lstStyle>
            <a:lvl1pPr marL="0" indent="0">
              <a:buNone/>
              <a:defRPr sz="1800" b="1">
                <a:solidFill>
                  <a:srgbClr val="FABE00"/>
                </a:solidFill>
              </a:defRPr>
            </a:lvl1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11" name="Zástupný symbol pro text 9"/>
          <p:cNvSpPr>
            <a:spLocks noGrp="1"/>
          </p:cNvSpPr>
          <p:nvPr>
            <p:ph type="body" sz="quarter" idx="11"/>
          </p:nvPr>
        </p:nvSpPr>
        <p:spPr>
          <a:xfrm>
            <a:off x="672787" y="2607820"/>
            <a:ext cx="10841964" cy="1836740"/>
          </a:xfrm>
          <a:prstGeom prst="rect">
            <a:avLst/>
          </a:prstGeom>
        </p:spPr>
        <p:txBody>
          <a:bodyPr lIns="64298" tIns="32148" rIns="64298" bIns="32148"/>
          <a:lstStyle>
            <a:lvl1pPr marL="0" indent="0">
              <a:buNone/>
              <a:defRPr lang="cs-CZ" sz="3900" smtClean="0">
                <a:solidFill>
                  <a:srgbClr val="FABE00"/>
                </a:solidFill>
                <a:latin typeface="+mj-lt"/>
              </a:defRPr>
            </a:lvl1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14" name="Zástupný symbol pro text 9"/>
          <p:cNvSpPr>
            <a:spLocks noGrp="1"/>
          </p:cNvSpPr>
          <p:nvPr>
            <p:ph type="body" sz="quarter" idx="13"/>
          </p:nvPr>
        </p:nvSpPr>
        <p:spPr>
          <a:xfrm>
            <a:off x="6266672" y="4705615"/>
            <a:ext cx="5254275" cy="782573"/>
          </a:xfrm>
          <a:prstGeom prst="rect">
            <a:avLst/>
          </a:prstGeom>
        </p:spPr>
        <p:txBody>
          <a:bodyPr lIns="64298" tIns="32148" rIns="64298" bIns="32148"/>
          <a:lstStyle>
            <a:lvl1pPr marL="0" indent="0">
              <a:buNone/>
              <a:defRPr lang="cs-CZ" sz="1800" smtClean="0">
                <a:solidFill>
                  <a:srgbClr val="005AA0"/>
                </a:solidFill>
                <a:latin typeface="+mj-lt"/>
              </a:defRPr>
            </a:lvl1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5" name="Zástupný symbol pro text 9"/>
          <p:cNvSpPr>
            <a:spLocks noGrp="1"/>
          </p:cNvSpPr>
          <p:nvPr>
            <p:ph type="body" sz="quarter" idx="14"/>
          </p:nvPr>
        </p:nvSpPr>
        <p:spPr>
          <a:xfrm>
            <a:off x="6266672" y="5749242"/>
            <a:ext cx="5254275" cy="598569"/>
          </a:xfrm>
          <a:prstGeom prst="rect">
            <a:avLst/>
          </a:prstGeom>
        </p:spPr>
        <p:txBody>
          <a:bodyPr lIns="64298" tIns="32148" rIns="64298" bIns="32148"/>
          <a:lstStyle>
            <a:lvl1pPr marL="0" indent="0">
              <a:buNone/>
              <a:defRPr lang="cs-CZ" sz="1800" smtClean="0">
                <a:solidFill>
                  <a:srgbClr val="005AA0"/>
                </a:solidFill>
                <a:latin typeface="+mj-lt"/>
              </a:defRPr>
            </a:lvl1pPr>
          </a:lstStyle>
          <a:p>
            <a:pPr lvl="0"/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665567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ov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57E3B57C-77F2-4EAF-B496-F09B324DAB7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458450" y="6129338"/>
            <a:ext cx="1055688" cy="219075"/>
          </a:xfrm>
          <a:prstGeom prst="rect">
            <a:avLst/>
          </a:prstGeom>
          <a:noFill/>
          <a:ln>
            <a:noFill/>
          </a:ln>
        </p:spPr>
        <p:txBody>
          <a:bodyPr lIns="64298" tIns="32148" rIns="64298" bIns="32148" anchor="b">
            <a:spAutoFit/>
          </a:bodyPr>
          <a:lstStyle>
            <a:lvl1pPr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EE2ADDEF-57DA-48CC-A84D-787FB70B17EF}" type="slidenum">
              <a:rPr lang="cs-CZ" altLang="cs-CZ" sz="1000" b="1" smtClean="0">
                <a:solidFill>
                  <a:srgbClr val="005AA0"/>
                </a:solidFill>
              </a:rPr>
              <a:pPr algn="r" eaLnBrk="1" hangingPunct="1">
                <a:defRPr/>
              </a:pPr>
              <a:t>‹#›</a:t>
            </a:fld>
            <a:endParaRPr lang="cs-CZ" altLang="cs-CZ" sz="1000" b="1">
              <a:solidFill>
                <a:srgbClr val="005AA0"/>
              </a:solidFill>
            </a:endParaRPr>
          </a:p>
        </p:txBody>
      </p:sp>
      <p:pic>
        <p:nvPicPr>
          <p:cNvPr id="7" name="Obráze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1138" y="276225"/>
            <a:ext cx="1055687" cy="687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ástupný symbol pro text 4"/>
          <p:cNvSpPr>
            <a:spLocks noGrp="1"/>
          </p:cNvSpPr>
          <p:nvPr>
            <p:ph type="body" sz="quarter" idx="10"/>
          </p:nvPr>
        </p:nvSpPr>
        <p:spPr>
          <a:xfrm>
            <a:off x="672788" y="504612"/>
            <a:ext cx="9445785" cy="79263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rgbClr val="FABE00"/>
                </a:solidFill>
              </a:defRPr>
            </a:lvl1pPr>
            <a:lvl2pPr marL="457155" indent="0">
              <a:buNone/>
              <a:defRPr/>
            </a:lvl2pPr>
            <a:lvl3pPr marL="914310" indent="0">
              <a:buNone/>
              <a:defRPr/>
            </a:lvl3pPr>
            <a:lvl4pPr marL="1371464" indent="0">
              <a:buNone/>
              <a:defRPr/>
            </a:lvl4pPr>
            <a:lvl5pPr marL="1828620" indent="0">
              <a:buNone/>
              <a:defRPr/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9" name="Zástupný symbol pro text 4"/>
          <p:cNvSpPr>
            <a:spLocks noGrp="1"/>
          </p:cNvSpPr>
          <p:nvPr>
            <p:ph type="body" sz="quarter" idx="11"/>
          </p:nvPr>
        </p:nvSpPr>
        <p:spPr>
          <a:xfrm>
            <a:off x="672788" y="5742726"/>
            <a:ext cx="9445785" cy="605085"/>
          </a:xfrm>
          <a:prstGeom prst="rect">
            <a:avLst/>
          </a:prstGeom>
        </p:spPr>
        <p:txBody>
          <a:bodyPr lIns="64298" tIns="32148" rIns="64298" bIns="32148" anchor="b"/>
          <a:lstStyle>
            <a:lvl1pPr marL="0" indent="0">
              <a:buNone/>
              <a:defRPr sz="1000" b="1">
                <a:solidFill>
                  <a:srgbClr val="005AA0"/>
                </a:solidFill>
              </a:defRPr>
            </a:lvl1pPr>
            <a:lvl2pPr marL="457155" indent="0">
              <a:buNone/>
              <a:defRPr/>
            </a:lvl2pPr>
            <a:lvl3pPr marL="914310" indent="0">
              <a:buNone/>
              <a:defRPr/>
            </a:lvl3pPr>
            <a:lvl4pPr marL="1371464" indent="0">
              <a:buNone/>
              <a:defRPr/>
            </a:lvl4pPr>
            <a:lvl5pPr marL="1828620" indent="0">
              <a:buNone/>
              <a:defRPr/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10" name="Zástupný symbol pro text 4"/>
          <p:cNvSpPr>
            <a:spLocks noGrp="1"/>
          </p:cNvSpPr>
          <p:nvPr>
            <p:ph type="body" sz="quarter" idx="12"/>
          </p:nvPr>
        </p:nvSpPr>
        <p:spPr>
          <a:xfrm>
            <a:off x="672788" y="1551786"/>
            <a:ext cx="10947713" cy="3936400"/>
          </a:xfrm>
          <a:prstGeom prst="rect">
            <a:avLst/>
          </a:prstGeom>
        </p:spPr>
        <p:txBody>
          <a:bodyPr lIns="0" tIns="0" rIns="0" bIns="0" anchor="t"/>
          <a:lstStyle>
            <a:lvl1pPr marL="241115" indent="-241115">
              <a:lnSpc>
                <a:spcPct val="100000"/>
              </a:lnSpc>
              <a:spcBef>
                <a:spcPts val="600"/>
              </a:spcBef>
              <a:buFont typeface=".AppleSystemUIFont" charset="-120"/>
              <a:buChar char="–"/>
              <a:defRPr sz="1400" b="0" baseline="0">
                <a:solidFill>
                  <a:srgbClr val="005AA0"/>
                </a:solidFill>
              </a:defRPr>
            </a:lvl1pPr>
            <a:lvl2pPr marL="457155" indent="0">
              <a:buNone/>
              <a:defRPr/>
            </a:lvl2pPr>
            <a:lvl3pPr marL="914310" indent="0">
              <a:buNone/>
              <a:defRPr/>
            </a:lvl3pPr>
            <a:lvl4pPr marL="1371464" indent="0">
              <a:buNone/>
              <a:defRPr/>
            </a:lvl4pPr>
            <a:lvl5pPr marL="1828620" indent="0">
              <a:buNone/>
              <a:defRPr/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7503845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adpis kapitoly na modrém">
    <p:bg>
      <p:bgPr>
        <a:solidFill>
          <a:srgbClr val="005A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2409DF0B-9B32-4617-8BDD-D6EB9C91609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0458450" y="6129338"/>
            <a:ext cx="1055688" cy="219075"/>
          </a:xfrm>
          <a:prstGeom prst="rect">
            <a:avLst/>
          </a:prstGeom>
          <a:noFill/>
          <a:ln>
            <a:noFill/>
          </a:ln>
        </p:spPr>
        <p:txBody>
          <a:bodyPr lIns="64298" tIns="32148" rIns="64298" bIns="32148" anchor="b">
            <a:spAutoFit/>
          </a:bodyPr>
          <a:lstStyle>
            <a:lvl1pPr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76676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766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4211E05F-6801-4C7F-A41F-FDFA08D61C7B}" type="slidenum">
              <a:rPr lang="cs-CZ" altLang="cs-CZ" sz="1000" b="1" smtClean="0">
                <a:solidFill>
                  <a:srgbClr val="FFFFFF"/>
                </a:solidFill>
              </a:rPr>
              <a:pPr algn="r" eaLnBrk="1" hangingPunct="1">
                <a:defRPr/>
              </a:pPr>
              <a:t>‹#›</a:t>
            </a:fld>
            <a:endParaRPr lang="cs-CZ" altLang="cs-CZ" sz="1000" b="1">
              <a:solidFill>
                <a:srgbClr val="FFFFFF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5263" y="257175"/>
            <a:ext cx="1095375" cy="7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ástupný symbol pro text 4"/>
          <p:cNvSpPr>
            <a:spLocks noGrp="1"/>
          </p:cNvSpPr>
          <p:nvPr>
            <p:ph type="body" sz="quarter" idx="11"/>
          </p:nvPr>
        </p:nvSpPr>
        <p:spPr>
          <a:xfrm>
            <a:off x="672787" y="2610457"/>
            <a:ext cx="10841964" cy="3737353"/>
          </a:xfrm>
          <a:prstGeom prst="rect">
            <a:avLst/>
          </a:prstGeom>
        </p:spPr>
        <p:txBody>
          <a:bodyPr lIns="64298" tIns="32148" rIns="64298" bIns="32148"/>
          <a:lstStyle>
            <a:lvl1pPr marL="0" indent="0">
              <a:buNone/>
              <a:defRPr sz="3200" b="1" baseline="0">
                <a:solidFill>
                  <a:schemeClr val="bg1"/>
                </a:solidFill>
              </a:defRPr>
            </a:lvl1pPr>
            <a:lvl2pPr marL="457155" indent="0">
              <a:buNone/>
              <a:defRPr/>
            </a:lvl2pPr>
            <a:lvl3pPr marL="914310" indent="0">
              <a:buNone/>
              <a:defRPr/>
            </a:lvl3pPr>
            <a:lvl4pPr marL="1371464" indent="0">
              <a:buNone/>
              <a:defRPr/>
            </a:lvl4pPr>
            <a:lvl5pPr marL="1828620" indent="0">
              <a:buNone/>
              <a:defRPr/>
            </a:lvl5pPr>
          </a:lstStyle>
          <a:p>
            <a:pPr lvl="0"/>
            <a:r>
              <a:rPr lang="cs-CZ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467828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24260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506620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319851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6282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577887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94454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778038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5380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579FC-B641-4293-9FB0-2C478D1C6B8E}" type="datetimeFigureOut">
              <a:rPr lang="cs-CZ" smtClean="0"/>
              <a:t>24.04.2023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2651F5-BA1B-4387-9D2E-C5DADD7CDCB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58687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3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1.png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0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image" Target="../media/image15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185AD35-E394-A2FE-25B7-71D22308A0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5794DC1-FE3C-A87A-60C7-69731C1EEB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46C953C7-0B05-070E-3359-7AC1940D045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9525"/>
            <a:ext cx="12192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726E8D9D-C627-D0FD-42DB-D3EA73496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0" name="Skupina 1059">
            <a:extLst>
              <a:ext uri="{FF2B5EF4-FFF2-40B4-BE49-F238E27FC236}">
                <a16:creationId xmlns:a16="http://schemas.microsoft.com/office/drawing/2014/main" id="{B9277C8B-987D-60A7-9A7A-676285B4D4A7}"/>
              </a:ext>
            </a:extLst>
          </p:cNvPr>
          <p:cNvGrpSpPr/>
          <p:nvPr/>
        </p:nvGrpSpPr>
        <p:grpSpPr>
          <a:xfrm>
            <a:off x="0" y="-2653"/>
            <a:ext cx="9906000" cy="6858000"/>
            <a:chOff x="0" y="9525"/>
            <a:chExt cx="9906000" cy="6838950"/>
          </a:xfrm>
        </p:grpSpPr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D08329F1-57FA-CC72-5D45-E0F26D3E07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525"/>
              <a:ext cx="9906000" cy="6838950"/>
            </a:xfrm>
            <a:prstGeom prst="rect">
              <a:avLst/>
            </a:prstGeom>
            <a:solidFill>
              <a:srgbClr val="009E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pic>
          <p:nvPicPr>
            <p:cNvPr id="1031" name="Picture 7">
              <a:extLst>
                <a:ext uri="{FF2B5EF4-FFF2-40B4-BE49-F238E27FC236}">
                  <a16:creationId xmlns:a16="http://schemas.microsoft.com/office/drawing/2014/main" id="{EF7B087B-484A-2FC1-8835-24BC88EE6F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1925" y="9525"/>
              <a:ext cx="8474075" cy="683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Rectangle 9">
            <a:extLst>
              <a:ext uri="{FF2B5EF4-FFF2-40B4-BE49-F238E27FC236}">
                <a16:creationId xmlns:a16="http://schemas.microsoft.com/office/drawing/2014/main" id="{0C37FF93-8CFB-48AC-8743-FE0E89858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5489" y="-2653"/>
            <a:ext cx="2286000" cy="687017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1" name="Skupina 1060">
            <a:extLst>
              <a:ext uri="{FF2B5EF4-FFF2-40B4-BE49-F238E27FC236}">
                <a16:creationId xmlns:a16="http://schemas.microsoft.com/office/drawing/2014/main" id="{ECD28CA6-8A06-C6E3-E8FD-60E9EABB3D1A}"/>
              </a:ext>
            </a:extLst>
          </p:cNvPr>
          <p:cNvGrpSpPr/>
          <p:nvPr/>
        </p:nvGrpSpPr>
        <p:grpSpPr>
          <a:xfrm>
            <a:off x="666750" y="654050"/>
            <a:ext cx="1524000" cy="762001"/>
            <a:chOff x="666750" y="654050"/>
            <a:chExt cx="1524000" cy="762001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6E69C003-DB27-2CD0-BE7D-4722E7CF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50" y="654050"/>
              <a:ext cx="649288" cy="600075"/>
            </a:xfrm>
            <a:custGeom>
              <a:avLst/>
              <a:gdLst>
                <a:gd name="T0" fmla="*/ 141 w 1227"/>
                <a:gd name="T1" fmla="*/ 116 h 1134"/>
                <a:gd name="T2" fmla="*/ 246 w 1227"/>
                <a:gd name="T3" fmla="*/ 103 h 1134"/>
                <a:gd name="T4" fmla="*/ 382 w 1227"/>
                <a:gd name="T5" fmla="*/ 87 h 1134"/>
                <a:gd name="T6" fmla="*/ 534 w 1227"/>
                <a:gd name="T7" fmla="*/ 70 h 1134"/>
                <a:gd name="T8" fmla="*/ 693 w 1227"/>
                <a:gd name="T9" fmla="*/ 51 h 1134"/>
                <a:gd name="T10" fmla="*/ 847 w 1227"/>
                <a:gd name="T11" fmla="*/ 33 h 1134"/>
                <a:gd name="T12" fmla="*/ 981 w 1227"/>
                <a:gd name="T13" fmla="*/ 17 h 1134"/>
                <a:gd name="T14" fmla="*/ 1086 w 1227"/>
                <a:gd name="T15" fmla="*/ 5 h 1134"/>
                <a:gd name="T16" fmla="*/ 1135 w 1227"/>
                <a:gd name="T17" fmla="*/ 0 h 1134"/>
                <a:gd name="T18" fmla="*/ 1155 w 1227"/>
                <a:gd name="T19" fmla="*/ 3 h 1134"/>
                <a:gd name="T20" fmla="*/ 1174 w 1227"/>
                <a:gd name="T21" fmla="*/ 10 h 1134"/>
                <a:gd name="T22" fmla="*/ 1189 w 1227"/>
                <a:gd name="T23" fmla="*/ 21 h 1134"/>
                <a:gd name="T24" fmla="*/ 1204 w 1227"/>
                <a:gd name="T25" fmla="*/ 37 h 1134"/>
                <a:gd name="T26" fmla="*/ 1215 w 1227"/>
                <a:gd name="T27" fmla="*/ 56 h 1134"/>
                <a:gd name="T28" fmla="*/ 1223 w 1227"/>
                <a:gd name="T29" fmla="*/ 77 h 1134"/>
                <a:gd name="T30" fmla="*/ 1227 w 1227"/>
                <a:gd name="T31" fmla="*/ 102 h 1134"/>
                <a:gd name="T32" fmla="*/ 1227 w 1227"/>
                <a:gd name="T33" fmla="*/ 663 h 1134"/>
                <a:gd name="T34" fmla="*/ 1225 w 1227"/>
                <a:gd name="T35" fmla="*/ 688 h 1134"/>
                <a:gd name="T36" fmla="*/ 1220 w 1227"/>
                <a:gd name="T37" fmla="*/ 712 h 1134"/>
                <a:gd name="T38" fmla="*/ 1210 w 1227"/>
                <a:gd name="T39" fmla="*/ 734 h 1134"/>
                <a:gd name="T40" fmla="*/ 1197 w 1227"/>
                <a:gd name="T41" fmla="*/ 752 h 1134"/>
                <a:gd name="T42" fmla="*/ 1182 w 1227"/>
                <a:gd name="T43" fmla="*/ 767 h 1134"/>
                <a:gd name="T44" fmla="*/ 1164 w 1227"/>
                <a:gd name="T45" fmla="*/ 779 h 1134"/>
                <a:gd name="T46" fmla="*/ 1145 w 1227"/>
                <a:gd name="T47" fmla="*/ 787 h 1134"/>
                <a:gd name="T48" fmla="*/ 1125 w 1227"/>
                <a:gd name="T49" fmla="*/ 788 h 1134"/>
                <a:gd name="T50" fmla="*/ 1103 w 1227"/>
                <a:gd name="T51" fmla="*/ 1134 h 1134"/>
                <a:gd name="T52" fmla="*/ 104 w 1227"/>
                <a:gd name="T53" fmla="*/ 788 h 1134"/>
                <a:gd name="T54" fmla="*/ 82 w 1227"/>
                <a:gd name="T55" fmla="*/ 787 h 1134"/>
                <a:gd name="T56" fmla="*/ 63 w 1227"/>
                <a:gd name="T57" fmla="*/ 781 h 1134"/>
                <a:gd name="T58" fmla="*/ 46 w 1227"/>
                <a:gd name="T59" fmla="*/ 771 h 1134"/>
                <a:gd name="T60" fmla="*/ 30 w 1227"/>
                <a:gd name="T61" fmla="*/ 758 h 1134"/>
                <a:gd name="T62" fmla="*/ 17 w 1227"/>
                <a:gd name="T63" fmla="*/ 744 h 1134"/>
                <a:gd name="T64" fmla="*/ 9 w 1227"/>
                <a:gd name="T65" fmla="*/ 726 h 1134"/>
                <a:gd name="T66" fmla="*/ 1 w 1227"/>
                <a:gd name="T67" fmla="*/ 706 h 1134"/>
                <a:gd name="T68" fmla="*/ 0 w 1227"/>
                <a:gd name="T69" fmla="*/ 686 h 1134"/>
                <a:gd name="T70" fmla="*/ 0 w 1227"/>
                <a:gd name="T71" fmla="*/ 225 h 1134"/>
                <a:gd name="T72" fmla="*/ 4 w 1227"/>
                <a:gd name="T73" fmla="*/ 205 h 1134"/>
                <a:gd name="T74" fmla="*/ 13 w 1227"/>
                <a:gd name="T75" fmla="*/ 185 h 1134"/>
                <a:gd name="T76" fmla="*/ 23 w 1227"/>
                <a:gd name="T77" fmla="*/ 168 h 1134"/>
                <a:gd name="T78" fmla="*/ 37 w 1227"/>
                <a:gd name="T79" fmla="*/ 152 h 1134"/>
                <a:gd name="T80" fmla="*/ 55 w 1227"/>
                <a:gd name="T81" fmla="*/ 139 h 1134"/>
                <a:gd name="T82" fmla="*/ 73 w 1227"/>
                <a:gd name="T83" fmla="*/ 129 h 1134"/>
                <a:gd name="T84" fmla="*/ 94 w 1227"/>
                <a:gd name="T85" fmla="*/ 12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7" h="1134">
                  <a:moveTo>
                    <a:pt x="104" y="120"/>
                  </a:moveTo>
                  <a:lnTo>
                    <a:pt x="141" y="116"/>
                  </a:lnTo>
                  <a:lnTo>
                    <a:pt x="189" y="110"/>
                  </a:lnTo>
                  <a:lnTo>
                    <a:pt x="246" y="103"/>
                  </a:lnTo>
                  <a:lnTo>
                    <a:pt x="311" y="96"/>
                  </a:lnTo>
                  <a:lnTo>
                    <a:pt x="382" y="87"/>
                  </a:lnTo>
                  <a:lnTo>
                    <a:pt x="456" y="79"/>
                  </a:lnTo>
                  <a:lnTo>
                    <a:pt x="534" y="70"/>
                  </a:lnTo>
                  <a:lnTo>
                    <a:pt x="613" y="60"/>
                  </a:lnTo>
                  <a:lnTo>
                    <a:pt x="693" y="51"/>
                  </a:lnTo>
                  <a:lnTo>
                    <a:pt x="772" y="41"/>
                  </a:lnTo>
                  <a:lnTo>
                    <a:pt x="847" y="33"/>
                  </a:lnTo>
                  <a:lnTo>
                    <a:pt x="917" y="24"/>
                  </a:lnTo>
                  <a:lnTo>
                    <a:pt x="981" y="17"/>
                  </a:lnTo>
                  <a:lnTo>
                    <a:pt x="1038" y="10"/>
                  </a:lnTo>
                  <a:lnTo>
                    <a:pt x="1086" y="5"/>
                  </a:lnTo>
                  <a:lnTo>
                    <a:pt x="1125" y="0"/>
                  </a:lnTo>
                  <a:lnTo>
                    <a:pt x="1135" y="0"/>
                  </a:lnTo>
                  <a:lnTo>
                    <a:pt x="1145" y="1"/>
                  </a:lnTo>
                  <a:lnTo>
                    <a:pt x="1155" y="3"/>
                  </a:lnTo>
                  <a:lnTo>
                    <a:pt x="1164" y="5"/>
                  </a:lnTo>
                  <a:lnTo>
                    <a:pt x="1174" y="10"/>
                  </a:lnTo>
                  <a:lnTo>
                    <a:pt x="1182" y="16"/>
                  </a:lnTo>
                  <a:lnTo>
                    <a:pt x="1189" y="21"/>
                  </a:lnTo>
                  <a:lnTo>
                    <a:pt x="1197" y="28"/>
                  </a:lnTo>
                  <a:lnTo>
                    <a:pt x="1204" y="37"/>
                  </a:lnTo>
                  <a:lnTo>
                    <a:pt x="1210" y="46"/>
                  </a:lnTo>
                  <a:lnTo>
                    <a:pt x="1215" y="56"/>
                  </a:lnTo>
                  <a:lnTo>
                    <a:pt x="1220" y="66"/>
                  </a:lnTo>
                  <a:lnTo>
                    <a:pt x="1223" y="77"/>
                  </a:lnTo>
                  <a:lnTo>
                    <a:pt x="1225" y="89"/>
                  </a:lnTo>
                  <a:lnTo>
                    <a:pt x="1227" y="102"/>
                  </a:lnTo>
                  <a:lnTo>
                    <a:pt x="1227" y="115"/>
                  </a:lnTo>
                  <a:lnTo>
                    <a:pt x="1227" y="663"/>
                  </a:lnTo>
                  <a:lnTo>
                    <a:pt x="1227" y="676"/>
                  </a:lnTo>
                  <a:lnTo>
                    <a:pt x="1225" y="688"/>
                  </a:lnTo>
                  <a:lnTo>
                    <a:pt x="1223" y="700"/>
                  </a:lnTo>
                  <a:lnTo>
                    <a:pt x="1220" y="712"/>
                  </a:lnTo>
                  <a:lnTo>
                    <a:pt x="1215" y="722"/>
                  </a:lnTo>
                  <a:lnTo>
                    <a:pt x="1210" y="734"/>
                  </a:lnTo>
                  <a:lnTo>
                    <a:pt x="1204" y="742"/>
                  </a:lnTo>
                  <a:lnTo>
                    <a:pt x="1197" y="752"/>
                  </a:lnTo>
                  <a:lnTo>
                    <a:pt x="1189" y="759"/>
                  </a:lnTo>
                  <a:lnTo>
                    <a:pt x="1182" y="767"/>
                  </a:lnTo>
                  <a:lnTo>
                    <a:pt x="1174" y="774"/>
                  </a:lnTo>
                  <a:lnTo>
                    <a:pt x="1164" y="779"/>
                  </a:lnTo>
                  <a:lnTo>
                    <a:pt x="1155" y="784"/>
                  </a:lnTo>
                  <a:lnTo>
                    <a:pt x="1145" y="787"/>
                  </a:lnTo>
                  <a:lnTo>
                    <a:pt x="1135" y="788"/>
                  </a:lnTo>
                  <a:lnTo>
                    <a:pt x="1125" y="788"/>
                  </a:lnTo>
                  <a:lnTo>
                    <a:pt x="1103" y="788"/>
                  </a:lnTo>
                  <a:lnTo>
                    <a:pt x="1103" y="1134"/>
                  </a:lnTo>
                  <a:lnTo>
                    <a:pt x="935" y="788"/>
                  </a:lnTo>
                  <a:lnTo>
                    <a:pt x="104" y="788"/>
                  </a:lnTo>
                  <a:lnTo>
                    <a:pt x="94" y="788"/>
                  </a:lnTo>
                  <a:lnTo>
                    <a:pt x="82" y="787"/>
                  </a:lnTo>
                  <a:lnTo>
                    <a:pt x="73" y="784"/>
                  </a:lnTo>
                  <a:lnTo>
                    <a:pt x="63" y="781"/>
                  </a:lnTo>
                  <a:lnTo>
                    <a:pt x="55" y="777"/>
                  </a:lnTo>
                  <a:lnTo>
                    <a:pt x="46" y="771"/>
                  </a:lnTo>
                  <a:lnTo>
                    <a:pt x="37" y="765"/>
                  </a:lnTo>
                  <a:lnTo>
                    <a:pt x="30" y="758"/>
                  </a:lnTo>
                  <a:lnTo>
                    <a:pt x="23" y="751"/>
                  </a:lnTo>
                  <a:lnTo>
                    <a:pt x="17" y="744"/>
                  </a:lnTo>
                  <a:lnTo>
                    <a:pt x="13" y="735"/>
                  </a:lnTo>
                  <a:lnTo>
                    <a:pt x="9" y="726"/>
                  </a:lnTo>
                  <a:lnTo>
                    <a:pt x="4" y="716"/>
                  </a:lnTo>
                  <a:lnTo>
                    <a:pt x="1" y="706"/>
                  </a:lnTo>
                  <a:lnTo>
                    <a:pt x="0" y="696"/>
                  </a:lnTo>
                  <a:lnTo>
                    <a:pt x="0" y="686"/>
                  </a:lnTo>
                  <a:lnTo>
                    <a:pt x="0" y="237"/>
                  </a:lnTo>
                  <a:lnTo>
                    <a:pt x="0" y="225"/>
                  </a:lnTo>
                  <a:lnTo>
                    <a:pt x="1" y="215"/>
                  </a:lnTo>
                  <a:lnTo>
                    <a:pt x="4" y="205"/>
                  </a:lnTo>
                  <a:lnTo>
                    <a:pt x="9" y="195"/>
                  </a:lnTo>
                  <a:lnTo>
                    <a:pt x="13" y="185"/>
                  </a:lnTo>
                  <a:lnTo>
                    <a:pt x="17" y="176"/>
                  </a:lnTo>
                  <a:lnTo>
                    <a:pt x="23" y="168"/>
                  </a:lnTo>
                  <a:lnTo>
                    <a:pt x="30" y="159"/>
                  </a:lnTo>
                  <a:lnTo>
                    <a:pt x="37" y="152"/>
                  </a:lnTo>
                  <a:lnTo>
                    <a:pt x="46" y="145"/>
                  </a:lnTo>
                  <a:lnTo>
                    <a:pt x="55" y="139"/>
                  </a:lnTo>
                  <a:lnTo>
                    <a:pt x="63" y="133"/>
                  </a:lnTo>
                  <a:lnTo>
                    <a:pt x="73" y="129"/>
                  </a:lnTo>
                  <a:lnTo>
                    <a:pt x="82" y="125"/>
                  </a:lnTo>
                  <a:lnTo>
                    <a:pt x="94" y="122"/>
                  </a:lnTo>
                  <a:lnTo>
                    <a:pt x="10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AA4E13-8F1E-EEDF-7C12-A003C0177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6350" y="1141413"/>
              <a:ext cx="914400" cy="274638"/>
            </a:xfrm>
            <a:custGeom>
              <a:avLst/>
              <a:gdLst>
                <a:gd name="T0" fmla="*/ 79 w 1728"/>
                <a:gd name="T1" fmla="*/ 357 h 519"/>
                <a:gd name="T2" fmla="*/ 16 w 1728"/>
                <a:gd name="T3" fmla="*/ 476 h 519"/>
                <a:gd name="T4" fmla="*/ 147 w 1728"/>
                <a:gd name="T5" fmla="*/ 517 h 519"/>
                <a:gd name="T6" fmla="*/ 240 w 1728"/>
                <a:gd name="T7" fmla="*/ 443 h 519"/>
                <a:gd name="T8" fmla="*/ 253 w 1728"/>
                <a:gd name="T9" fmla="*/ 364 h 519"/>
                <a:gd name="T10" fmla="*/ 147 w 1728"/>
                <a:gd name="T11" fmla="*/ 517 h 519"/>
                <a:gd name="T12" fmla="*/ 399 w 1728"/>
                <a:gd name="T13" fmla="*/ 517 h 519"/>
                <a:gd name="T14" fmla="*/ 393 w 1728"/>
                <a:gd name="T15" fmla="*/ 360 h 519"/>
                <a:gd name="T16" fmla="*/ 600 w 1728"/>
                <a:gd name="T17" fmla="*/ 518 h 519"/>
                <a:gd name="T18" fmla="*/ 567 w 1728"/>
                <a:gd name="T19" fmla="*/ 415 h 519"/>
                <a:gd name="T20" fmla="*/ 624 w 1728"/>
                <a:gd name="T21" fmla="*/ 392 h 519"/>
                <a:gd name="T22" fmla="*/ 541 w 1728"/>
                <a:gd name="T23" fmla="*/ 366 h 519"/>
                <a:gd name="T24" fmla="*/ 615 w 1728"/>
                <a:gd name="T25" fmla="*/ 465 h 519"/>
                <a:gd name="T26" fmla="*/ 527 w 1728"/>
                <a:gd name="T27" fmla="*/ 476 h 519"/>
                <a:gd name="T28" fmla="*/ 766 w 1728"/>
                <a:gd name="T29" fmla="*/ 517 h 519"/>
                <a:gd name="T30" fmla="*/ 880 w 1728"/>
                <a:gd name="T31" fmla="*/ 400 h 519"/>
                <a:gd name="T32" fmla="*/ 755 w 1728"/>
                <a:gd name="T33" fmla="*/ 504 h 519"/>
                <a:gd name="T34" fmla="*/ 900 w 1728"/>
                <a:gd name="T35" fmla="*/ 504 h 519"/>
                <a:gd name="T36" fmla="*/ 1012 w 1728"/>
                <a:gd name="T37" fmla="*/ 517 h 519"/>
                <a:gd name="T38" fmla="*/ 1032 w 1728"/>
                <a:gd name="T39" fmla="*/ 406 h 519"/>
                <a:gd name="T40" fmla="*/ 927 w 1728"/>
                <a:gd name="T41" fmla="*/ 380 h 519"/>
                <a:gd name="T42" fmla="*/ 949 w 1728"/>
                <a:gd name="T43" fmla="*/ 310 h 519"/>
                <a:gd name="T44" fmla="*/ 976 w 1728"/>
                <a:gd name="T45" fmla="*/ 340 h 519"/>
                <a:gd name="T46" fmla="*/ 1058 w 1728"/>
                <a:gd name="T47" fmla="*/ 508 h 519"/>
                <a:gd name="T48" fmla="*/ 1068 w 1728"/>
                <a:gd name="T49" fmla="*/ 354 h 519"/>
                <a:gd name="T50" fmla="*/ 1233 w 1728"/>
                <a:gd name="T51" fmla="*/ 511 h 519"/>
                <a:gd name="T52" fmla="*/ 1125 w 1728"/>
                <a:gd name="T53" fmla="*/ 357 h 519"/>
                <a:gd name="T54" fmla="*/ 1384 w 1728"/>
                <a:gd name="T55" fmla="*/ 491 h 519"/>
                <a:gd name="T56" fmla="*/ 1374 w 1728"/>
                <a:gd name="T57" fmla="*/ 374 h 519"/>
                <a:gd name="T58" fmla="*/ 1335 w 1728"/>
                <a:gd name="T59" fmla="*/ 382 h 519"/>
                <a:gd name="T60" fmla="*/ 1335 w 1728"/>
                <a:gd name="T61" fmla="*/ 448 h 519"/>
                <a:gd name="T62" fmla="*/ 1513 w 1728"/>
                <a:gd name="T63" fmla="*/ 515 h 519"/>
                <a:gd name="T64" fmla="*/ 1486 w 1728"/>
                <a:gd name="T65" fmla="*/ 351 h 519"/>
                <a:gd name="T66" fmla="*/ 1457 w 1728"/>
                <a:gd name="T67" fmla="*/ 515 h 519"/>
                <a:gd name="T68" fmla="*/ 1463 w 1728"/>
                <a:gd name="T69" fmla="*/ 383 h 519"/>
                <a:gd name="T70" fmla="*/ 1486 w 1728"/>
                <a:gd name="T71" fmla="*/ 494 h 519"/>
                <a:gd name="T72" fmla="*/ 1721 w 1728"/>
                <a:gd name="T73" fmla="*/ 356 h 519"/>
                <a:gd name="T74" fmla="*/ 1646 w 1728"/>
                <a:gd name="T75" fmla="*/ 492 h 519"/>
                <a:gd name="T76" fmla="*/ 1590 w 1728"/>
                <a:gd name="T77" fmla="*/ 360 h 519"/>
                <a:gd name="T78" fmla="*/ 69 w 1728"/>
                <a:gd name="T79" fmla="*/ 261 h 519"/>
                <a:gd name="T80" fmla="*/ 287 w 1728"/>
                <a:gd name="T81" fmla="*/ 268 h 519"/>
                <a:gd name="T82" fmla="*/ 118 w 1728"/>
                <a:gd name="T83" fmla="*/ 15 h 519"/>
                <a:gd name="T84" fmla="*/ 347 w 1728"/>
                <a:gd name="T85" fmla="*/ 271 h 519"/>
                <a:gd name="T86" fmla="*/ 593 w 1728"/>
                <a:gd name="T87" fmla="*/ 247 h 519"/>
                <a:gd name="T88" fmla="*/ 416 w 1728"/>
                <a:gd name="T89" fmla="*/ 163 h 519"/>
                <a:gd name="T90" fmla="*/ 802 w 1728"/>
                <a:gd name="T91" fmla="*/ 194 h 519"/>
                <a:gd name="T92" fmla="*/ 965 w 1728"/>
                <a:gd name="T93" fmla="*/ 37 h 519"/>
                <a:gd name="T94" fmla="*/ 791 w 1728"/>
                <a:gd name="T95" fmla="*/ 5 h 519"/>
                <a:gd name="T96" fmla="*/ 1210 w 1728"/>
                <a:gd name="T97" fmla="*/ 248 h 519"/>
                <a:gd name="T98" fmla="*/ 1251 w 1728"/>
                <a:gd name="T99" fmla="*/ 73 h 519"/>
                <a:gd name="T100" fmla="*/ 1070 w 1728"/>
                <a:gd name="T101" fmla="*/ 10 h 519"/>
                <a:gd name="T102" fmla="*/ 991 w 1728"/>
                <a:gd name="T103" fmla="*/ 171 h 519"/>
                <a:gd name="T104" fmla="*/ 1126 w 1728"/>
                <a:gd name="T105" fmla="*/ 231 h 519"/>
                <a:gd name="T106" fmla="*/ 1037 w 1728"/>
                <a:gd name="T107" fmla="*/ 117 h 519"/>
                <a:gd name="T108" fmla="*/ 1171 w 1728"/>
                <a:gd name="T109" fmla="*/ 54 h 519"/>
                <a:gd name="T110" fmla="*/ 1197 w 1728"/>
                <a:gd name="T111" fmla="*/ 196 h 519"/>
                <a:gd name="T112" fmla="*/ 1480 w 1728"/>
                <a:gd name="T113" fmla="*/ 270 h 519"/>
                <a:gd name="T114" fmla="*/ 1331 w 1728"/>
                <a:gd name="T115" fmla="*/ 1 h 519"/>
                <a:gd name="T116" fmla="*/ 1722 w 1728"/>
                <a:gd name="T117" fmla="*/ 234 h 519"/>
                <a:gd name="T118" fmla="*/ 1572 w 1728"/>
                <a:gd name="T119" fmla="*/ 115 h 519"/>
                <a:gd name="T120" fmla="*/ 1529 w 1728"/>
                <a:gd name="T121" fmla="*/ 1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28" h="519">
                  <a:moveTo>
                    <a:pt x="49" y="519"/>
                  </a:moveTo>
                  <a:lnTo>
                    <a:pt x="60" y="518"/>
                  </a:lnTo>
                  <a:lnTo>
                    <a:pt x="72" y="515"/>
                  </a:lnTo>
                  <a:lnTo>
                    <a:pt x="81" y="511"/>
                  </a:lnTo>
                  <a:lnTo>
                    <a:pt x="89" y="505"/>
                  </a:lnTo>
                  <a:lnTo>
                    <a:pt x="95" y="496"/>
                  </a:lnTo>
                  <a:lnTo>
                    <a:pt x="99" y="486"/>
                  </a:lnTo>
                  <a:lnTo>
                    <a:pt x="102" y="475"/>
                  </a:lnTo>
                  <a:lnTo>
                    <a:pt x="104" y="462"/>
                  </a:lnTo>
                  <a:lnTo>
                    <a:pt x="104" y="367"/>
                  </a:lnTo>
                  <a:lnTo>
                    <a:pt x="104" y="364"/>
                  </a:lnTo>
                  <a:lnTo>
                    <a:pt x="102" y="360"/>
                  </a:lnTo>
                  <a:lnTo>
                    <a:pt x="99" y="357"/>
                  </a:lnTo>
                  <a:lnTo>
                    <a:pt x="96" y="356"/>
                  </a:lnTo>
                  <a:lnTo>
                    <a:pt x="94" y="354"/>
                  </a:lnTo>
                  <a:lnTo>
                    <a:pt x="89" y="353"/>
                  </a:lnTo>
                  <a:lnTo>
                    <a:pt x="86" y="354"/>
                  </a:lnTo>
                  <a:lnTo>
                    <a:pt x="82" y="356"/>
                  </a:lnTo>
                  <a:lnTo>
                    <a:pt x="79" y="357"/>
                  </a:lnTo>
                  <a:lnTo>
                    <a:pt x="78" y="360"/>
                  </a:lnTo>
                  <a:lnTo>
                    <a:pt x="76" y="364"/>
                  </a:lnTo>
                  <a:lnTo>
                    <a:pt x="75" y="367"/>
                  </a:lnTo>
                  <a:lnTo>
                    <a:pt x="75" y="461"/>
                  </a:lnTo>
                  <a:lnTo>
                    <a:pt x="75" y="471"/>
                  </a:lnTo>
                  <a:lnTo>
                    <a:pt x="72" y="479"/>
                  </a:lnTo>
                  <a:lnTo>
                    <a:pt x="68" y="485"/>
                  </a:lnTo>
                  <a:lnTo>
                    <a:pt x="63" y="489"/>
                  </a:lnTo>
                  <a:lnTo>
                    <a:pt x="56" y="492"/>
                  </a:lnTo>
                  <a:lnTo>
                    <a:pt x="49" y="492"/>
                  </a:lnTo>
                  <a:lnTo>
                    <a:pt x="43" y="492"/>
                  </a:lnTo>
                  <a:lnTo>
                    <a:pt x="39" y="491"/>
                  </a:lnTo>
                  <a:lnTo>
                    <a:pt x="35" y="489"/>
                  </a:lnTo>
                  <a:lnTo>
                    <a:pt x="30" y="486"/>
                  </a:lnTo>
                  <a:lnTo>
                    <a:pt x="26" y="484"/>
                  </a:lnTo>
                  <a:lnTo>
                    <a:pt x="23" y="481"/>
                  </a:lnTo>
                  <a:lnTo>
                    <a:pt x="20" y="479"/>
                  </a:lnTo>
                  <a:lnTo>
                    <a:pt x="19" y="478"/>
                  </a:lnTo>
                  <a:lnTo>
                    <a:pt x="16" y="476"/>
                  </a:lnTo>
                  <a:lnTo>
                    <a:pt x="13" y="476"/>
                  </a:lnTo>
                  <a:lnTo>
                    <a:pt x="10" y="478"/>
                  </a:lnTo>
                  <a:lnTo>
                    <a:pt x="7" y="479"/>
                  </a:lnTo>
                  <a:lnTo>
                    <a:pt x="4" y="481"/>
                  </a:lnTo>
                  <a:lnTo>
                    <a:pt x="1" y="484"/>
                  </a:lnTo>
                  <a:lnTo>
                    <a:pt x="0" y="486"/>
                  </a:lnTo>
                  <a:lnTo>
                    <a:pt x="0" y="491"/>
                  </a:lnTo>
                  <a:lnTo>
                    <a:pt x="0" y="494"/>
                  </a:lnTo>
                  <a:lnTo>
                    <a:pt x="1" y="496"/>
                  </a:lnTo>
                  <a:lnTo>
                    <a:pt x="3" y="499"/>
                  </a:lnTo>
                  <a:lnTo>
                    <a:pt x="4" y="501"/>
                  </a:lnTo>
                  <a:lnTo>
                    <a:pt x="10" y="507"/>
                  </a:lnTo>
                  <a:lnTo>
                    <a:pt x="16" y="511"/>
                  </a:lnTo>
                  <a:lnTo>
                    <a:pt x="23" y="514"/>
                  </a:lnTo>
                  <a:lnTo>
                    <a:pt x="32" y="517"/>
                  </a:lnTo>
                  <a:lnTo>
                    <a:pt x="40" y="518"/>
                  </a:lnTo>
                  <a:lnTo>
                    <a:pt x="49" y="519"/>
                  </a:lnTo>
                  <a:close/>
                  <a:moveTo>
                    <a:pt x="147" y="517"/>
                  </a:moveTo>
                  <a:lnTo>
                    <a:pt x="147" y="517"/>
                  </a:lnTo>
                  <a:lnTo>
                    <a:pt x="243" y="517"/>
                  </a:lnTo>
                  <a:lnTo>
                    <a:pt x="246" y="517"/>
                  </a:lnTo>
                  <a:lnTo>
                    <a:pt x="249" y="515"/>
                  </a:lnTo>
                  <a:lnTo>
                    <a:pt x="252" y="512"/>
                  </a:lnTo>
                  <a:lnTo>
                    <a:pt x="253" y="511"/>
                  </a:lnTo>
                  <a:lnTo>
                    <a:pt x="255" y="508"/>
                  </a:lnTo>
                  <a:lnTo>
                    <a:pt x="255" y="504"/>
                  </a:lnTo>
                  <a:lnTo>
                    <a:pt x="255" y="501"/>
                  </a:lnTo>
                  <a:lnTo>
                    <a:pt x="253" y="498"/>
                  </a:lnTo>
                  <a:lnTo>
                    <a:pt x="252" y="495"/>
                  </a:lnTo>
                  <a:lnTo>
                    <a:pt x="249" y="494"/>
                  </a:lnTo>
                  <a:lnTo>
                    <a:pt x="246" y="492"/>
                  </a:lnTo>
                  <a:lnTo>
                    <a:pt x="243" y="491"/>
                  </a:lnTo>
                  <a:lnTo>
                    <a:pt x="161" y="491"/>
                  </a:lnTo>
                  <a:lnTo>
                    <a:pt x="161" y="448"/>
                  </a:lnTo>
                  <a:lnTo>
                    <a:pt x="230" y="448"/>
                  </a:lnTo>
                  <a:lnTo>
                    <a:pt x="235" y="448"/>
                  </a:lnTo>
                  <a:lnTo>
                    <a:pt x="238" y="446"/>
                  </a:lnTo>
                  <a:lnTo>
                    <a:pt x="240" y="443"/>
                  </a:lnTo>
                  <a:lnTo>
                    <a:pt x="242" y="442"/>
                  </a:lnTo>
                  <a:lnTo>
                    <a:pt x="243" y="439"/>
                  </a:lnTo>
                  <a:lnTo>
                    <a:pt x="243" y="435"/>
                  </a:lnTo>
                  <a:lnTo>
                    <a:pt x="243" y="432"/>
                  </a:lnTo>
                  <a:lnTo>
                    <a:pt x="242" y="429"/>
                  </a:lnTo>
                  <a:lnTo>
                    <a:pt x="240" y="426"/>
                  </a:lnTo>
                  <a:lnTo>
                    <a:pt x="238" y="425"/>
                  </a:lnTo>
                  <a:lnTo>
                    <a:pt x="235" y="423"/>
                  </a:lnTo>
                  <a:lnTo>
                    <a:pt x="230" y="422"/>
                  </a:lnTo>
                  <a:lnTo>
                    <a:pt x="161" y="422"/>
                  </a:lnTo>
                  <a:lnTo>
                    <a:pt x="161" y="380"/>
                  </a:lnTo>
                  <a:lnTo>
                    <a:pt x="242" y="380"/>
                  </a:lnTo>
                  <a:lnTo>
                    <a:pt x="245" y="380"/>
                  </a:lnTo>
                  <a:lnTo>
                    <a:pt x="248" y="379"/>
                  </a:lnTo>
                  <a:lnTo>
                    <a:pt x="251" y="376"/>
                  </a:lnTo>
                  <a:lnTo>
                    <a:pt x="252" y="374"/>
                  </a:lnTo>
                  <a:lnTo>
                    <a:pt x="253" y="372"/>
                  </a:lnTo>
                  <a:lnTo>
                    <a:pt x="255" y="367"/>
                  </a:lnTo>
                  <a:lnTo>
                    <a:pt x="253" y="364"/>
                  </a:lnTo>
                  <a:lnTo>
                    <a:pt x="252" y="362"/>
                  </a:lnTo>
                  <a:lnTo>
                    <a:pt x="251" y="359"/>
                  </a:lnTo>
                  <a:lnTo>
                    <a:pt x="248" y="356"/>
                  </a:lnTo>
                  <a:lnTo>
                    <a:pt x="245" y="356"/>
                  </a:lnTo>
                  <a:lnTo>
                    <a:pt x="242" y="354"/>
                  </a:lnTo>
                  <a:lnTo>
                    <a:pt x="147" y="354"/>
                  </a:lnTo>
                  <a:lnTo>
                    <a:pt x="143" y="356"/>
                  </a:lnTo>
                  <a:lnTo>
                    <a:pt x="140" y="357"/>
                  </a:lnTo>
                  <a:lnTo>
                    <a:pt x="137" y="359"/>
                  </a:lnTo>
                  <a:lnTo>
                    <a:pt x="134" y="362"/>
                  </a:lnTo>
                  <a:lnTo>
                    <a:pt x="132" y="366"/>
                  </a:lnTo>
                  <a:lnTo>
                    <a:pt x="132" y="369"/>
                  </a:lnTo>
                  <a:lnTo>
                    <a:pt x="132" y="502"/>
                  </a:lnTo>
                  <a:lnTo>
                    <a:pt x="132" y="507"/>
                  </a:lnTo>
                  <a:lnTo>
                    <a:pt x="134" y="509"/>
                  </a:lnTo>
                  <a:lnTo>
                    <a:pt x="137" y="512"/>
                  </a:lnTo>
                  <a:lnTo>
                    <a:pt x="140" y="515"/>
                  </a:lnTo>
                  <a:lnTo>
                    <a:pt x="143" y="517"/>
                  </a:lnTo>
                  <a:lnTo>
                    <a:pt x="147" y="517"/>
                  </a:lnTo>
                  <a:close/>
                  <a:moveTo>
                    <a:pt x="278" y="504"/>
                  </a:moveTo>
                  <a:lnTo>
                    <a:pt x="278" y="504"/>
                  </a:lnTo>
                  <a:lnTo>
                    <a:pt x="278" y="508"/>
                  </a:lnTo>
                  <a:lnTo>
                    <a:pt x="279" y="511"/>
                  </a:lnTo>
                  <a:lnTo>
                    <a:pt x="282" y="514"/>
                  </a:lnTo>
                  <a:lnTo>
                    <a:pt x="285" y="517"/>
                  </a:lnTo>
                  <a:lnTo>
                    <a:pt x="288" y="517"/>
                  </a:lnTo>
                  <a:lnTo>
                    <a:pt x="292" y="518"/>
                  </a:lnTo>
                  <a:lnTo>
                    <a:pt x="295" y="517"/>
                  </a:lnTo>
                  <a:lnTo>
                    <a:pt x="300" y="517"/>
                  </a:lnTo>
                  <a:lnTo>
                    <a:pt x="302" y="514"/>
                  </a:lnTo>
                  <a:lnTo>
                    <a:pt x="304" y="511"/>
                  </a:lnTo>
                  <a:lnTo>
                    <a:pt x="305" y="508"/>
                  </a:lnTo>
                  <a:lnTo>
                    <a:pt x="305" y="504"/>
                  </a:lnTo>
                  <a:lnTo>
                    <a:pt x="305" y="402"/>
                  </a:lnTo>
                  <a:lnTo>
                    <a:pt x="389" y="509"/>
                  </a:lnTo>
                  <a:lnTo>
                    <a:pt x="392" y="512"/>
                  </a:lnTo>
                  <a:lnTo>
                    <a:pt x="396" y="515"/>
                  </a:lnTo>
                  <a:lnTo>
                    <a:pt x="399" y="517"/>
                  </a:lnTo>
                  <a:lnTo>
                    <a:pt x="405" y="518"/>
                  </a:lnTo>
                  <a:lnTo>
                    <a:pt x="405" y="518"/>
                  </a:lnTo>
                  <a:lnTo>
                    <a:pt x="409" y="517"/>
                  </a:lnTo>
                  <a:lnTo>
                    <a:pt x="412" y="515"/>
                  </a:lnTo>
                  <a:lnTo>
                    <a:pt x="415" y="514"/>
                  </a:lnTo>
                  <a:lnTo>
                    <a:pt x="418" y="511"/>
                  </a:lnTo>
                  <a:lnTo>
                    <a:pt x="419" y="507"/>
                  </a:lnTo>
                  <a:lnTo>
                    <a:pt x="419" y="504"/>
                  </a:lnTo>
                  <a:lnTo>
                    <a:pt x="419" y="367"/>
                  </a:lnTo>
                  <a:lnTo>
                    <a:pt x="419" y="364"/>
                  </a:lnTo>
                  <a:lnTo>
                    <a:pt x="418" y="360"/>
                  </a:lnTo>
                  <a:lnTo>
                    <a:pt x="415" y="357"/>
                  </a:lnTo>
                  <a:lnTo>
                    <a:pt x="412" y="356"/>
                  </a:lnTo>
                  <a:lnTo>
                    <a:pt x="409" y="354"/>
                  </a:lnTo>
                  <a:lnTo>
                    <a:pt x="405" y="353"/>
                  </a:lnTo>
                  <a:lnTo>
                    <a:pt x="402" y="354"/>
                  </a:lnTo>
                  <a:lnTo>
                    <a:pt x="397" y="356"/>
                  </a:lnTo>
                  <a:lnTo>
                    <a:pt x="396" y="357"/>
                  </a:lnTo>
                  <a:lnTo>
                    <a:pt x="393" y="360"/>
                  </a:lnTo>
                  <a:lnTo>
                    <a:pt x="392" y="364"/>
                  </a:lnTo>
                  <a:lnTo>
                    <a:pt x="392" y="367"/>
                  </a:lnTo>
                  <a:lnTo>
                    <a:pt x="392" y="466"/>
                  </a:lnTo>
                  <a:lnTo>
                    <a:pt x="310" y="362"/>
                  </a:lnTo>
                  <a:lnTo>
                    <a:pt x="307" y="359"/>
                  </a:lnTo>
                  <a:lnTo>
                    <a:pt x="304" y="356"/>
                  </a:lnTo>
                  <a:lnTo>
                    <a:pt x="300" y="354"/>
                  </a:lnTo>
                  <a:lnTo>
                    <a:pt x="295" y="354"/>
                  </a:lnTo>
                  <a:lnTo>
                    <a:pt x="292" y="354"/>
                  </a:lnTo>
                  <a:lnTo>
                    <a:pt x="288" y="354"/>
                  </a:lnTo>
                  <a:lnTo>
                    <a:pt x="285" y="356"/>
                  </a:lnTo>
                  <a:lnTo>
                    <a:pt x="282" y="359"/>
                  </a:lnTo>
                  <a:lnTo>
                    <a:pt x="279" y="362"/>
                  </a:lnTo>
                  <a:lnTo>
                    <a:pt x="278" y="364"/>
                  </a:lnTo>
                  <a:lnTo>
                    <a:pt x="278" y="369"/>
                  </a:lnTo>
                  <a:lnTo>
                    <a:pt x="278" y="504"/>
                  </a:lnTo>
                  <a:close/>
                  <a:moveTo>
                    <a:pt x="588" y="519"/>
                  </a:moveTo>
                  <a:lnTo>
                    <a:pt x="588" y="519"/>
                  </a:lnTo>
                  <a:lnTo>
                    <a:pt x="600" y="518"/>
                  </a:lnTo>
                  <a:lnTo>
                    <a:pt x="611" y="515"/>
                  </a:lnTo>
                  <a:lnTo>
                    <a:pt x="621" y="512"/>
                  </a:lnTo>
                  <a:lnTo>
                    <a:pt x="629" y="507"/>
                  </a:lnTo>
                  <a:lnTo>
                    <a:pt x="636" y="499"/>
                  </a:lnTo>
                  <a:lnTo>
                    <a:pt x="641" y="491"/>
                  </a:lnTo>
                  <a:lnTo>
                    <a:pt x="644" y="481"/>
                  </a:lnTo>
                  <a:lnTo>
                    <a:pt x="645" y="471"/>
                  </a:lnTo>
                  <a:lnTo>
                    <a:pt x="645" y="471"/>
                  </a:lnTo>
                  <a:lnTo>
                    <a:pt x="645" y="461"/>
                  </a:lnTo>
                  <a:lnTo>
                    <a:pt x="642" y="452"/>
                  </a:lnTo>
                  <a:lnTo>
                    <a:pt x="638" y="446"/>
                  </a:lnTo>
                  <a:lnTo>
                    <a:pt x="632" y="439"/>
                  </a:lnTo>
                  <a:lnTo>
                    <a:pt x="625" y="435"/>
                  </a:lnTo>
                  <a:lnTo>
                    <a:pt x="616" y="430"/>
                  </a:lnTo>
                  <a:lnTo>
                    <a:pt x="606" y="426"/>
                  </a:lnTo>
                  <a:lnTo>
                    <a:pt x="593" y="423"/>
                  </a:lnTo>
                  <a:lnTo>
                    <a:pt x="583" y="420"/>
                  </a:lnTo>
                  <a:lnTo>
                    <a:pt x="575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59" y="409"/>
                  </a:lnTo>
                  <a:lnTo>
                    <a:pt x="556" y="406"/>
                  </a:lnTo>
                  <a:lnTo>
                    <a:pt x="556" y="402"/>
                  </a:lnTo>
                  <a:lnTo>
                    <a:pt x="554" y="397"/>
                  </a:lnTo>
                  <a:lnTo>
                    <a:pt x="554" y="397"/>
                  </a:lnTo>
                  <a:lnTo>
                    <a:pt x="556" y="392"/>
                  </a:lnTo>
                  <a:lnTo>
                    <a:pt x="557" y="387"/>
                  </a:lnTo>
                  <a:lnTo>
                    <a:pt x="562" y="383"/>
                  </a:lnTo>
                  <a:lnTo>
                    <a:pt x="567" y="380"/>
                  </a:lnTo>
                  <a:lnTo>
                    <a:pt x="573" y="379"/>
                  </a:lnTo>
                  <a:lnTo>
                    <a:pt x="582" y="377"/>
                  </a:lnTo>
                  <a:lnTo>
                    <a:pt x="590" y="379"/>
                  </a:lnTo>
                  <a:lnTo>
                    <a:pt x="600" y="380"/>
                  </a:lnTo>
                  <a:lnTo>
                    <a:pt x="609" y="384"/>
                  </a:lnTo>
                  <a:lnTo>
                    <a:pt x="619" y="390"/>
                  </a:lnTo>
                  <a:lnTo>
                    <a:pt x="621" y="390"/>
                  </a:lnTo>
                  <a:lnTo>
                    <a:pt x="622" y="392"/>
                  </a:lnTo>
                  <a:lnTo>
                    <a:pt x="624" y="392"/>
                  </a:lnTo>
                  <a:lnTo>
                    <a:pt x="626" y="392"/>
                  </a:lnTo>
                  <a:lnTo>
                    <a:pt x="629" y="392"/>
                  </a:lnTo>
                  <a:lnTo>
                    <a:pt x="632" y="390"/>
                  </a:lnTo>
                  <a:lnTo>
                    <a:pt x="635" y="389"/>
                  </a:lnTo>
                  <a:lnTo>
                    <a:pt x="638" y="386"/>
                  </a:lnTo>
                  <a:lnTo>
                    <a:pt x="639" y="382"/>
                  </a:lnTo>
                  <a:lnTo>
                    <a:pt x="639" y="379"/>
                  </a:lnTo>
                  <a:lnTo>
                    <a:pt x="639" y="374"/>
                  </a:lnTo>
                  <a:lnTo>
                    <a:pt x="638" y="372"/>
                  </a:lnTo>
                  <a:lnTo>
                    <a:pt x="635" y="369"/>
                  </a:lnTo>
                  <a:lnTo>
                    <a:pt x="634" y="367"/>
                  </a:lnTo>
                  <a:lnTo>
                    <a:pt x="622" y="362"/>
                  </a:lnTo>
                  <a:lnTo>
                    <a:pt x="609" y="356"/>
                  </a:lnTo>
                  <a:lnTo>
                    <a:pt x="596" y="353"/>
                  </a:lnTo>
                  <a:lnTo>
                    <a:pt x="582" y="353"/>
                  </a:lnTo>
                  <a:lnTo>
                    <a:pt x="570" y="353"/>
                  </a:lnTo>
                  <a:lnTo>
                    <a:pt x="559" y="356"/>
                  </a:lnTo>
                  <a:lnTo>
                    <a:pt x="550" y="360"/>
                  </a:lnTo>
                  <a:lnTo>
                    <a:pt x="541" y="366"/>
                  </a:lnTo>
                  <a:lnTo>
                    <a:pt x="536" y="372"/>
                  </a:lnTo>
                  <a:lnTo>
                    <a:pt x="530" y="380"/>
                  </a:lnTo>
                  <a:lnTo>
                    <a:pt x="527" y="389"/>
                  </a:lnTo>
                  <a:lnTo>
                    <a:pt x="526" y="399"/>
                  </a:lnTo>
                  <a:lnTo>
                    <a:pt x="526" y="400"/>
                  </a:lnTo>
                  <a:lnTo>
                    <a:pt x="527" y="410"/>
                  </a:lnTo>
                  <a:lnTo>
                    <a:pt x="530" y="419"/>
                  </a:lnTo>
                  <a:lnTo>
                    <a:pt x="534" y="426"/>
                  </a:lnTo>
                  <a:lnTo>
                    <a:pt x="540" y="432"/>
                  </a:lnTo>
                  <a:lnTo>
                    <a:pt x="549" y="438"/>
                  </a:lnTo>
                  <a:lnTo>
                    <a:pt x="557" y="442"/>
                  </a:lnTo>
                  <a:lnTo>
                    <a:pt x="567" y="445"/>
                  </a:lnTo>
                  <a:lnTo>
                    <a:pt x="580" y="448"/>
                  </a:lnTo>
                  <a:lnTo>
                    <a:pt x="590" y="451"/>
                  </a:lnTo>
                  <a:lnTo>
                    <a:pt x="599" y="453"/>
                  </a:lnTo>
                  <a:lnTo>
                    <a:pt x="605" y="456"/>
                  </a:lnTo>
                  <a:lnTo>
                    <a:pt x="611" y="459"/>
                  </a:lnTo>
                  <a:lnTo>
                    <a:pt x="613" y="462"/>
                  </a:lnTo>
                  <a:lnTo>
                    <a:pt x="615" y="465"/>
                  </a:lnTo>
                  <a:lnTo>
                    <a:pt x="616" y="469"/>
                  </a:lnTo>
                  <a:lnTo>
                    <a:pt x="616" y="474"/>
                  </a:lnTo>
                  <a:lnTo>
                    <a:pt x="616" y="474"/>
                  </a:lnTo>
                  <a:lnTo>
                    <a:pt x="616" y="479"/>
                  </a:lnTo>
                  <a:lnTo>
                    <a:pt x="613" y="484"/>
                  </a:lnTo>
                  <a:lnTo>
                    <a:pt x="609" y="488"/>
                  </a:lnTo>
                  <a:lnTo>
                    <a:pt x="603" y="491"/>
                  </a:lnTo>
                  <a:lnTo>
                    <a:pt x="596" y="494"/>
                  </a:lnTo>
                  <a:lnTo>
                    <a:pt x="588" y="494"/>
                  </a:lnTo>
                  <a:lnTo>
                    <a:pt x="576" y="492"/>
                  </a:lnTo>
                  <a:lnTo>
                    <a:pt x="564" y="489"/>
                  </a:lnTo>
                  <a:lnTo>
                    <a:pt x="553" y="484"/>
                  </a:lnTo>
                  <a:lnTo>
                    <a:pt x="543" y="476"/>
                  </a:lnTo>
                  <a:lnTo>
                    <a:pt x="541" y="476"/>
                  </a:lnTo>
                  <a:lnTo>
                    <a:pt x="539" y="475"/>
                  </a:lnTo>
                  <a:lnTo>
                    <a:pt x="537" y="475"/>
                  </a:lnTo>
                  <a:lnTo>
                    <a:pt x="534" y="475"/>
                  </a:lnTo>
                  <a:lnTo>
                    <a:pt x="531" y="475"/>
                  </a:lnTo>
                  <a:lnTo>
                    <a:pt x="527" y="476"/>
                  </a:lnTo>
                  <a:lnTo>
                    <a:pt x="524" y="478"/>
                  </a:lnTo>
                  <a:lnTo>
                    <a:pt x="523" y="481"/>
                  </a:lnTo>
                  <a:lnTo>
                    <a:pt x="521" y="484"/>
                  </a:lnTo>
                  <a:lnTo>
                    <a:pt x="521" y="488"/>
                  </a:lnTo>
                  <a:lnTo>
                    <a:pt x="521" y="491"/>
                  </a:lnTo>
                  <a:lnTo>
                    <a:pt x="523" y="494"/>
                  </a:lnTo>
                  <a:lnTo>
                    <a:pt x="524" y="496"/>
                  </a:lnTo>
                  <a:lnTo>
                    <a:pt x="527" y="498"/>
                  </a:lnTo>
                  <a:lnTo>
                    <a:pt x="540" y="508"/>
                  </a:lnTo>
                  <a:lnTo>
                    <a:pt x="556" y="514"/>
                  </a:lnTo>
                  <a:lnTo>
                    <a:pt x="572" y="518"/>
                  </a:lnTo>
                  <a:lnTo>
                    <a:pt x="588" y="519"/>
                  </a:lnTo>
                  <a:close/>
                  <a:moveTo>
                    <a:pt x="755" y="504"/>
                  </a:moveTo>
                  <a:lnTo>
                    <a:pt x="755" y="504"/>
                  </a:lnTo>
                  <a:lnTo>
                    <a:pt x="756" y="508"/>
                  </a:lnTo>
                  <a:lnTo>
                    <a:pt x="757" y="511"/>
                  </a:lnTo>
                  <a:lnTo>
                    <a:pt x="759" y="514"/>
                  </a:lnTo>
                  <a:lnTo>
                    <a:pt x="762" y="515"/>
                  </a:lnTo>
                  <a:lnTo>
                    <a:pt x="766" y="517"/>
                  </a:lnTo>
                  <a:lnTo>
                    <a:pt x="769" y="518"/>
                  </a:lnTo>
                  <a:lnTo>
                    <a:pt x="773" y="517"/>
                  </a:lnTo>
                  <a:lnTo>
                    <a:pt x="776" y="515"/>
                  </a:lnTo>
                  <a:lnTo>
                    <a:pt x="779" y="514"/>
                  </a:lnTo>
                  <a:lnTo>
                    <a:pt x="782" y="511"/>
                  </a:lnTo>
                  <a:lnTo>
                    <a:pt x="783" y="508"/>
                  </a:lnTo>
                  <a:lnTo>
                    <a:pt x="783" y="504"/>
                  </a:lnTo>
                  <a:lnTo>
                    <a:pt x="783" y="465"/>
                  </a:lnTo>
                  <a:lnTo>
                    <a:pt x="816" y="465"/>
                  </a:lnTo>
                  <a:lnTo>
                    <a:pt x="829" y="463"/>
                  </a:lnTo>
                  <a:lnTo>
                    <a:pt x="841" y="461"/>
                  </a:lnTo>
                  <a:lnTo>
                    <a:pt x="852" y="456"/>
                  </a:lnTo>
                  <a:lnTo>
                    <a:pt x="861" y="451"/>
                  </a:lnTo>
                  <a:lnTo>
                    <a:pt x="870" y="443"/>
                  </a:lnTo>
                  <a:lnTo>
                    <a:pt x="876" y="433"/>
                  </a:lnTo>
                  <a:lnTo>
                    <a:pt x="880" y="422"/>
                  </a:lnTo>
                  <a:lnTo>
                    <a:pt x="881" y="409"/>
                  </a:lnTo>
                  <a:lnTo>
                    <a:pt x="881" y="409"/>
                  </a:lnTo>
                  <a:lnTo>
                    <a:pt x="880" y="400"/>
                  </a:lnTo>
                  <a:lnTo>
                    <a:pt x="878" y="393"/>
                  </a:lnTo>
                  <a:lnTo>
                    <a:pt x="877" y="386"/>
                  </a:lnTo>
                  <a:lnTo>
                    <a:pt x="873" y="380"/>
                  </a:lnTo>
                  <a:lnTo>
                    <a:pt x="870" y="374"/>
                  </a:lnTo>
                  <a:lnTo>
                    <a:pt x="864" y="370"/>
                  </a:lnTo>
                  <a:lnTo>
                    <a:pt x="858" y="366"/>
                  </a:lnTo>
                  <a:lnTo>
                    <a:pt x="852" y="362"/>
                  </a:lnTo>
                  <a:lnTo>
                    <a:pt x="845" y="359"/>
                  </a:lnTo>
                  <a:lnTo>
                    <a:pt x="837" y="356"/>
                  </a:lnTo>
                  <a:lnTo>
                    <a:pt x="828" y="356"/>
                  </a:lnTo>
                  <a:lnTo>
                    <a:pt x="819" y="354"/>
                  </a:lnTo>
                  <a:lnTo>
                    <a:pt x="769" y="354"/>
                  </a:lnTo>
                  <a:lnTo>
                    <a:pt x="766" y="356"/>
                  </a:lnTo>
                  <a:lnTo>
                    <a:pt x="762" y="357"/>
                  </a:lnTo>
                  <a:lnTo>
                    <a:pt x="759" y="359"/>
                  </a:lnTo>
                  <a:lnTo>
                    <a:pt x="757" y="362"/>
                  </a:lnTo>
                  <a:lnTo>
                    <a:pt x="756" y="366"/>
                  </a:lnTo>
                  <a:lnTo>
                    <a:pt x="755" y="369"/>
                  </a:lnTo>
                  <a:lnTo>
                    <a:pt x="755" y="504"/>
                  </a:lnTo>
                  <a:close/>
                  <a:moveTo>
                    <a:pt x="783" y="439"/>
                  </a:moveTo>
                  <a:lnTo>
                    <a:pt x="783" y="439"/>
                  </a:lnTo>
                  <a:lnTo>
                    <a:pt x="783" y="380"/>
                  </a:lnTo>
                  <a:lnTo>
                    <a:pt x="816" y="380"/>
                  </a:lnTo>
                  <a:lnTo>
                    <a:pt x="827" y="382"/>
                  </a:lnTo>
                  <a:lnTo>
                    <a:pt x="835" y="384"/>
                  </a:lnTo>
                  <a:lnTo>
                    <a:pt x="842" y="387"/>
                  </a:lnTo>
                  <a:lnTo>
                    <a:pt x="847" y="393"/>
                  </a:lnTo>
                  <a:lnTo>
                    <a:pt x="851" y="400"/>
                  </a:lnTo>
                  <a:lnTo>
                    <a:pt x="851" y="409"/>
                  </a:lnTo>
                  <a:lnTo>
                    <a:pt x="851" y="410"/>
                  </a:lnTo>
                  <a:lnTo>
                    <a:pt x="851" y="418"/>
                  </a:lnTo>
                  <a:lnTo>
                    <a:pt x="848" y="425"/>
                  </a:lnTo>
                  <a:lnTo>
                    <a:pt x="842" y="430"/>
                  </a:lnTo>
                  <a:lnTo>
                    <a:pt x="835" y="435"/>
                  </a:lnTo>
                  <a:lnTo>
                    <a:pt x="827" y="438"/>
                  </a:lnTo>
                  <a:lnTo>
                    <a:pt x="816" y="439"/>
                  </a:lnTo>
                  <a:lnTo>
                    <a:pt x="783" y="439"/>
                  </a:lnTo>
                  <a:close/>
                  <a:moveTo>
                    <a:pt x="900" y="504"/>
                  </a:moveTo>
                  <a:lnTo>
                    <a:pt x="900" y="504"/>
                  </a:lnTo>
                  <a:lnTo>
                    <a:pt x="900" y="508"/>
                  </a:lnTo>
                  <a:lnTo>
                    <a:pt x="901" y="511"/>
                  </a:lnTo>
                  <a:lnTo>
                    <a:pt x="904" y="514"/>
                  </a:lnTo>
                  <a:lnTo>
                    <a:pt x="907" y="515"/>
                  </a:lnTo>
                  <a:lnTo>
                    <a:pt x="910" y="517"/>
                  </a:lnTo>
                  <a:lnTo>
                    <a:pt x="914" y="518"/>
                  </a:lnTo>
                  <a:lnTo>
                    <a:pt x="917" y="517"/>
                  </a:lnTo>
                  <a:lnTo>
                    <a:pt x="922" y="515"/>
                  </a:lnTo>
                  <a:lnTo>
                    <a:pt x="924" y="514"/>
                  </a:lnTo>
                  <a:lnTo>
                    <a:pt x="926" y="511"/>
                  </a:lnTo>
                  <a:lnTo>
                    <a:pt x="927" y="508"/>
                  </a:lnTo>
                  <a:lnTo>
                    <a:pt x="927" y="504"/>
                  </a:lnTo>
                  <a:lnTo>
                    <a:pt x="927" y="461"/>
                  </a:lnTo>
                  <a:lnTo>
                    <a:pt x="965" y="461"/>
                  </a:lnTo>
                  <a:lnTo>
                    <a:pt x="1004" y="511"/>
                  </a:lnTo>
                  <a:lnTo>
                    <a:pt x="1007" y="514"/>
                  </a:lnTo>
                  <a:lnTo>
                    <a:pt x="1009" y="515"/>
                  </a:lnTo>
                  <a:lnTo>
                    <a:pt x="1012" y="517"/>
                  </a:lnTo>
                  <a:lnTo>
                    <a:pt x="1018" y="518"/>
                  </a:lnTo>
                  <a:lnTo>
                    <a:pt x="1021" y="518"/>
                  </a:lnTo>
                  <a:lnTo>
                    <a:pt x="1024" y="517"/>
                  </a:lnTo>
                  <a:lnTo>
                    <a:pt x="1027" y="514"/>
                  </a:lnTo>
                  <a:lnTo>
                    <a:pt x="1030" y="511"/>
                  </a:lnTo>
                  <a:lnTo>
                    <a:pt x="1031" y="508"/>
                  </a:lnTo>
                  <a:lnTo>
                    <a:pt x="1031" y="505"/>
                  </a:lnTo>
                  <a:lnTo>
                    <a:pt x="1031" y="502"/>
                  </a:lnTo>
                  <a:lnTo>
                    <a:pt x="1030" y="499"/>
                  </a:lnTo>
                  <a:lnTo>
                    <a:pt x="1028" y="496"/>
                  </a:lnTo>
                  <a:lnTo>
                    <a:pt x="1027" y="494"/>
                  </a:lnTo>
                  <a:lnTo>
                    <a:pt x="995" y="455"/>
                  </a:lnTo>
                  <a:lnTo>
                    <a:pt x="1005" y="451"/>
                  </a:lnTo>
                  <a:lnTo>
                    <a:pt x="1015" y="445"/>
                  </a:lnTo>
                  <a:lnTo>
                    <a:pt x="1022" y="438"/>
                  </a:lnTo>
                  <a:lnTo>
                    <a:pt x="1028" y="429"/>
                  </a:lnTo>
                  <a:lnTo>
                    <a:pt x="1031" y="419"/>
                  </a:lnTo>
                  <a:lnTo>
                    <a:pt x="1032" y="406"/>
                  </a:lnTo>
                  <a:lnTo>
                    <a:pt x="1032" y="406"/>
                  </a:lnTo>
                  <a:lnTo>
                    <a:pt x="1031" y="396"/>
                  </a:lnTo>
                  <a:lnTo>
                    <a:pt x="1028" y="386"/>
                  </a:lnTo>
                  <a:lnTo>
                    <a:pt x="1024" y="377"/>
                  </a:lnTo>
                  <a:lnTo>
                    <a:pt x="1018" y="372"/>
                  </a:lnTo>
                  <a:lnTo>
                    <a:pt x="1009" y="364"/>
                  </a:lnTo>
                  <a:lnTo>
                    <a:pt x="999" y="359"/>
                  </a:lnTo>
                  <a:lnTo>
                    <a:pt x="986" y="356"/>
                  </a:lnTo>
                  <a:lnTo>
                    <a:pt x="972" y="354"/>
                  </a:lnTo>
                  <a:lnTo>
                    <a:pt x="914" y="354"/>
                  </a:lnTo>
                  <a:lnTo>
                    <a:pt x="910" y="356"/>
                  </a:lnTo>
                  <a:lnTo>
                    <a:pt x="907" y="357"/>
                  </a:lnTo>
                  <a:lnTo>
                    <a:pt x="904" y="359"/>
                  </a:lnTo>
                  <a:lnTo>
                    <a:pt x="901" y="362"/>
                  </a:lnTo>
                  <a:lnTo>
                    <a:pt x="900" y="366"/>
                  </a:lnTo>
                  <a:lnTo>
                    <a:pt x="900" y="369"/>
                  </a:lnTo>
                  <a:lnTo>
                    <a:pt x="900" y="504"/>
                  </a:lnTo>
                  <a:close/>
                  <a:moveTo>
                    <a:pt x="927" y="435"/>
                  </a:moveTo>
                  <a:lnTo>
                    <a:pt x="927" y="435"/>
                  </a:lnTo>
                  <a:lnTo>
                    <a:pt x="927" y="380"/>
                  </a:lnTo>
                  <a:lnTo>
                    <a:pt x="969" y="380"/>
                  </a:lnTo>
                  <a:lnTo>
                    <a:pt x="979" y="382"/>
                  </a:lnTo>
                  <a:lnTo>
                    <a:pt x="988" y="383"/>
                  </a:lnTo>
                  <a:lnTo>
                    <a:pt x="995" y="387"/>
                  </a:lnTo>
                  <a:lnTo>
                    <a:pt x="999" y="393"/>
                  </a:lnTo>
                  <a:lnTo>
                    <a:pt x="1002" y="399"/>
                  </a:lnTo>
                  <a:lnTo>
                    <a:pt x="1004" y="407"/>
                  </a:lnTo>
                  <a:lnTo>
                    <a:pt x="1004" y="407"/>
                  </a:lnTo>
                  <a:lnTo>
                    <a:pt x="1002" y="416"/>
                  </a:lnTo>
                  <a:lnTo>
                    <a:pt x="999" y="422"/>
                  </a:lnTo>
                  <a:lnTo>
                    <a:pt x="994" y="428"/>
                  </a:lnTo>
                  <a:lnTo>
                    <a:pt x="988" y="432"/>
                  </a:lnTo>
                  <a:lnTo>
                    <a:pt x="979" y="435"/>
                  </a:lnTo>
                  <a:lnTo>
                    <a:pt x="969" y="435"/>
                  </a:lnTo>
                  <a:lnTo>
                    <a:pt x="927" y="435"/>
                  </a:lnTo>
                  <a:close/>
                  <a:moveTo>
                    <a:pt x="965" y="323"/>
                  </a:moveTo>
                  <a:lnTo>
                    <a:pt x="965" y="323"/>
                  </a:lnTo>
                  <a:lnTo>
                    <a:pt x="952" y="313"/>
                  </a:lnTo>
                  <a:lnTo>
                    <a:pt x="949" y="310"/>
                  </a:lnTo>
                  <a:lnTo>
                    <a:pt x="946" y="308"/>
                  </a:lnTo>
                  <a:lnTo>
                    <a:pt x="943" y="307"/>
                  </a:lnTo>
                  <a:lnTo>
                    <a:pt x="940" y="307"/>
                  </a:lnTo>
                  <a:lnTo>
                    <a:pt x="937" y="306"/>
                  </a:lnTo>
                  <a:lnTo>
                    <a:pt x="935" y="306"/>
                  </a:lnTo>
                  <a:lnTo>
                    <a:pt x="933" y="307"/>
                  </a:lnTo>
                  <a:lnTo>
                    <a:pt x="930" y="307"/>
                  </a:lnTo>
                  <a:lnTo>
                    <a:pt x="929" y="308"/>
                  </a:lnTo>
                  <a:lnTo>
                    <a:pt x="929" y="311"/>
                  </a:lnTo>
                  <a:lnTo>
                    <a:pt x="929" y="314"/>
                  </a:lnTo>
                  <a:lnTo>
                    <a:pt x="932" y="316"/>
                  </a:lnTo>
                  <a:lnTo>
                    <a:pt x="946" y="336"/>
                  </a:lnTo>
                  <a:lnTo>
                    <a:pt x="949" y="339"/>
                  </a:lnTo>
                  <a:lnTo>
                    <a:pt x="952" y="340"/>
                  </a:lnTo>
                  <a:lnTo>
                    <a:pt x="956" y="341"/>
                  </a:lnTo>
                  <a:lnTo>
                    <a:pt x="960" y="343"/>
                  </a:lnTo>
                  <a:lnTo>
                    <a:pt x="968" y="343"/>
                  </a:lnTo>
                  <a:lnTo>
                    <a:pt x="972" y="341"/>
                  </a:lnTo>
                  <a:lnTo>
                    <a:pt x="976" y="340"/>
                  </a:lnTo>
                  <a:lnTo>
                    <a:pt x="979" y="339"/>
                  </a:lnTo>
                  <a:lnTo>
                    <a:pt x="982" y="336"/>
                  </a:lnTo>
                  <a:lnTo>
                    <a:pt x="996" y="316"/>
                  </a:lnTo>
                  <a:lnTo>
                    <a:pt x="999" y="314"/>
                  </a:lnTo>
                  <a:lnTo>
                    <a:pt x="999" y="311"/>
                  </a:lnTo>
                  <a:lnTo>
                    <a:pt x="999" y="308"/>
                  </a:lnTo>
                  <a:lnTo>
                    <a:pt x="998" y="307"/>
                  </a:lnTo>
                  <a:lnTo>
                    <a:pt x="996" y="307"/>
                  </a:lnTo>
                  <a:lnTo>
                    <a:pt x="994" y="306"/>
                  </a:lnTo>
                  <a:lnTo>
                    <a:pt x="991" y="306"/>
                  </a:lnTo>
                  <a:lnTo>
                    <a:pt x="988" y="307"/>
                  </a:lnTo>
                  <a:lnTo>
                    <a:pt x="985" y="307"/>
                  </a:lnTo>
                  <a:lnTo>
                    <a:pt x="982" y="308"/>
                  </a:lnTo>
                  <a:lnTo>
                    <a:pt x="979" y="310"/>
                  </a:lnTo>
                  <a:lnTo>
                    <a:pt x="976" y="313"/>
                  </a:lnTo>
                  <a:lnTo>
                    <a:pt x="965" y="323"/>
                  </a:lnTo>
                  <a:close/>
                  <a:moveTo>
                    <a:pt x="1058" y="504"/>
                  </a:moveTo>
                  <a:lnTo>
                    <a:pt x="1058" y="504"/>
                  </a:lnTo>
                  <a:lnTo>
                    <a:pt x="1058" y="508"/>
                  </a:lnTo>
                  <a:lnTo>
                    <a:pt x="1060" y="511"/>
                  </a:lnTo>
                  <a:lnTo>
                    <a:pt x="1063" y="514"/>
                  </a:lnTo>
                  <a:lnTo>
                    <a:pt x="1066" y="515"/>
                  </a:lnTo>
                  <a:lnTo>
                    <a:pt x="1068" y="517"/>
                  </a:lnTo>
                  <a:lnTo>
                    <a:pt x="1073" y="518"/>
                  </a:lnTo>
                  <a:lnTo>
                    <a:pt x="1077" y="517"/>
                  </a:lnTo>
                  <a:lnTo>
                    <a:pt x="1080" y="515"/>
                  </a:lnTo>
                  <a:lnTo>
                    <a:pt x="1083" y="514"/>
                  </a:lnTo>
                  <a:lnTo>
                    <a:pt x="1086" y="511"/>
                  </a:lnTo>
                  <a:lnTo>
                    <a:pt x="1087" y="508"/>
                  </a:lnTo>
                  <a:lnTo>
                    <a:pt x="1087" y="504"/>
                  </a:lnTo>
                  <a:lnTo>
                    <a:pt x="1087" y="367"/>
                  </a:lnTo>
                  <a:lnTo>
                    <a:pt x="1087" y="364"/>
                  </a:lnTo>
                  <a:lnTo>
                    <a:pt x="1086" y="360"/>
                  </a:lnTo>
                  <a:lnTo>
                    <a:pt x="1083" y="357"/>
                  </a:lnTo>
                  <a:lnTo>
                    <a:pt x="1080" y="356"/>
                  </a:lnTo>
                  <a:lnTo>
                    <a:pt x="1077" y="354"/>
                  </a:lnTo>
                  <a:lnTo>
                    <a:pt x="1073" y="353"/>
                  </a:lnTo>
                  <a:lnTo>
                    <a:pt x="1068" y="354"/>
                  </a:lnTo>
                  <a:lnTo>
                    <a:pt x="1066" y="356"/>
                  </a:lnTo>
                  <a:lnTo>
                    <a:pt x="1063" y="357"/>
                  </a:lnTo>
                  <a:lnTo>
                    <a:pt x="1060" y="360"/>
                  </a:lnTo>
                  <a:lnTo>
                    <a:pt x="1058" y="364"/>
                  </a:lnTo>
                  <a:lnTo>
                    <a:pt x="1058" y="367"/>
                  </a:lnTo>
                  <a:lnTo>
                    <a:pt x="1058" y="504"/>
                  </a:lnTo>
                  <a:close/>
                  <a:moveTo>
                    <a:pt x="1120" y="502"/>
                  </a:moveTo>
                  <a:lnTo>
                    <a:pt x="1120" y="502"/>
                  </a:lnTo>
                  <a:lnTo>
                    <a:pt x="1120" y="507"/>
                  </a:lnTo>
                  <a:lnTo>
                    <a:pt x="1122" y="509"/>
                  </a:lnTo>
                  <a:lnTo>
                    <a:pt x="1125" y="512"/>
                  </a:lnTo>
                  <a:lnTo>
                    <a:pt x="1128" y="515"/>
                  </a:lnTo>
                  <a:lnTo>
                    <a:pt x="1130" y="517"/>
                  </a:lnTo>
                  <a:lnTo>
                    <a:pt x="1135" y="517"/>
                  </a:lnTo>
                  <a:lnTo>
                    <a:pt x="1223" y="517"/>
                  </a:lnTo>
                  <a:lnTo>
                    <a:pt x="1225" y="517"/>
                  </a:lnTo>
                  <a:lnTo>
                    <a:pt x="1228" y="515"/>
                  </a:lnTo>
                  <a:lnTo>
                    <a:pt x="1231" y="512"/>
                  </a:lnTo>
                  <a:lnTo>
                    <a:pt x="1233" y="511"/>
                  </a:lnTo>
                  <a:lnTo>
                    <a:pt x="1234" y="507"/>
                  </a:lnTo>
                  <a:lnTo>
                    <a:pt x="1236" y="504"/>
                  </a:lnTo>
                  <a:lnTo>
                    <a:pt x="1234" y="501"/>
                  </a:lnTo>
                  <a:lnTo>
                    <a:pt x="1233" y="496"/>
                  </a:lnTo>
                  <a:lnTo>
                    <a:pt x="1231" y="495"/>
                  </a:lnTo>
                  <a:lnTo>
                    <a:pt x="1228" y="492"/>
                  </a:lnTo>
                  <a:lnTo>
                    <a:pt x="1225" y="491"/>
                  </a:lnTo>
                  <a:lnTo>
                    <a:pt x="1223" y="491"/>
                  </a:lnTo>
                  <a:lnTo>
                    <a:pt x="1149" y="491"/>
                  </a:lnTo>
                  <a:lnTo>
                    <a:pt x="1149" y="367"/>
                  </a:lnTo>
                  <a:lnTo>
                    <a:pt x="1148" y="364"/>
                  </a:lnTo>
                  <a:lnTo>
                    <a:pt x="1146" y="360"/>
                  </a:lnTo>
                  <a:lnTo>
                    <a:pt x="1145" y="357"/>
                  </a:lnTo>
                  <a:lnTo>
                    <a:pt x="1142" y="356"/>
                  </a:lnTo>
                  <a:lnTo>
                    <a:pt x="1138" y="354"/>
                  </a:lnTo>
                  <a:lnTo>
                    <a:pt x="1135" y="353"/>
                  </a:lnTo>
                  <a:lnTo>
                    <a:pt x="1130" y="354"/>
                  </a:lnTo>
                  <a:lnTo>
                    <a:pt x="1128" y="356"/>
                  </a:lnTo>
                  <a:lnTo>
                    <a:pt x="1125" y="357"/>
                  </a:lnTo>
                  <a:lnTo>
                    <a:pt x="1122" y="360"/>
                  </a:lnTo>
                  <a:lnTo>
                    <a:pt x="1120" y="364"/>
                  </a:lnTo>
                  <a:lnTo>
                    <a:pt x="1120" y="367"/>
                  </a:lnTo>
                  <a:lnTo>
                    <a:pt x="1120" y="502"/>
                  </a:lnTo>
                  <a:close/>
                  <a:moveTo>
                    <a:pt x="1253" y="502"/>
                  </a:moveTo>
                  <a:lnTo>
                    <a:pt x="1253" y="502"/>
                  </a:lnTo>
                  <a:lnTo>
                    <a:pt x="1254" y="507"/>
                  </a:lnTo>
                  <a:lnTo>
                    <a:pt x="1256" y="509"/>
                  </a:lnTo>
                  <a:lnTo>
                    <a:pt x="1257" y="512"/>
                  </a:lnTo>
                  <a:lnTo>
                    <a:pt x="1260" y="515"/>
                  </a:lnTo>
                  <a:lnTo>
                    <a:pt x="1264" y="517"/>
                  </a:lnTo>
                  <a:lnTo>
                    <a:pt x="1267" y="517"/>
                  </a:lnTo>
                  <a:lnTo>
                    <a:pt x="1328" y="517"/>
                  </a:lnTo>
                  <a:lnTo>
                    <a:pt x="1341" y="517"/>
                  </a:lnTo>
                  <a:lnTo>
                    <a:pt x="1354" y="514"/>
                  </a:lnTo>
                  <a:lnTo>
                    <a:pt x="1364" y="511"/>
                  </a:lnTo>
                  <a:lnTo>
                    <a:pt x="1372" y="505"/>
                  </a:lnTo>
                  <a:lnTo>
                    <a:pt x="1380" y="499"/>
                  </a:lnTo>
                  <a:lnTo>
                    <a:pt x="1384" y="491"/>
                  </a:lnTo>
                  <a:lnTo>
                    <a:pt x="1387" y="482"/>
                  </a:lnTo>
                  <a:lnTo>
                    <a:pt x="1388" y="472"/>
                  </a:lnTo>
                  <a:lnTo>
                    <a:pt x="1388" y="472"/>
                  </a:lnTo>
                  <a:lnTo>
                    <a:pt x="1387" y="462"/>
                  </a:lnTo>
                  <a:lnTo>
                    <a:pt x="1384" y="453"/>
                  </a:lnTo>
                  <a:lnTo>
                    <a:pt x="1380" y="446"/>
                  </a:lnTo>
                  <a:lnTo>
                    <a:pt x="1372" y="440"/>
                  </a:lnTo>
                  <a:lnTo>
                    <a:pt x="1365" y="436"/>
                  </a:lnTo>
                  <a:lnTo>
                    <a:pt x="1356" y="432"/>
                  </a:lnTo>
                  <a:lnTo>
                    <a:pt x="1362" y="429"/>
                  </a:lnTo>
                  <a:lnTo>
                    <a:pt x="1368" y="425"/>
                  </a:lnTo>
                  <a:lnTo>
                    <a:pt x="1372" y="419"/>
                  </a:lnTo>
                  <a:lnTo>
                    <a:pt x="1377" y="413"/>
                  </a:lnTo>
                  <a:lnTo>
                    <a:pt x="1378" y="406"/>
                  </a:lnTo>
                  <a:lnTo>
                    <a:pt x="1380" y="396"/>
                  </a:lnTo>
                  <a:lnTo>
                    <a:pt x="1380" y="396"/>
                  </a:lnTo>
                  <a:lnTo>
                    <a:pt x="1378" y="389"/>
                  </a:lnTo>
                  <a:lnTo>
                    <a:pt x="1377" y="382"/>
                  </a:lnTo>
                  <a:lnTo>
                    <a:pt x="1374" y="374"/>
                  </a:lnTo>
                  <a:lnTo>
                    <a:pt x="1368" y="369"/>
                  </a:lnTo>
                  <a:lnTo>
                    <a:pt x="1361" y="363"/>
                  </a:lnTo>
                  <a:lnTo>
                    <a:pt x="1351" y="359"/>
                  </a:lnTo>
                  <a:lnTo>
                    <a:pt x="1339" y="356"/>
                  </a:lnTo>
                  <a:lnTo>
                    <a:pt x="1326" y="354"/>
                  </a:lnTo>
                  <a:lnTo>
                    <a:pt x="1267" y="354"/>
                  </a:lnTo>
                  <a:lnTo>
                    <a:pt x="1264" y="356"/>
                  </a:lnTo>
                  <a:lnTo>
                    <a:pt x="1260" y="357"/>
                  </a:lnTo>
                  <a:lnTo>
                    <a:pt x="1257" y="359"/>
                  </a:lnTo>
                  <a:lnTo>
                    <a:pt x="1256" y="362"/>
                  </a:lnTo>
                  <a:lnTo>
                    <a:pt x="1254" y="366"/>
                  </a:lnTo>
                  <a:lnTo>
                    <a:pt x="1253" y="369"/>
                  </a:lnTo>
                  <a:lnTo>
                    <a:pt x="1253" y="502"/>
                  </a:lnTo>
                  <a:close/>
                  <a:moveTo>
                    <a:pt x="1282" y="423"/>
                  </a:moveTo>
                  <a:lnTo>
                    <a:pt x="1282" y="423"/>
                  </a:lnTo>
                  <a:lnTo>
                    <a:pt x="1282" y="380"/>
                  </a:lnTo>
                  <a:lnTo>
                    <a:pt x="1322" y="380"/>
                  </a:lnTo>
                  <a:lnTo>
                    <a:pt x="1329" y="380"/>
                  </a:lnTo>
                  <a:lnTo>
                    <a:pt x="1335" y="382"/>
                  </a:lnTo>
                  <a:lnTo>
                    <a:pt x="1339" y="383"/>
                  </a:lnTo>
                  <a:lnTo>
                    <a:pt x="1344" y="386"/>
                  </a:lnTo>
                  <a:lnTo>
                    <a:pt x="1346" y="389"/>
                  </a:lnTo>
                  <a:lnTo>
                    <a:pt x="1349" y="392"/>
                  </a:lnTo>
                  <a:lnTo>
                    <a:pt x="1351" y="396"/>
                  </a:lnTo>
                  <a:lnTo>
                    <a:pt x="1351" y="400"/>
                  </a:lnTo>
                  <a:lnTo>
                    <a:pt x="1351" y="400"/>
                  </a:lnTo>
                  <a:lnTo>
                    <a:pt x="1349" y="407"/>
                  </a:lnTo>
                  <a:lnTo>
                    <a:pt x="1346" y="413"/>
                  </a:lnTo>
                  <a:lnTo>
                    <a:pt x="1342" y="418"/>
                  </a:lnTo>
                  <a:lnTo>
                    <a:pt x="1336" y="420"/>
                  </a:lnTo>
                  <a:lnTo>
                    <a:pt x="1329" y="422"/>
                  </a:lnTo>
                  <a:lnTo>
                    <a:pt x="1320" y="423"/>
                  </a:lnTo>
                  <a:lnTo>
                    <a:pt x="1282" y="423"/>
                  </a:lnTo>
                  <a:close/>
                  <a:moveTo>
                    <a:pt x="1282" y="491"/>
                  </a:moveTo>
                  <a:lnTo>
                    <a:pt x="1282" y="491"/>
                  </a:lnTo>
                  <a:lnTo>
                    <a:pt x="1282" y="448"/>
                  </a:lnTo>
                  <a:lnTo>
                    <a:pt x="1326" y="448"/>
                  </a:lnTo>
                  <a:lnTo>
                    <a:pt x="1335" y="448"/>
                  </a:lnTo>
                  <a:lnTo>
                    <a:pt x="1341" y="449"/>
                  </a:lnTo>
                  <a:lnTo>
                    <a:pt x="1346" y="451"/>
                  </a:lnTo>
                  <a:lnTo>
                    <a:pt x="1352" y="453"/>
                  </a:lnTo>
                  <a:lnTo>
                    <a:pt x="1355" y="456"/>
                  </a:lnTo>
                  <a:lnTo>
                    <a:pt x="1358" y="459"/>
                  </a:lnTo>
                  <a:lnTo>
                    <a:pt x="1359" y="463"/>
                  </a:lnTo>
                  <a:lnTo>
                    <a:pt x="1359" y="469"/>
                  </a:lnTo>
                  <a:lnTo>
                    <a:pt x="1359" y="469"/>
                  </a:lnTo>
                  <a:lnTo>
                    <a:pt x="1359" y="476"/>
                  </a:lnTo>
                  <a:lnTo>
                    <a:pt x="1356" y="482"/>
                  </a:lnTo>
                  <a:lnTo>
                    <a:pt x="1352" y="486"/>
                  </a:lnTo>
                  <a:lnTo>
                    <a:pt x="1345" y="489"/>
                  </a:lnTo>
                  <a:lnTo>
                    <a:pt x="1338" y="491"/>
                  </a:lnTo>
                  <a:lnTo>
                    <a:pt x="1329" y="491"/>
                  </a:lnTo>
                  <a:lnTo>
                    <a:pt x="1282" y="491"/>
                  </a:lnTo>
                  <a:close/>
                  <a:moveTo>
                    <a:pt x="1486" y="519"/>
                  </a:moveTo>
                  <a:lnTo>
                    <a:pt x="1486" y="519"/>
                  </a:lnTo>
                  <a:lnTo>
                    <a:pt x="1500" y="518"/>
                  </a:lnTo>
                  <a:lnTo>
                    <a:pt x="1513" y="515"/>
                  </a:lnTo>
                  <a:lnTo>
                    <a:pt x="1526" y="509"/>
                  </a:lnTo>
                  <a:lnTo>
                    <a:pt x="1538" y="504"/>
                  </a:lnTo>
                  <a:lnTo>
                    <a:pt x="1547" y="495"/>
                  </a:lnTo>
                  <a:lnTo>
                    <a:pt x="1555" y="485"/>
                  </a:lnTo>
                  <a:lnTo>
                    <a:pt x="1562" y="474"/>
                  </a:lnTo>
                  <a:lnTo>
                    <a:pt x="1567" y="462"/>
                  </a:lnTo>
                  <a:lnTo>
                    <a:pt x="1570" y="449"/>
                  </a:lnTo>
                  <a:lnTo>
                    <a:pt x="1571" y="436"/>
                  </a:lnTo>
                  <a:lnTo>
                    <a:pt x="1571" y="435"/>
                  </a:lnTo>
                  <a:lnTo>
                    <a:pt x="1570" y="422"/>
                  </a:lnTo>
                  <a:lnTo>
                    <a:pt x="1567" y="409"/>
                  </a:lnTo>
                  <a:lnTo>
                    <a:pt x="1562" y="397"/>
                  </a:lnTo>
                  <a:lnTo>
                    <a:pt x="1555" y="386"/>
                  </a:lnTo>
                  <a:lnTo>
                    <a:pt x="1547" y="376"/>
                  </a:lnTo>
                  <a:lnTo>
                    <a:pt x="1538" y="369"/>
                  </a:lnTo>
                  <a:lnTo>
                    <a:pt x="1526" y="362"/>
                  </a:lnTo>
                  <a:lnTo>
                    <a:pt x="1513" y="356"/>
                  </a:lnTo>
                  <a:lnTo>
                    <a:pt x="1500" y="353"/>
                  </a:lnTo>
                  <a:lnTo>
                    <a:pt x="1486" y="351"/>
                  </a:lnTo>
                  <a:lnTo>
                    <a:pt x="1472" y="353"/>
                  </a:lnTo>
                  <a:lnTo>
                    <a:pt x="1459" y="356"/>
                  </a:lnTo>
                  <a:lnTo>
                    <a:pt x="1446" y="362"/>
                  </a:lnTo>
                  <a:lnTo>
                    <a:pt x="1434" y="369"/>
                  </a:lnTo>
                  <a:lnTo>
                    <a:pt x="1424" y="377"/>
                  </a:lnTo>
                  <a:lnTo>
                    <a:pt x="1417" y="386"/>
                  </a:lnTo>
                  <a:lnTo>
                    <a:pt x="1410" y="397"/>
                  </a:lnTo>
                  <a:lnTo>
                    <a:pt x="1405" y="409"/>
                  </a:lnTo>
                  <a:lnTo>
                    <a:pt x="1403" y="422"/>
                  </a:lnTo>
                  <a:lnTo>
                    <a:pt x="1401" y="436"/>
                  </a:lnTo>
                  <a:lnTo>
                    <a:pt x="1401" y="436"/>
                  </a:lnTo>
                  <a:lnTo>
                    <a:pt x="1403" y="449"/>
                  </a:lnTo>
                  <a:lnTo>
                    <a:pt x="1405" y="462"/>
                  </a:lnTo>
                  <a:lnTo>
                    <a:pt x="1410" y="474"/>
                  </a:lnTo>
                  <a:lnTo>
                    <a:pt x="1417" y="485"/>
                  </a:lnTo>
                  <a:lnTo>
                    <a:pt x="1424" y="495"/>
                  </a:lnTo>
                  <a:lnTo>
                    <a:pt x="1434" y="504"/>
                  </a:lnTo>
                  <a:lnTo>
                    <a:pt x="1446" y="509"/>
                  </a:lnTo>
                  <a:lnTo>
                    <a:pt x="1457" y="515"/>
                  </a:lnTo>
                  <a:lnTo>
                    <a:pt x="1472" y="518"/>
                  </a:lnTo>
                  <a:lnTo>
                    <a:pt x="1486" y="519"/>
                  </a:lnTo>
                  <a:close/>
                  <a:moveTo>
                    <a:pt x="1486" y="494"/>
                  </a:moveTo>
                  <a:lnTo>
                    <a:pt x="1486" y="494"/>
                  </a:lnTo>
                  <a:lnTo>
                    <a:pt x="1475" y="492"/>
                  </a:lnTo>
                  <a:lnTo>
                    <a:pt x="1464" y="488"/>
                  </a:lnTo>
                  <a:lnTo>
                    <a:pt x="1454" y="484"/>
                  </a:lnTo>
                  <a:lnTo>
                    <a:pt x="1446" y="476"/>
                  </a:lnTo>
                  <a:lnTo>
                    <a:pt x="1440" y="468"/>
                  </a:lnTo>
                  <a:lnTo>
                    <a:pt x="1436" y="458"/>
                  </a:lnTo>
                  <a:lnTo>
                    <a:pt x="1431" y="448"/>
                  </a:lnTo>
                  <a:lnTo>
                    <a:pt x="1431" y="436"/>
                  </a:lnTo>
                  <a:lnTo>
                    <a:pt x="1431" y="435"/>
                  </a:lnTo>
                  <a:lnTo>
                    <a:pt x="1431" y="423"/>
                  </a:lnTo>
                  <a:lnTo>
                    <a:pt x="1434" y="413"/>
                  </a:lnTo>
                  <a:lnTo>
                    <a:pt x="1440" y="403"/>
                  </a:lnTo>
                  <a:lnTo>
                    <a:pt x="1446" y="395"/>
                  </a:lnTo>
                  <a:lnTo>
                    <a:pt x="1454" y="387"/>
                  </a:lnTo>
                  <a:lnTo>
                    <a:pt x="1463" y="383"/>
                  </a:lnTo>
                  <a:lnTo>
                    <a:pt x="1475" y="379"/>
                  </a:lnTo>
                  <a:lnTo>
                    <a:pt x="1486" y="379"/>
                  </a:lnTo>
                  <a:lnTo>
                    <a:pt x="1498" y="379"/>
                  </a:lnTo>
                  <a:lnTo>
                    <a:pt x="1508" y="383"/>
                  </a:lnTo>
                  <a:lnTo>
                    <a:pt x="1518" y="387"/>
                  </a:lnTo>
                  <a:lnTo>
                    <a:pt x="1525" y="395"/>
                  </a:lnTo>
                  <a:lnTo>
                    <a:pt x="1532" y="403"/>
                  </a:lnTo>
                  <a:lnTo>
                    <a:pt x="1536" y="413"/>
                  </a:lnTo>
                  <a:lnTo>
                    <a:pt x="1539" y="425"/>
                  </a:lnTo>
                  <a:lnTo>
                    <a:pt x="1541" y="436"/>
                  </a:lnTo>
                  <a:lnTo>
                    <a:pt x="1541" y="436"/>
                  </a:lnTo>
                  <a:lnTo>
                    <a:pt x="1539" y="448"/>
                  </a:lnTo>
                  <a:lnTo>
                    <a:pt x="1536" y="458"/>
                  </a:lnTo>
                  <a:lnTo>
                    <a:pt x="1532" y="468"/>
                  </a:lnTo>
                  <a:lnTo>
                    <a:pt x="1525" y="476"/>
                  </a:lnTo>
                  <a:lnTo>
                    <a:pt x="1518" y="484"/>
                  </a:lnTo>
                  <a:lnTo>
                    <a:pt x="1508" y="488"/>
                  </a:lnTo>
                  <a:lnTo>
                    <a:pt x="1498" y="492"/>
                  </a:lnTo>
                  <a:lnTo>
                    <a:pt x="1486" y="494"/>
                  </a:lnTo>
                  <a:close/>
                  <a:moveTo>
                    <a:pt x="1657" y="519"/>
                  </a:moveTo>
                  <a:lnTo>
                    <a:pt x="1657" y="519"/>
                  </a:lnTo>
                  <a:lnTo>
                    <a:pt x="1673" y="518"/>
                  </a:lnTo>
                  <a:lnTo>
                    <a:pt x="1686" y="515"/>
                  </a:lnTo>
                  <a:lnTo>
                    <a:pt x="1692" y="512"/>
                  </a:lnTo>
                  <a:lnTo>
                    <a:pt x="1698" y="509"/>
                  </a:lnTo>
                  <a:lnTo>
                    <a:pt x="1704" y="505"/>
                  </a:lnTo>
                  <a:lnTo>
                    <a:pt x="1708" y="501"/>
                  </a:lnTo>
                  <a:lnTo>
                    <a:pt x="1712" y="496"/>
                  </a:lnTo>
                  <a:lnTo>
                    <a:pt x="1716" y="491"/>
                  </a:lnTo>
                  <a:lnTo>
                    <a:pt x="1719" y="485"/>
                  </a:lnTo>
                  <a:lnTo>
                    <a:pt x="1722" y="478"/>
                  </a:lnTo>
                  <a:lnTo>
                    <a:pt x="1727" y="463"/>
                  </a:lnTo>
                  <a:lnTo>
                    <a:pt x="1727" y="446"/>
                  </a:lnTo>
                  <a:lnTo>
                    <a:pt x="1727" y="367"/>
                  </a:lnTo>
                  <a:lnTo>
                    <a:pt x="1727" y="364"/>
                  </a:lnTo>
                  <a:lnTo>
                    <a:pt x="1725" y="360"/>
                  </a:lnTo>
                  <a:lnTo>
                    <a:pt x="1724" y="357"/>
                  </a:lnTo>
                  <a:lnTo>
                    <a:pt x="1721" y="356"/>
                  </a:lnTo>
                  <a:lnTo>
                    <a:pt x="1716" y="354"/>
                  </a:lnTo>
                  <a:lnTo>
                    <a:pt x="1714" y="353"/>
                  </a:lnTo>
                  <a:lnTo>
                    <a:pt x="1709" y="354"/>
                  </a:lnTo>
                  <a:lnTo>
                    <a:pt x="1706" y="356"/>
                  </a:lnTo>
                  <a:lnTo>
                    <a:pt x="1704" y="357"/>
                  </a:lnTo>
                  <a:lnTo>
                    <a:pt x="1701" y="360"/>
                  </a:lnTo>
                  <a:lnTo>
                    <a:pt x="1699" y="364"/>
                  </a:lnTo>
                  <a:lnTo>
                    <a:pt x="1699" y="367"/>
                  </a:lnTo>
                  <a:lnTo>
                    <a:pt x="1699" y="448"/>
                  </a:lnTo>
                  <a:lnTo>
                    <a:pt x="1698" y="462"/>
                  </a:lnTo>
                  <a:lnTo>
                    <a:pt x="1693" y="474"/>
                  </a:lnTo>
                  <a:lnTo>
                    <a:pt x="1691" y="478"/>
                  </a:lnTo>
                  <a:lnTo>
                    <a:pt x="1688" y="482"/>
                  </a:lnTo>
                  <a:lnTo>
                    <a:pt x="1683" y="485"/>
                  </a:lnTo>
                  <a:lnTo>
                    <a:pt x="1679" y="488"/>
                  </a:lnTo>
                  <a:lnTo>
                    <a:pt x="1669" y="492"/>
                  </a:lnTo>
                  <a:lnTo>
                    <a:pt x="1657" y="492"/>
                  </a:lnTo>
                  <a:lnTo>
                    <a:pt x="1652" y="492"/>
                  </a:lnTo>
                  <a:lnTo>
                    <a:pt x="1646" y="492"/>
                  </a:lnTo>
                  <a:lnTo>
                    <a:pt x="1640" y="489"/>
                  </a:lnTo>
                  <a:lnTo>
                    <a:pt x="1636" y="488"/>
                  </a:lnTo>
                  <a:lnTo>
                    <a:pt x="1632" y="485"/>
                  </a:lnTo>
                  <a:lnTo>
                    <a:pt x="1627" y="481"/>
                  </a:lnTo>
                  <a:lnTo>
                    <a:pt x="1624" y="476"/>
                  </a:lnTo>
                  <a:lnTo>
                    <a:pt x="1621" y="472"/>
                  </a:lnTo>
                  <a:lnTo>
                    <a:pt x="1619" y="461"/>
                  </a:lnTo>
                  <a:lnTo>
                    <a:pt x="1617" y="446"/>
                  </a:lnTo>
                  <a:lnTo>
                    <a:pt x="1617" y="367"/>
                  </a:lnTo>
                  <a:lnTo>
                    <a:pt x="1616" y="364"/>
                  </a:lnTo>
                  <a:lnTo>
                    <a:pt x="1614" y="360"/>
                  </a:lnTo>
                  <a:lnTo>
                    <a:pt x="1613" y="357"/>
                  </a:lnTo>
                  <a:lnTo>
                    <a:pt x="1610" y="356"/>
                  </a:lnTo>
                  <a:lnTo>
                    <a:pt x="1607" y="354"/>
                  </a:lnTo>
                  <a:lnTo>
                    <a:pt x="1603" y="353"/>
                  </a:lnTo>
                  <a:lnTo>
                    <a:pt x="1598" y="354"/>
                  </a:lnTo>
                  <a:lnTo>
                    <a:pt x="1596" y="356"/>
                  </a:lnTo>
                  <a:lnTo>
                    <a:pt x="1593" y="357"/>
                  </a:lnTo>
                  <a:lnTo>
                    <a:pt x="1590" y="360"/>
                  </a:lnTo>
                  <a:lnTo>
                    <a:pt x="1588" y="364"/>
                  </a:lnTo>
                  <a:lnTo>
                    <a:pt x="1588" y="367"/>
                  </a:lnTo>
                  <a:lnTo>
                    <a:pt x="1588" y="448"/>
                  </a:lnTo>
                  <a:lnTo>
                    <a:pt x="1590" y="465"/>
                  </a:lnTo>
                  <a:lnTo>
                    <a:pt x="1593" y="479"/>
                  </a:lnTo>
                  <a:lnTo>
                    <a:pt x="1596" y="485"/>
                  </a:lnTo>
                  <a:lnTo>
                    <a:pt x="1598" y="491"/>
                  </a:lnTo>
                  <a:lnTo>
                    <a:pt x="1603" y="496"/>
                  </a:lnTo>
                  <a:lnTo>
                    <a:pt x="1607" y="501"/>
                  </a:lnTo>
                  <a:lnTo>
                    <a:pt x="1611" y="505"/>
                  </a:lnTo>
                  <a:lnTo>
                    <a:pt x="1617" y="509"/>
                  </a:lnTo>
                  <a:lnTo>
                    <a:pt x="1623" y="512"/>
                  </a:lnTo>
                  <a:lnTo>
                    <a:pt x="1629" y="515"/>
                  </a:lnTo>
                  <a:lnTo>
                    <a:pt x="1642" y="518"/>
                  </a:lnTo>
                  <a:lnTo>
                    <a:pt x="1657" y="519"/>
                  </a:lnTo>
                  <a:close/>
                  <a:moveTo>
                    <a:pt x="66" y="250"/>
                  </a:moveTo>
                  <a:lnTo>
                    <a:pt x="66" y="250"/>
                  </a:lnTo>
                  <a:lnTo>
                    <a:pt x="66" y="255"/>
                  </a:lnTo>
                  <a:lnTo>
                    <a:pt x="69" y="261"/>
                  </a:lnTo>
                  <a:lnTo>
                    <a:pt x="72" y="265"/>
                  </a:lnTo>
                  <a:lnTo>
                    <a:pt x="78" y="268"/>
                  </a:lnTo>
                  <a:lnTo>
                    <a:pt x="82" y="271"/>
                  </a:lnTo>
                  <a:lnTo>
                    <a:pt x="89" y="271"/>
                  </a:lnTo>
                  <a:lnTo>
                    <a:pt x="95" y="271"/>
                  </a:lnTo>
                  <a:lnTo>
                    <a:pt x="101" y="268"/>
                  </a:lnTo>
                  <a:lnTo>
                    <a:pt x="105" y="265"/>
                  </a:lnTo>
                  <a:lnTo>
                    <a:pt x="109" y="261"/>
                  </a:lnTo>
                  <a:lnTo>
                    <a:pt x="111" y="255"/>
                  </a:lnTo>
                  <a:lnTo>
                    <a:pt x="112" y="250"/>
                  </a:lnTo>
                  <a:lnTo>
                    <a:pt x="112" y="80"/>
                  </a:lnTo>
                  <a:lnTo>
                    <a:pt x="249" y="257"/>
                  </a:lnTo>
                  <a:lnTo>
                    <a:pt x="255" y="262"/>
                  </a:lnTo>
                  <a:lnTo>
                    <a:pt x="259" y="267"/>
                  </a:lnTo>
                  <a:lnTo>
                    <a:pt x="266" y="270"/>
                  </a:lnTo>
                  <a:lnTo>
                    <a:pt x="274" y="271"/>
                  </a:lnTo>
                  <a:lnTo>
                    <a:pt x="275" y="271"/>
                  </a:lnTo>
                  <a:lnTo>
                    <a:pt x="282" y="271"/>
                  </a:lnTo>
                  <a:lnTo>
                    <a:pt x="287" y="268"/>
                  </a:lnTo>
                  <a:lnTo>
                    <a:pt x="292" y="264"/>
                  </a:lnTo>
                  <a:lnTo>
                    <a:pt x="295" y="260"/>
                  </a:lnTo>
                  <a:lnTo>
                    <a:pt x="298" y="254"/>
                  </a:lnTo>
                  <a:lnTo>
                    <a:pt x="298" y="248"/>
                  </a:lnTo>
                  <a:lnTo>
                    <a:pt x="298" y="24"/>
                  </a:lnTo>
                  <a:lnTo>
                    <a:pt x="298" y="18"/>
                  </a:lnTo>
                  <a:lnTo>
                    <a:pt x="295" y="13"/>
                  </a:lnTo>
                  <a:lnTo>
                    <a:pt x="292" y="8"/>
                  </a:lnTo>
                  <a:lnTo>
                    <a:pt x="287" y="5"/>
                  </a:lnTo>
                  <a:lnTo>
                    <a:pt x="281" y="3"/>
                  </a:lnTo>
                  <a:lnTo>
                    <a:pt x="275" y="1"/>
                  </a:lnTo>
                  <a:lnTo>
                    <a:pt x="269" y="3"/>
                  </a:lnTo>
                  <a:lnTo>
                    <a:pt x="264" y="5"/>
                  </a:lnTo>
                  <a:lnTo>
                    <a:pt x="259" y="8"/>
                  </a:lnTo>
                  <a:lnTo>
                    <a:pt x="255" y="13"/>
                  </a:lnTo>
                  <a:lnTo>
                    <a:pt x="253" y="18"/>
                  </a:lnTo>
                  <a:lnTo>
                    <a:pt x="252" y="24"/>
                  </a:lnTo>
                  <a:lnTo>
                    <a:pt x="252" y="188"/>
                  </a:lnTo>
                  <a:lnTo>
                    <a:pt x="118" y="15"/>
                  </a:lnTo>
                  <a:lnTo>
                    <a:pt x="114" y="10"/>
                  </a:lnTo>
                  <a:lnTo>
                    <a:pt x="108" y="5"/>
                  </a:lnTo>
                  <a:lnTo>
                    <a:pt x="102" y="3"/>
                  </a:lnTo>
                  <a:lnTo>
                    <a:pt x="95" y="3"/>
                  </a:lnTo>
                  <a:lnTo>
                    <a:pt x="89" y="3"/>
                  </a:lnTo>
                  <a:lnTo>
                    <a:pt x="84" y="3"/>
                  </a:lnTo>
                  <a:lnTo>
                    <a:pt x="78" y="5"/>
                  </a:lnTo>
                  <a:lnTo>
                    <a:pt x="72" y="8"/>
                  </a:lnTo>
                  <a:lnTo>
                    <a:pt x="69" y="14"/>
                  </a:lnTo>
                  <a:lnTo>
                    <a:pt x="66" y="20"/>
                  </a:lnTo>
                  <a:lnTo>
                    <a:pt x="66" y="25"/>
                  </a:lnTo>
                  <a:lnTo>
                    <a:pt x="66" y="250"/>
                  </a:lnTo>
                  <a:close/>
                  <a:moveTo>
                    <a:pt x="331" y="250"/>
                  </a:moveTo>
                  <a:lnTo>
                    <a:pt x="331" y="250"/>
                  </a:lnTo>
                  <a:lnTo>
                    <a:pt x="333" y="255"/>
                  </a:lnTo>
                  <a:lnTo>
                    <a:pt x="334" y="261"/>
                  </a:lnTo>
                  <a:lnTo>
                    <a:pt x="338" y="265"/>
                  </a:lnTo>
                  <a:lnTo>
                    <a:pt x="343" y="268"/>
                  </a:lnTo>
                  <a:lnTo>
                    <a:pt x="347" y="271"/>
                  </a:lnTo>
                  <a:lnTo>
                    <a:pt x="353" y="271"/>
                  </a:lnTo>
                  <a:lnTo>
                    <a:pt x="360" y="271"/>
                  </a:lnTo>
                  <a:lnTo>
                    <a:pt x="366" y="268"/>
                  </a:lnTo>
                  <a:lnTo>
                    <a:pt x="372" y="264"/>
                  </a:lnTo>
                  <a:lnTo>
                    <a:pt x="374" y="257"/>
                  </a:lnTo>
                  <a:lnTo>
                    <a:pt x="397" y="205"/>
                  </a:lnTo>
                  <a:lnTo>
                    <a:pt x="527" y="205"/>
                  </a:lnTo>
                  <a:lnTo>
                    <a:pt x="549" y="255"/>
                  </a:lnTo>
                  <a:lnTo>
                    <a:pt x="553" y="262"/>
                  </a:lnTo>
                  <a:lnTo>
                    <a:pt x="557" y="267"/>
                  </a:lnTo>
                  <a:lnTo>
                    <a:pt x="564" y="271"/>
                  </a:lnTo>
                  <a:lnTo>
                    <a:pt x="572" y="271"/>
                  </a:lnTo>
                  <a:lnTo>
                    <a:pt x="577" y="271"/>
                  </a:lnTo>
                  <a:lnTo>
                    <a:pt x="583" y="268"/>
                  </a:lnTo>
                  <a:lnTo>
                    <a:pt x="588" y="265"/>
                  </a:lnTo>
                  <a:lnTo>
                    <a:pt x="590" y="261"/>
                  </a:lnTo>
                  <a:lnTo>
                    <a:pt x="593" y="255"/>
                  </a:lnTo>
                  <a:lnTo>
                    <a:pt x="595" y="250"/>
                  </a:lnTo>
                  <a:lnTo>
                    <a:pt x="593" y="247"/>
                  </a:lnTo>
                  <a:lnTo>
                    <a:pt x="593" y="244"/>
                  </a:lnTo>
                  <a:lnTo>
                    <a:pt x="593" y="242"/>
                  </a:lnTo>
                  <a:lnTo>
                    <a:pt x="592" y="239"/>
                  </a:lnTo>
                  <a:lnTo>
                    <a:pt x="492" y="18"/>
                  </a:lnTo>
                  <a:lnTo>
                    <a:pt x="487" y="11"/>
                  </a:lnTo>
                  <a:lnTo>
                    <a:pt x="481" y="5"/>
                  </a:lnTo>
                  <a:lnTo>
                    <a:pt x="474" y="1"/>
                  </a:lnTo>
                  <a:lnTo>
                    <a:pt x="464" y="0"/>
                  </a:lnTo>
                  <a:lnTo>
                    <a:pt x="462" y="0"/>
                  </a:lnTo>
                  <a:lnTo>
                    <a:pt x="452" y="1"/>
                  </a:lnTo>
                  <a:lnTo>
                    <a:pt x="445" y="5"/>
                  </a:lnTo>
                  <a:lnTo>
                    <a:pt x="439" y="11"/>
                  </a:lnTo>
                  <a:lnTo>
                    <a:pt x="433" y="18"/>
                  </a:lnTo>
                  <a:lnTo>
                    <a:pt x="334" y="239"/>
                  </a:lnTo>
                  <a:lnTo>
                    <a:pt x="333" y="242"/>
                  </a:lnTo>
                  <a:lnTo>
                    <a:pt x="333" y="245"/>
                  </a:lnTo>
                  <a:lnTo>
                    <a:pt x="331" y="248"/>
                  </a:lnTo>
                  <a:lnTo>
                    <a:pt x="331" y="250"/>
                  </a:lnTo>
                  <a:close/>
                  <a:moveTo>
                    <a:pt x="416" y="163"/>
                  </a:moveTo>
                  <a:lnTo>
                    <a:pt x="416" y="163"/>
                  </a:lnTo>
                  <a:lnTo>
                    <a:pt x="462" y="57"/>
                  </a:lnTo>
                  <a:lnTo>
                    <a:pt x="510" y="163"/>
                  </a:lnTo>
                  <a:lnTo>
                    <a:pt x="416" y="163"/>
                  </a:lnTo>
                  <a:close/>
                  <a:moveTo>
                    <a:pt x="755" y="248"/>
                  </a:moveTo>
                  <a:lnTo>
                    <a:pt x="755" y="248"/>
                  </a:lnTo>
                  <a:lnTo>
                    <a:pt x="756" y="255"/>
                  </a:lnTo>
                  <a:lnTo>
                    <a:pt x="759" y="260"/>
                  </a:lnTo>
                  <a:lnTo>
                    <a:pt x="762" y="265"/>
                  </a:lnTo>
                  <a:lnTo>
                    <a:pt x="766" y="268"/>
                  </a:lnTo>
                  <a:lnTo>
                    <a:pt x="772" y="271"/>
                  </a:lnTo>
                  <a:lnTo>
                    <a:pt x="779" y="271"/>
                  </a:lnTo>
                  <a:lnTo>
                    <a:pt x="785" y="271"/>
                  </a:lnTo>
                  <a:lnTo>
                    <a:pt x="791" y="268"/>
                  </a:lnTo>
                  <a:lnTo>
                    <a:pt x="795" y="265"/>
                  </a:lnTo>
                  <a:lnTo>
                    <a:pt x="799" y="260"/>
                  </a:lnTo>
                  <a:lnTo>
                    <a:pt x="801" y="255"/>
                  </a:lnTo>
                  <a:lnTo>
                    <a:pt x="802" y="248"/>
                  </a:lnTo>
                  <a:lnTo>
                    <a:pt x="802" y="194"/>
                  </a:lnTo>
                  <a:lnTo>
                    <a:pt x="845" y="152"/>
                  </a:lnTo>
                  <a:lnTo>
                    <a:pt x="932" y="261"/>
                  </a:lnTo>
                  <a:lnTo>
                    <a:pt x="935" y="265"/>
                  </a:lnTo>
                  <a:lnTo>
                    <a:pt x="939" y="268"/>
                  </a:lnTo>
                  <a:lnTo>
                    <a:pt x="945" y="271"/>
                  </a:lnTo>
                  <a:lnTo>
                    <a:pt x="950" y="271"/>
                  </a:lnTo>
                  <a:lnTo>
                    <a:pt x="958" y="271"/>
                  </a:lnTo>
                  <a:lnTo>
                    <a:pt x="963" y="268"/>
                  </a:lnTo>
                  <a:lnTo>
                    <a:pt x="968" y="265"/>
                  </a:lnTo>
                  <a:lnTo>
                    <a:pt x="972" y="261"/>
                  </a:lnTo>
                  <a:lnTo>
                    <a:pt x="973" y="255"/>
                  </a:lnTo>
                  <a:lnTo>
                    <a:pt x="975" y="250"/>
                  </a:lnTo>
                  <a:lnTo>
                    <a:pt x="975" y="244"/>
                  </a:lnTo>
                  <a:lnTo>
                    <a:pt x="973" y="239"/>
                  </a:lnTo>
                  <a:lnTo>
                    <a:pt x="971" y="235"/>
                  </a:lnTo>
                  <a:lnTo>
                    <a:pt x="968" y="232"/>
                  </a:lnTo>
                  <a:lnTo>
                    <a:pt x="878" y="120"/>
                  </a:lnTo>
                  <a:lnTo>
                    <a:pt x="962" y="41"/>
                  </a:lnTo>
                  <a:lnTo>
                    <a:pt x="965" y="37"/>
                  </a:lnTo>
                  <a:lnTo>
                    <a:pt x="968" y="33"/>
                  </a:lnTo>
                  <a:lnTo>
                    <a:pt x="969" y="28"/>
                  </a:lnTo>
                  <a:lnTo>
                    <a:pt x="969" y="23"/>
                  </a:lnTo>
                  <a:lnTo>
                    <a:pt x="969" y="18"/>
                  </a:lnTo>
                  <a:lnTo>
                    <a:pt x="968" y="13"/>
                  </a:lnTo>
                  <a:lnTo>
                    <a:pt x="963" y="8"/>
                  </a:lnTo>
                  <a:lnTo>
                    <a:pt x="959" y="5"/>
                  </a:lnTo>
                  <a:lnTo>
                    <a:pt x="955" y="3"/>
                  </a:lnTo>
                  <a:lnTo>
                    <a:pt x="948" y="1"/>
                  </a:lnTo>
                  <a:lnTo>
                    <a:pt x="942" y="3"/>
                  </a:lnTo>
                  <a:lnTo>
                    <a:pt x="937" y="4"/>
                  </a:lnTo>
                  <a:lnTo>
                    <a:pt x="933" y="7"/>
                  </a:lnTo>
                  <a:lnTo>
                    <a:pt x="929" y="10"/>
                  </a:lnTo>
                  <a:lnTo>
                    <a:pt x="802" y="137"/>
                  </a:lnTo>
                  <a:lnTo>
                    <a:pt x="802" y="25"/>
                  </a:lnTo>
                  <a:lnTo>
                    <a:pt x="801" y="18"/>
                  </a:lnTo>
                  <a:lnTo>
                    <a:pt x="799" y="13"/>
                  </a:lnTo>
                  <a:lnTo>
                    <a:pt x="795" y="8"/>
                  </a:lnTo>
                  <a:lnTo>
                    <a:pt x="791" y="5"/>
                  </a:lnTo>
                  <a:lnTo>
                    <a:pt x="785" y="3"/>
                  </a:lnTo>
                  <a:lnTo>
                    <a:pt x="779" y="1"/>
                  </a:lnTo>
                  <a:lnTo>
                    <a:pt x="772" y="3"/>
                  </a:lnTo>
                  <a:lnTo>
                    <a:pt x="766" y="5"/>
                  </a:lnTo>
                  <a:lnTo>
                    <a:pt x="762" y="8"/>
                  </a:lnTo>
                  <a:lnTo>
                    <a:pt x="759" y="13"/>
                  </a:lnTo>
                  <a:lnTo>
                    <a:pt x="756" y="18"/>
                  </a:lnTo>
                  <a:lnTo>
                    <a:pt x="755" y="25"/>
                  </a:lnTo>
                  <a:lnTo>
                    <a:pt x="755" y="248"/>
                  </a:lnTo>
                  <a:close/>
                  <a:moveTo>
                    <a:pt x="1126" y="274"/>
                  </a:moveTo>
                  <a:lnTo>
                    <a:pt x="1126" y="274"/>
                  </a:lnTo>
                  <a:lnTo>
                    <a:pt x="1138" y="274"/>
                  </a:lnTo>
                  <a:lnTo>
                    <a:pt x="1149" y="272"/>
                  </a:lnTo>
                  <a:lnTo>
                    <a:pt x="1161" y="270"/>
                  </a:lnTo>
                  <a:lnTo>
                    <a:pt x="1172" y="267"/>
                  </a:lnTo>
                  <a:lnTo>
                    <a:pt x="1182" y="264"/>
                  </a:lnTo>
                  <a:lnTo>
                    <a:pt x="1192" y="258"/>
                  </a:lnTo>
                  <a:lnTo>
                    <a:pt x="1201" y="254"/>
                  </a:lnTo>
                  <a:lnTo>
                    <a:pt x="1210" y="248"/>
                  </a:lnTo>
                  <a:lnTo>
                    <a:pt x="1218" y="241"/>
                  </a:lnTo>
                  <a:lnTo>
                    <a:pt x="1227" y="234"/>
                  </a:lnTo>
                  <a:lnTo>
                    <a:pt x="1234" y="225"/>
                  </a:lnTo>
                  <a:lnTo>
                    <a:pt x="1240" y="218"/>
                  </a:lnTo>
                  <a:lnTo>
                    <a:pt x="1246" y="209"/>
                  </a:lnTo>
                  <a:lnTo>
                    <a:pt x="1251" y="199"/>
                  </a:lnTo>
                  <a:lnTo>
                    <a:pt x="1256" y="189"/>
                  </a:lnTo>
                  <a:lnTo>
                    <a:pt x="1259" y="179"/>
                  </a:lnTo>
                  <a:lnTo>
                    <a:pt x="1261" y="169"/>
                  </a:lnTo>
                  <a:lnTo>
                    <a:pt x="1264" y="159"/>
                  </a:lnTo>
                  <a:lnTo>
                    <a:pt x="1266" y="148"/>
                  </a:lnTo>
                  <a:lnTo>
                    <a:pt x="1266" y="136"/>
                  </a:lnTo>
                  <a:lnTo>
                    <a:pt x="1266" y="136"/>
                  </a:lnTo>
                  <a:lnTo>
                    <a:pt x="1266" y="125"/>
                  </a:lnTo>
                  <a:lnTo>
                    <a:pt x="1264" y="115"/>
                  </a:lnTo>
                  <a:lnTo>
                    <a:pt x="1261" y="103"/>
                  </a:lnTo>
                  <a:lnTo>
                    <a:pt x="1259" y="93"/>
                  </a:lnTo>
                  <a:lnTo>
                    <a:pt x="1256" y="83"/>
                  </a:lnTo>
                  <a:lnTo>
                    <a:pt x="1251" y="73"/>
                  </a:lnTo>
                  <a:lnTo>
                    <a:pt x="1246" y="64"/>
                  </a:lnTo>
                  <a:lnTo>
                    <a:pt x="1240" y="56"/>
                  </a:lnTo>
                  <a:lnTo>
                    <a:pt x="1234" y="47"/>
                  </a:lnTo>
                  <a:lnTo>
                    <a:pt x="1227" y="40"/>
                  </a:lnTo>
                  <a:lnTo>
                    <a:pt x="1220" y="33"/>
                  </a:lnTo>
                  <a:lnTo>
                    <a:pt x="1211" y="25"/>
                  </a:lnTo>
                  <a:lnTo>
                    <a:pt x="1202" y="20"/>
                  </a:lnTo>
                  <a:lnTo>
                    <a:pt x="1192" y="14"/>
                  </a:lnTo>
                  <a:lnTo>
                    <a:pt x="1182" y="10"/>
                  </a:lnTo>
                  <a:lnTo>
                    <a:pt x="1172" y="5"/>
                  </a:lnTo>
                  <a:lnTo>
                    <a:pt x="1162" y="3"/>
                  </a:lnTo>
                  <a:lnTo>
                    <a:pt x="1151" y="1"/>
                  </a:lnTo>
                  <a:lnTo>
                    <a:pt x="1139" y="0"/>
                  </a:lnTo>
                  <a:lnTo>
                    <a:pt x="1126" y="0"/>
                  </a:lnTo>
                  <a:lnTo>
                    <a:pt x="1115" y="0"/>
                  </a:lnTo>
                  <a:lnTo>
                    <a:pt x="1103" y="1"/>
                  </a:lnTo>
                  <a:lnTo>
                    <a:pt x="1092" y="3"/>
                  </a:lnTo>
                  <a:lnTo>
                    <a:pt x="1080" y="5"/>
                  </a:lnTo>
                  <a:lnTo>
                    <a:pt x="1070" y="10"/>
                  </a:lnTo>
                  <a:lnTo>
                    <a:pt x="1060" y="14"/>
                  </a:lnTo>
                  <a:lnTo>
                    <a:pt x="1051" y="20"/>
                  </a:lnTo>
                  <a:lnTo>
                    <a:pt x="1041" y="25"/>
                  </a:lnTo>
                  <a:lnTo>
                    <a:pt x="1034" y="33"/>
                  </a:lnTo>
                  <a:lnTo>
                    <a:pt x="1025" y="40"/>
                  </a:lnTo>
                  <a:lnTo>
                    <a:pt x="1018" y="47"/>
                  </a:lnTo>
                  <a:lnTo>
                    <a:pt x="1012" y="56"/>
                  </a:lnTo>
                  <a:lnTo>
                    <a:pt x="1007" y="64"/>
                  </a:lnTo>
                  <a:lnTo>
                    <a:pt x="1001" y="74"/>
                  </a:lnTo>
                  <a:lnTo>
                    <a:pt x="996" y="83"/>
                  </a:lnTo>
                  <a:lnTo>
                    <a:pt x="994" y="93"/>
                  </a:lnTo>
                  <a:lnTo>
                    <a:pt x="991" y="104"/>
                  </a:lnTo>
                  <a:lnTo>
                    <a:pt x="988" y="115"/>
                  </a:lnTo>
                  <a:lnTo>
                    <a:pt x="986" y="126"/>
                  </a:lnTo>
                  <a:lnTo>
                    <a:pt x="986" y="136"/>
                  </a:lnTo>
                  <a:lnTo>
                    <a:pt x="986" y="137"/>
                  </a:lnTo>
                  <a:lnTo>
                    <a:pt x="986" y="149"/>
                  </a:lnTo>
                  <a:lnTo>
                    <a:pt x="988" y="159"/>
                  </a:lnTo>
                  <a:lnTo>
                    <a:pt x="991" y="171"/>
                  </a:lnTo>
                  <a:lnTo>
                    <a:pt x="994" y="181"/>
                  </a:lnTo>
                  <a:lnTo>
                    <a:pt x="996" y="191"/>
                  </a:lnTo>
                  <a:lnTo>
                    <a:pt x="1001" y="201"/>
                  </a:lnTo>
                  <a:lnTo>
                    <a:pt x="1007" y="209"/>
                  </a:lnTo>
                  <a:lnTo>
                    <a:pt x="1012" y="218"/>
                  </a:lnTo>
                  <a:lnTo>
                    <a:pt x="1018" y="227"/>
                  </a:lnTo>
                  <a:lnTo>
                    <a:pt x="1025" y="234"/>
                  </a:lnTo>
                  <a:lnTo>
                    <a:pt x="1032" y="241"/>
                  </a:lnTo>
                  <a:lnTo>
                    <a:pt x="1041" y="248"/>
                  </a:lnTo>
                  <a:lnTo>
                    <a:pt x="1050" y="254"/>
                  </a:lnTo>
                  <a:lnTo>
                    <a:pt x="1060" y="260"/>
                  </a:lnTo>
                  <a:lnTo>
                    <a:pt x="1068" y="264"/>
                  </a:lnTo>
                  <a:lnTo>
                    <a:pt x="1080" y="267"/>
                  </a:lnTo>
                  <a:lnTo>
                    <a:pt x="1090" y="271"/>
                  </a:lnTo>
                  <a:lnTo>
                    <a:pt x="1102" y="272"/>
                  </a:lnTo>
                  <a:lnTo>
                    <a:pt x="1113" y="274"/>
                  </a:lnTo>
                  <a:lnTo>
                    <a:pt x="1126" y="274"/>
                  </a:lnTo>
                  <a:close/>
                  <a:moveTo>
                    <a:pt x="1126" y="231"/>
                  </a:moveTo>
                  <a:lnTo>
                    <a:pt x="1126" y="231"/>
                  </a:lnTo>
                  <a:lnTo>
                    <a:pt x="1116" y="231"/>
                  </a:lnTo>
                  <a:lnTo>
                    <a:pt x="1107" y="229"/>
                  </a:lnTo>
                  <a:lnTo>
                    <a:pt x="1099" y="227"/>
                  </a:lnTo>
                  <a:lnTo>
                    <a:pt x="1090" y="224"/>
                  </a:lnTo>
                  <a:lnTo>
                    <a:pt x="1081" y="219"/>
                  </a:lnTo>
                  <a:lnTo>
                    <a:pt x="1074" y="215"/>
                  </a:lnTo>
                  <a:lnTo>
                    <a:pt x="1067" y="209"/>
                  </a:lnTo>
                  <a:lnTo>
                    <a:pt x="1061" y="204"/>
                  </a:lnTo>
                  <a:lnTo>
                    <a:pt x="1056" y="196"/>
                  </a:lnTo>
                  <a:lnTo>
                    <a:pt x="1050" y="189"/>
                  </a:lnTo>
                  <a:lnTo>
                    <a:pt x="1045" y="182"/>
                  </a:lnTo>
                  <a:lnTo>
                    <a:pt x="1043" y="173"/>
                  </a:lnTo>
                  <a:lnTo>
                    <a:pt x="1040" y="165"/>
                  </a:lnTo>
                  <a:lnTo>
                    <a:pt x="1037" y="156"/>
                  </a:lnTo>
                  <a:lnTo>
                    <a:pt x="1035" y="146"/>
                  </a:lnTo>
                  <a:lnTo>
                    <a:pt x="1035" y="136"/>
                  </a:lnTo>
                  <a:lnTo>
                    <a:pt x="1035" y="136"/>
                  </a:lnTo>
                  <a:lnTo>
                    <a:pt x="1035" y="126"/>
                  </a:lnTo>
                  <a:lnTo>
                    <a:pt x="1037" y="117"/>
                  </a:lnTo>
                  <a:lnTo>
                    <a:pt x="1040" y="107"/>
                  </a:lnTo>
                  <a:lnTo>
                    <a:pt x="1043" y="99"/>
                  </a:lnTo>
                  <a:lnTo>
                    <a:pt x="1045" y="92"/>
                  </a:lnTo>
                  <a:lnTo>
                    <a:pt x="1050" y="83"/>
                  </a:lnTo>
                  <a:lnTo>
                    <a:pt x="1056" y="76"/>
                  </a:lnTo>
                  <a:lnTo>
                    <a:pt x="1061" y="70"/>
                  </a:lnTo>
                  <a:lnTo>
                    <a:pt x="1067" y="63"/>
                  </a:lnTo>
                  <a:lnTo>
                    <a:pt x="1074" y="59"/>
                  </a:lnTo>
                  <a:lnTo>
                    <a:pt x="1081" y="53"/>
                  </a:lnTo>
                  <a:lnTo>
                    <a:pt x="1089" y="50"/>
                  </a:lnTo>
                  <a:lnTo>
                    <a:pt x="1097" y="46"/>
                  </a:lnTo>
                  <a:lnTo>
                    <a:pt x="1106" y="44"/>
                  </a:lnTo>
                  <a:lnTo>
                    <a:pt x="1116" y="43"/>
                  </a:lnTo>
                  <a:lnTo>
                    <a:pt x="1126" y="41"/>
                  </a:lnTo>
                  <a:lnTo>
                    <a:pt x="1135" y="43"/>
                  </a:lnTo>
                  <a:lnTo>
                    <a:pt x="1145" y="44"/>
                  </a:lnTo>
                  <a:lnTo>
                    <a:pt x="1153" y="46"/>
                  </a:lnTo>
                  <a:lnTo>
                    <a:pt x="1162" y="50"/>
                  </a:lnTo>
                  <a:lnTo>
                    <a:pt x="1171" y="54"/>
                  </a:lnTo>
                  <a:lnTo>
                    <a:pt x="1178" y="59"/>
                  </a:lnTo>
                  <a:lnTo>
                    <a:pt x="1185" y="64"/>
                  </a:lnTo>
                  <a:lnTo>
                    <a:pt x="1191" y="70"/>
                  </a:lnTo>
                  <a:lnTo>
                    <a:pt x="1197" y="77"/>
                  </a:lnTo>
                  <a:lnTo>
                    <a:pt x="1201" y="84"/>
                  </a:lnTo>
                  <a:lnTo>
                    <a:pt x="1205" y="92"/>
                  </a:lnTo>
                  <a:lnTo>
                    <a:pt x="1210" y="100"/>
                  </a:lnTo>
                  <a:lnTo>
                    <a:pt x="1212" y="109"/>
                  </a:lnTo>
                  <a:lnTo>
                    <a:pt x="1214" y="117"/>
                  </a:lnTo>
                  <a:lnTo>
                    <a:pt x="1215" y="127"/>
                  </a:lnTo>
                  <a:lnTo>
                    <a:pt x="1217" y="136"/>
                  </a:lnTo>
                  <a:lnTo>
                    <a:pt x="1217" y="137"/>
                  </a:lnTo>
                  <a:lnTo>
                    <a:pt x="1215" y="148"/>
                  </a:lnTo>
                  <a:lnTo>
                    <a:pt x="1214" y="156"/>
                  </a:lnTo>
                  <a:lnTo>
                    <a:pt x="1212" y="165"/>
                  </a:lnTo>
                  <a:lnTo>
                    <a:pt x="1210" y="173"/>
                  </a:lnTo>
                  <a:lnTo>
                    <a:pt x="1207" y="182"/>
                  </a:lnTo>
                  <a:lnTo>
                    <a:pt x="1202" y="189"/>
                  </a:lnTo>
                  <a:lnTo>
                    <a:pt x="1197" y="196"/>
                  </a:lnTo>
                  <a:lnTo>
                    <a:pt x="1191" y="204"/>
                  </a:lnTo>
                  <a:lnTo>
                    <a:pt x="1185" y="209"/>
                  </a:lnTo>
                  <a:lnTo>
                    <a:pt x="1178" y="215"/>
                  </a:lnTo>
                  <a:lnTo>
                    <a:pt x="1171" y="219"/>
                  </a:lnTo>
                  <a:lnTo>
                    <a:pt x="1162" y="224"/>
                  </a:lnTo>
                  <a:lnTo>
                    <a:pt x="1155" y="227"/>
                  </a:lnTo>
                  <a:lnTo>
                    <a:pt x="1145" y="229"/>
                  </a:lnTo>
                  <a:lnTo>
                    <a:pt x="1136" y="231"/>
                  </a:lnTo>
                  <a:lnTo>
                    <a:pt x="1126" y="231"/>
                  </a:lnTo>
                  <a:close/>
                  <a:moveTo>
                    <a:pt x="1308" y="247"/>
                  </a:moveTo>
                  <a:lnTo>
                    <a:pt x="1308" y="247"/>
                  </a:lnTo>
                  <a:lnTo>
                    <a:pt x="1308" y="252"/>
                  </a:lnTo>
                  <a:lnTo>
                    <a:pt x="1310" y="258"/>
                  </a:lnTo>
                  <a:lnTo>
                    <a:pt x="1315" y="262"/>
                  </a:lnTo>
                  <a:lnTo>
                    <a:pt x="1319" y="267"/>
                  </a:lnTo>
                  <a:lnTo>
                    <a:pt x="1325" y="270"/>
                  </a:lnTo>
                  <a:lnTo>
                    <a:pt x="1331" y="270"/>
                  </a:lnTo>
                  <a:lnTo>
                    <a:pt x="1475" y="270"/>
                  </a:lnTo>
                  <a:lnTo>
                    <a:pt x="1480" y="270"/>
                  </a:lnTo>
                  <a:lnTo>
                    <a:pt x="1486" y="267"/>
                  </a:lnTo>
                  <a:lnTo>
                    <a:pt x="1490" y="264"/>
                  </a:lnTo>
                  <a:lnTo>
                    <a:pt x="1493" y="260"/>
                  </a:lnTo>
                  <a:lnTo>
                    <a:pt x="1496" y="254"/>
                  </a:lnTo>
                  <a:lnTo>
                    <a:pt x="1496" y="248"/>
                  </a:lnTo>
                  <a:lnTo>
                    <a:pt x="1496" y="242"/>
                  </a:lnTo>
                  <a:lnTo>
                    <a:pt x="1493" y="238"/>
                  </a:lnTo>
                  <a:lnTo>
                    <a:pt x="1490" y="234"/>
                  </a:lnTo>
                  <a:lnTo>
                    <a:pt x="1486" y="229"/>
                  </a:lnTo>
                  <a:lnTo>
                    <a:pt x="1480" y="228"/>
                  </a:lnTo>
                  <a:lnTo>
                    <a:pt x="1475" y="227"/>
                  </a:lnTo>
                  <a:lnTo>
                    <a:pt x="1354" y="227"/>
                  </a:lnTo>
                  <a:lnTo>
                    <a:pt x="1354" y="25"/>
                  </a:lnTo>
                  <a:lnTo>
                    <a:pt x="1354" y="18"/>
                  </a:lnTo>
                  <a:lnTo>
                    <a:pt x="1351" y="13"/>
                  </a:lnTo>
                  <a:lnTo>
                    <a:pt x="1348" y="8"/>
                  </a:lnTo>
                  <a:lnTo>
                    <a:pt x="1342" y="5"/>
                  </a:lnTo>
                  <a:lnTo>
                    <a:pt x="1338" y="3"/>
                  </a:lnTo>
                  <a:lnTo>
                    <a:pt x="1331" y="1"/>
                  </a:lnTo>
                  <a:lnTo>
                    <a:pt x="1325" y="3"/>
                  </a:lnTo>
                  <a:lnTo>
                    <a:pt x="1319" y="5"/>
                  </a:lnTo>
                  <a:lnTo>
                    <a:pt x="1315" y="8"/>
                  </a:lnTo>
                  <a:lnTo>
                    <a:pt x="1310" y="13"/>
                  </a:lnTo>
                  <a:lnTo>
                    <a:pt x="1308" y="18"/>
                  </a:lnTo>
                  <a:lnTo>
                    <a:pt x="1308" y="25"/>
                  </a:lnTo>
                  <a:lnTo>
                    <a:pt x="1308" y="247"/>
                  </a:lnTo>
                  <a:close/>
                  <a:moveTo>
                    <a:pt x="1549" y="270"/>
                  </a:moveTo>
                  <a:lnTo>
                    <a:pt x="1549" y="270"/>
                  </a:lnTo>
                  <a:lnTo>
                    <a:pt x="1706" y="270"/>
                  </a:lnTo>
                  <a:lnTo>
                    <a:pt x="1712" y="270"/>
                  </a:lnTo>
                  <a:lnTo>
                    <a:pt x="1718" y="267"/>
                  </a:lnTo>
                  <a:lnTo>
                    <a:pt x="1722" y="264"/>
                  </a:lnTo>
                  <a:lnTo>
                    <a:pt x="1725" y="260"/>
                  </a:lnTo>
                  <a:lnTo>
                    <a:pt x="1727" y="254"/>
                  </a:lnTo>
                  <a:lnTo>
                    <a:pt x="1728" y="250"/>
                  </a:lnTo>
                  <a:lnTo>
                    <a:pt x="1727" y="244"/>
                  </a:lnTo>
                  <a:lnTo>
                    <a:pt x="1725" y="238"/>
                  </a:lnTo>
                  <a:lnTo>
                    <a:pt x="1722" y="234"/>
                  </a:lnTo>
                  <a:lnTo>
                    <a:pt x="1718" y="231"/>
                  </a:lnTo>
                  <a:lnTo>
                    <a:pt x="1712" y="229"/>
                  </a:lnTo>
                  <a:lnTo>
                    <a:pt x="1706" y="228"/>
                  </a:lnTo>
                  <a:lnTo>
                    <a:pt x="1572" y="228"/>
                  </a:lnTo>
                  <a:lnTo>
                    <a:pt x="1572" y="156"/>
                  </a:lnTo>
                  <a:lnTo>
                    <a:pt x="1688" y="156"/>
                  </a:lnTo>
                  <a:lnTo>
                    <a:pt x="1693" y="156"/>
                  </a:lnTo>
                  <a:lnTo>
                    <a:pt x="1699" y="153"/>
                  </a:lnTo>
                  <a:lnTo>
                    <a:pt x="1702" y="150"/>
                  </a:lnTo>
                  <a:lnTo>
                    <a:pt x="1706" y="146"/>
                  </a:lnTo>
                  <a:lnTo>
                    <a:pt x="1708" y="142"/>
                  </a:lnTo>
                  <a:lnTo>
                    <a:pt x="1709" y="136"/>
                  </a:lnTo>
                  <a:lnTo>
                    <a:pt x="1708" y="130"/>
                  </a:lnTo>
                  <a:lnTo>
                    <a:pt x="1706" y="125"/>
                  </a:lnTo>
                  <a:lnTo>
                    <a:pt x="1702" y="120"/>
                  </a:lnTo>
                  <a:lnTo>
                    <a:pt x="1699" y="117"/>
                  </a:lnTo>
                  <a:lnTo>
                    <a:pt x="1693" y="116"/>
                  </a:lnTo>
                  <a:lnTo>
                    <a:pt x="1688" y="115"/>
                  </a:lnTo>
                  <a:lnTo>
                    <a:pt x="1572" y="115"/>
                  </a:lnTo>
                  <a:lnTo>
                    <a:pt x="1572" y="46"/>
                  </a:lnTo>
                  <a:lnTo>
                    <a:pt x="1705" y="46"/>
                  </a:lnTo>
                  <a:lnTo>
                    <a:pt x="1711" y="44"/>
                  </a:lnTo>
                  <a:lnTo>
                    <a:pt x="1715" y="43"/>
                  </a:lnTo>
                  <a:lnTo>
                    <a:pt x="1719" y="40"/>
                  </a:lnTo>
                  <a:lnTo>
                    <a:pt x="1724" y="36"/>
                  </a:lnTo>
                  <a:lnTo>
                    <a:pt x="1725" y="30"/>
                  </a:lnTo>
                  <a:lnTo>
                    <a:pt x="1727" y="24"/>
                  </a:lnTo>
                  <a:lnTo>
                    <a:pt x="1725" y="18"/>
                  </a:lnTo>
                  <a:lnTo>
                    <a:pt x="1724" y="14"/>
                  </a:lnTo>
                  <a:lnTo>
                    <a:pt x="1719" y="10"/>
                  </a:lnTo>
                  <a:lnTo>
                    <a:pt x="1715" y="7"/>
                  </a:lnTo>
                  <a:lnTo>
                    <a:pt x="1711" y="4"/>
                  </a:lnTo>
                  <a:lnTo>
                    <a:pt x="1705" y="4"/>
                  </a:lnTo>
                  <a:lnTo>
                    <a:pt x="1549" y="4"/>
                  </a:lnTo>
                  <a:lnTo>
                    <a:pt x="1544" y="4"/>
                  </a:lnTo>
                  <a:lnTo>
                    <a:pt x="1538" y="7"/>
                  </a:lnTo>
                  <a:lnTo>
                    <a:pt x="1534" y="10"/>
                  </a:lnTo>
                  <a:lnTo>
                    <a:pt x="1529" y="15"/>
                  </a:lnTo>
                  <a:lnTo>
                    <a:pt x="1526" y="21"/>
                  </a:lnTo>
                  <a:lnTo>
                    <a:pt x="1526" y="27"/>
                  </a:lnTo>
                  <a:lnTo>
                    <a:pt x="1526" y="247"/>
                  </a:lnTo>
                  <a:lnTo>
                    <a:pt x="1526" y="252"/>
                  </a:lnTo>
                  <a:lnTo>
                    <a:pt x="1529" y="258"/>
                  </a:lnTo>
                  <a:lnTo>
                    <a:pt x="1534" y="262"/>
                  </a:lnTo>
                  <a:lnTo>
                    <a:pt x="1538" y="267"/>
                  </a:lnTo>
                  <a:lnTo>
                    <a:pt x="1544" y="270"/>
                  </a:lnTo>
                  <a:lnTo>
                    <a:pt x="1549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8" name="Freeform 15">
            <a:extLst>
              <a:ext uri="{FF2B5EF4-FFF2-40B4-BE49-F238E27FC236}">
                <a16:creationId xmlns:a16="http://schemas.microsoft.com/office/drawing/2014/main" id="{95713751-AF4E-F0C4-A269-0FF26EFCFD88}"/>
              </a:ext>
            </a:extLst>
          </p:cNvPr>
          <p:cNvSpPr>
            <a:spLocks noEditPoints="1"/>
          </p:cNvSpPr>
          <p:nvPr/>
        </p:nvSpPr>
        <p:spPr bwMode="auto">
          <a:xfrm>
            <a:off x="766763" y="752475"/>
            <a:ext cx="444500" cy="252413"/>
          </a:xfrm>
          <a:custGeom>
            <a:avLst/>
            <a:gdLst>
              <a:gd name="T0" fmla="*/ 327 w 839"/>
              <a:gd name="T1" fmla="*/ 389 h 478"/>
              <a:gd name="T2" fmla="*/ 386 w 839"/>
              <a:gd name="T3" fmla="*/ 416 h 478"/>
              <a:gd name="T4" fmla="*/ 219 w 839"/>
              <a:gd name="T5" fmla="*/ 23 h 478"/>
              <a:gd name="T6" fmla="*/ 388 w 839"/>
              <a:gd name="T7" fmla="*/ 4 h 478"/>
              <a:gd name="T8" fmla="*/ 424 w 839"/>
              <a:gd name="T9" fmla="*/ 281 h 478"/>
              <a:gd name="T10" fmla="*/ 414 w 839"/>
              <a:gd name="T11" fmla="*/ 335 h 478"/>
              <a:gd name="T12" fmla="*/ 384 w 839"/>
              <a:gd name="T13" fmla="*/ 327 h 478"/>
              <a:gd name="T14" fmla="*/ 422 w 839"/>
              <a:gd name="T15" fmla="*/ 358 h 478"/>
              <a:gd name="T16" fmla="*/ 459 w 839"/>
              <a:gd name="T17" fmla="*/ 319 h 478"/>
              <a:gd name="T18" fmla="*/ 424 w 839"/>
              <a:gd name="T19" fmla="*/ 281 h 478"/>
              <a:gd name="T20" fmla="*/ 432 w 839"/>
              <a:gd name="T21" fmla="*/ 248 h 478"/>
              <a:gd name="T22" fmla="*/ 286 w 839"/>
              <a:gd name="T23" fmla="*/ 223 h 478"/>
              <a:gd name="T24" fmla="*/ 354 w 839"/>
              <a:gd name="T25" fmla="*/ 293 h 478"/>
              <a:gd name="T26" fmla="*/ 679 w 839"/>
              <a:gd name="T27" fmla="*/ 194 h 478"/>
              <a:gd name="T28" fmla="*/ 672 w 839"/>
              <a:gd name="T29" fmla="*/ 161 h 478"/>
              <a:gd name="T30" fmla="*/ 780 w 839"/>
              <a:gd name="T31" fmla="*/ 197 h 478"/>
              <a:gd name="T32" fmla="*/ 838 w 839"/>
              <a:gd name="T33" fmla="*/ 303 h 478"/>
              <a:gd name="T34" fmla="*/ 812 w 839"/>
              <a:gd name="T35" fmla="*/ 408 h 478"/>
              <a:gd name="T36" fmla="*/ 727 w 839"/>
              <a:gd name="T37" fmla="*/ 471 h 478"/>
              <a:gd name="T38" fmla="*/ 617 w 839"/>
              <a:gd name="T39" fmla="*/ 465 h 478"/>
              <a:gd name="T40" fmla="*/ 531 w 839"/>
              <a:gd name="T41" fmla="*/ 381 h 478"/>
              <a:gd name="T42" fmla="*/ 527 w 839"/>
              <a:gd name="T43" fmla="*/ 271 h 478"/>
              <a:gd name="T44" fmla="*/ 607 w 839"/>
              <a:gd name="T45" fmla="*/ 177 h 478"/>
              <a:gd name="T46" fmla="*/ 488 w 839"/>
              <a:gd name="T47" fmla="*/ 347 h 478"/>
              <a:gd name="T48" fmla="*/ 393 w 839"/>
              <a:gd name="T49" fmla="*/ 385 h 478"/>
              <a:gd name="T50" fmla="*/ 318 w 839"/>
              <a:gd name="T51" fmla="*/ 336 h 478"/>
              <a:gd name="T52" fmla="*/ 272 w 839"/>
              <a:gd name="T53" fmla="*/ 432 h 478"/>
              <a:gd name="T54" fmla="*/ 159 w 839"/>
              <a:gd name="T55" fmla="*/ 478 h 478"/>
              <a:gd name="T56" fmla="*/ 57 w 839"/>
              <a:gd name="T57" fmla="*/ 441 h 478"/>
              <a:gd name="T58" fmla="*/ 1 w 839"/>
              <a:gd name="T59" fmla="*/ 335 h 478"/>
              <a:gd name="T60" fmla="*/ 27 w 839"/>
              <a:gd name="T61" fmla="*/ 230 h 478"/>
              <a:gd name="T62" fmla="*/ 112 w 839"/>
              <a:gd name="T63" fmla="*/ 167 h 478"/>
              <a:gd name="T64" fmla="*/ 208 w 839"/>
              <a:gd name="T65" fmla="*/ 169 h 478"/>
              <a:gd name="T66" fmla="*/ 184 w 839"/>
              <a:gd name="T67" fmla="*/ 197 h 478"/>
              <a:gd name="T68" fmla="*/ 100 w 839"/>
              <a:gd name="T69" fmla="*/ 208 h 478"/>
              <a:gd name="T70" fmla="*/ 44 w 839"/>
              <a:gd name="T71" fmla="*/ 270 h 478"/>
              <a:gd name="T72" fmla="*/ 40 w 839"/>
              <a:gd name="T73" fmla="*/ 356 h 478"/>
              <a:gd name="T74" fmla="*/ 100 w 839"/>
              <a:gd name="T75" fmla="*/ 429 h 478"/>
              <a:gd name="T76" fmla="*/ 184 w 839"/>
              <a:gd name="T77" fmla="*/ 442 h 478"/>
              <a:gd name="T78" fmla="*/ 260 w 839"/>
              <a:gd name="T79" fmla="*/ 392 h 478"/>
              <a:gd name="T80" fmla="*/ 159 w 839"/>
              <a:gd name="T81" fmla="*/ 336 h 478"/>
              <a:gd name="T82" fmla="*/ 314 w 839"/>
              <a:gd name="T83" fmla="*/ 80 h 478"/>
              <a:gd name="T84" fmla="*/ 560 w 839"/>
              <a:gd name="T85" fmla="*/ 19 h 478"/>
              <a:gd name="T86" fmla="*/ 687 w 839"/>
              <a:gd name="T87" fmla="*/ 4 h 478"/>
              <a:gd name="T88" fmla="*/ 727 w 839"/>
              <a:gd name="T89" fmla="*/ 65 h 478"/>
              <a:gd name="T90" fmla="*/ 661 w 839"/>
              <a:gd name="T91" fmla="*/ 131 h 478"/>
              <a:gd name="T92" fmla="*/ 661 w 839"/>
              <a:gd name="T93" fmla="*/ 96 h 478"/>
              <a:gd name="T94" fmla="*/ 692 w 839"/>
              <a:gd name="T95" fmla="*/ 65 h 478"/>
              <a:gd name="T96" fmla="*/ 666 w 839"/>
              <a:gd name="T97" fmla="*/ 34 h 478"/>
              <a:gd name="T98" fmla="*/ 695 w 839"/>
              <a:gd name="T99" fmla="*/ 326 h 478"/>
              <a:gd name="T100" fmla="*/ 606 w 839"/>
              <a:gd name="T101" fmla="*/ 217 h 478"/>
              <a:gd name="T102" fmla="*/ 554 w 839"/>
              <a:gd name="T103" fmla="*/ 309 h 478"/>
              <a:gd name="T104" fmla="*/ 581 w 839"/>
              <a:gd name="T105" fmla="*/ 399 h 478"/>
              <a:gd name="T106" fmla="*/ 665 w 839"/>
              <a:gd name="T107" fmla="*/ 444 h 478"/>
              <a:gd name="T108" fmla="*/ 748 w 839"/>
              <a:gd name="T109" fmla="*/ 422 h 478"/>
              <a:gd name="T110" fmla="*/ 802 w 839"/>
              <a:gd name="T111" fmla="*/ 346 h 478"/>
              <a:gd name="T112" fmla="*/ 789 w 839"/>
              <a:gd name="T113" fmla="*/ 260 h 478"/>
              <a:gd name="T114" fmla="*/ 717 w 839"/>
              <a:gd name="T115" fmla="*/ 200 h 478"/>
              <a:gd name="T116" fmla="*/ 276 w 839"/>
              <a:gd name="T117" fmla="*/ 271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9" h="478">
                <a:moveTo>
                  <a:pt x="334" y="422"/>
                </a:moveTo>
                <a:lnTo>
                  <a:pt x="327" y="421"/>
                </a:lnTo>
                <a:lnTo>
                  <a:pt x="321" y="416"/>
                </a:lnTo>
                <a:lnTo>
                  <a:pt x="318" y="411"/>
                </a:lnTo>
                <a:lnTo>
                  <a:pt x="316" y="405"/>
                </a:lnTo>
                <a:lnTo>
                  <a:pt x="318" y="398"/>
                </a:lnTo>
                <a:lnTo>
                  <a:pt x="321" y="392"/>
                </a:lnTo>
                <a:lnTo>
                  <a:pt x="327" y="389"/>
                </a:lnTo>
                <a:lnTo>
                  <a:pt x="334" y="388"/>
                </a:lnTo>
                <a:lnTo>
                  <a:pt x="374" y="388"/>
                </a:lnTo>
                <a:lnTo>
                  <a:pt x="380" y="389"/>
                </a:lnTo>
                <a:lnTo>
                  <a:pt x="386" y="392"/>
                </a:lnTo>
                <a:lnTo>
                  <a:pt x="388" y="398"/>
                </a:lnTo>
                <a:lnTo>
                  <a:pt x="390" y="405"/>
                </a:lnTo>
                <a:lnTo>
                  <a:pt x="388" y="411"/>
                </a:lnTo>
                <a:lnTo>
                  <a:pt x="386" y="416"/>
                </a:lnTo>
                <a:lnTo>
                  <a:pt x="380" y="421"/>
                </a:lnTo>
                <a:lnTo>
                  <a:pt x="374" y="422"/>
                </a:lnTo>
                <a:lnTo>
                  <a:pt x="334" y="422"/>
                </a:lnTo>
                <a:close/>
                <a:moveTo>
                  <a:pt x="234" y="34"/>
                </a:moveTo>
                <a:lnTo>
                  <a:pt x="234" y="34"/>
                </a:lnTo>
                <a:lnTo>
                  <a:pt x="227" y="33"/>
                </a:lnTo>
                <a:lnTo>
                  <a:pt x="223" y="29"/>
                </a:lnTo>
                <a:lnTo>
                  <a:pt x="219" y="23"/>
                </a:lnTo>
                <a:lnTo>
                  <a:pt x="217" y="17"/>
                </a:lnTo>
                <a:lnTo>
                  <a:pt x="219" y="10"/>
                </a:lnTo>
                <a:lnTo>
                  <a:pt x="223" y="4"/>
                </a:lnTo>
                <a:lnTo>
                  <a:pt x="227" y="1"/>
                </a:lnTo>
                <a:lnTo>
                  <a:pt x="234" y="0"/>
                </a:lnTo>
                <a:lnTo>
                  <a:pt x="377" y="0"/>
                </a:lnTo>
                <a:lnTo>
                  <a:pt x="384" y="1"/>
                </a:lnTo>
                <a:lnTo>
                  <a:pt x="388" y="4"/>
                </a:lnTo>
                <a:lnTo>
                  <a:pt x="393" y="10"/>
                </a:lnTo>
                <a:lnTo>
                  <a:pt x="394" y="17"/>
                </a:lnTo>
                <a:lnTo>
                  <a:pt x="393" y="23"/>
                </a:lnTo>
                <a:lnTo>
                  <a:pt x="388" y="29"/>
                </a:lnTo>
                <a:lnTo>
                  <a:pt x="384" y="33"/>
                </a:lnTo>
                <a:lnTo>
                  <a:pt x="377" y="34"/>
                </a:lnTo>
                <a:lnTo>
                  <a:pt x="234" y="34"/>
                </a:lnTo>
                <a:close/>
                <a:moveTo>
                  <a:pt x="424" y="281"/>
                </a:moveTo>
                <a:lnTo>
                  <a:pt x="424" y="281"/>
                </a:lnTo>
                <a:lnTo>
                  <a:pt x="437" y="313"/>
                </a:lnTo>
                <a:lnTo>
                  <a:pt x="439" y="319"/>
                </a:lnTo>
                <a:lnTo>
                  <a:pt x="437" y="326"/>
                </a:lnTo>
                <a:lnTo>
                  <a:pt x="433" y="330"/>
                </a:lnTo>
                <a:lnTo>
                  <a:pt x="427" y="335"/>
                </a:lnTo>
                <a:lnTo>
                  <a:pt x="422" y="336"/>
                </a:lnTo>
                <a:lnTo>
                  <a:pt x="414" y="335"/>
                </a:lnTo>
                <a:lnTo>
                  <a:pt x="410" y="332"/>
                </a:lnTo>
                <a:lnTo>
                  <a:pt x="406" y="326"/>
                </a:lnTo>
                <a:lnTo>
                  <a:pt x="393" y="294"/>
                </a:lnTo>
                <a:lnTo>
                  <a:pt x="388" y="300"/>
                </a:lnTo>
                <a:lnTo>
                  <a:pt x="386" y="306"/>
                </a:lnTo>
                <a:lnTo>
                  <a:pt x="384" y="312"/>
                </a:lnTo>
                <a:lnTo>
                  <a:pt x="384" y="319"/>
                </a:lnTo>
                <a:lnTo>
                  <a:pt x="384" y="327"/>
                </a:lnTo>
                <a:lnTo>
                  <a:pt x="387" y="333"/>
                </a:lnTo>
                <a:lnTo>
                  <a:pt x="390" y="340"/>
                </a:lnTo>
                <a:lnTo>
                  <a:pt x="394" y="346"/>
                </a:lnTo>
                <a:lnTo>
                  <a:pt x="394" y="346"/>
                </a:lnTo>
                <a:lnTo>
                  <a:pt x="400" y="350"/>
                </a:lnTo>
                <a:lnTo>
                  <a:pt x="407" y="355"/>
                </a:lnTo>
                <a:lnTo>
                  <a:pt x="414" y="356"/>
                </a:lnTo>
                <a:lnTo>
                  <a:pt x="422" y="358"/>
                </a:lnTo>
                <a:lnTo>
                  <a:pt x="429" y="356"/>
                </a:lnTo>
                <a:lnTo>
                  <a:pt x="436" y="353"/>
                </a:lnTo>
                <a:lnTo>
                  <a:pt x="443" y="350"/>
                </a:lnTo>
                <a:lnTo>
                  <a:pt x="449" y="346"/>
                </a:lnTo>
                <a:lnTo>
                  <a:pt x="453" y="340"/>
                </a:lnTo>
                <a:lnTo>
                  <a:pt x="456" y="333"/>
                </a:lnTo>
                <a:lnTo>
                  <a:pt x="459" y="327"/>
                </a:lnTo>
                <a:lnTo>
                  <a:pt x="459" y="319"/>
                </a:lnTo>
                <a:lnTo>
                  <a:pt x="459" y="312"/>
                </a:lnTo>
                <a:lnTo>
                  <a:pt x="456" y="304"/>
                </a:lnTo>
                <a:lnTo>
                  <a:pt x="453" y="297"/>
                </a:lnTo>
                <a:lnTo>
                  <a:pt x="449" y="293"/>
                </a:lnTo>
                <a:lnTo>
                  <a:pt x="443" y="289"/>
                </a:lnTo>
                <a:lnTo>
                  <a:pt x="437" y="284"/>
                </a:lnTo>
                <a:lnTo>
                  <a:pt x="430" y="283"/>
                </a:lnTo>
                <a:lnTo>
                  <a:pt x="424" y="281"/>
                </a:lnTo>
                <a:close/>
                <a:moveTo>
                  <a:pt x="589" y="129"/>
                </a:moveTo>
                <a:lnTo>
                  <a:pt x="589" y="129"/>
                </a:lnTo>
                <a:lnTo>
                  <a:pt x="581" y="109"/>
                </a:lnTo>
                <a:lnTo>
                  <a:pt x="351" y="109"/>
                </a:lnTo>
                <a:lnTo>
                  <a:pt x="410" y="248"/>
                </a:lnTo>
                <a:lnTo>
                  <a:pt x="416" y="247"/>
                </a:lnTo>
                <a:lnTo>
                  <a:pt x="422" y="247"/>
                </a:lnTo>
                <a:lnTo>
                  <a:pt x="432" y="248"/>
                </a:lnTo>
                <a:lnTo>
                  <a:pt x="442" y="250"/>
                </a:lnTo>
                <a:lnTo>
                  <a:pt x="450" y="253"/>
                </a:lnTo>
                <a:lnTo>
                  <a:pt x="459" y="258"/>
                </a:lnTo>
                <a:lnTo>
                  <a:pt x="589" y="129"/>
                </a:lnTo>
                <a:close/>
                <a:moveTo>
                  <a:pt x="266" y="201"/>
                </a:moveTo>
                <a:lnTo>
                  <a:pt x="266" y="201"/>
                </a:lnTo>
                <a:lnTo>
                  <a:pt x="278" y="211"/>
                </a:lnTo>
                <a:lnTo>
                  <a:pt x="286" y="223"/>
                </a:lnTo>
                <a:lnTo>
                  <a:pt x="295" y="234"/>
                </a:lnTo>
                <a:lnTo>
                  <a:pt x="302" y="247"/>
                </a:lnTo>
                <a:lnTo>
                  <a:pt x="308" y="260"/>
                </a:lnTo>
                <a:lnTo>
                  <a:pt x="312" y="274"/>
                </a:lnTo>
                <a:lnTo>
                  <a:pt x="315" y="287"/>
                </a:lnTo>
                <a:lnTo>
                  <a:pt x="318" y="302"/>
                </a:lnTo>
                <a:lnTo>
                  <a:pt x="351" y="302"/>
                </a:lnTo>
                <a:lnTo>
                  <a:pt x="354" y="293"/>
                </a:lnTo>
                <a:lnTo>
                  <a:pt x="358" y="284"/>
                </a:lnTo>
                <a:lnTo>
                  <a:pt x="364" y="276"/>
                </a:lnTo>
                <a:lnTo>
                  <a:pt x="370" y="269"/>
                </a:lnTo>
                <a:lnTo>
                  <a:pt x="374" y="264"/>
                </a:lnTo>
                <a:lnTo>
                  <a:pt x="378" y="261"/>
                </a:lnTo>
                <a:lnTo>
                  <a:pt x="321" y="126"/>
                </a:lnTo>
                <a:lnTo>
                  <a:pt x="266" y="201"/>
                </a:lnTo>
                <a:close/>
                <a:moveTo>
                  <a:pt x="679" y="194"/>
                </a:moveTo>
                <a:lnTo>
                  <a:pt x="679" y="194"/>
                </a:lnTo>
                <a:lnTo>
                  <a:pt x="672" y="192"/>
                </a:lnTo>
                <a:lnTo>
                  <a:pt x="666" y="190"/>
                </a:lnTo>
                <a:lnTo>
                  <a:pt x="663" y="184"/>
                </a:lnTo>
                <a:lnTo>
                  <a:pt x="662" y="177"/>
                </a:lnTo>
                <a:lnTo>
                  <a:pt x="663" y="171"/>
                </a:lnTo>
                <a:lnTo>
                  <a:pt x="666" y="165"/>
                </a:lnTo>
                <a:lnTo>
                  <a:pt x="672" y="161"/>
                </a:lnTo>
                <a:lnTo>
                  <a:pt x="679" y="159"/>
                </a:lnTo>
                <a:lnTo>
                  <a:pt x="695" y="161"/>
                </a:lnTo>
                <a:lnTo>
                  <a:pt x="711" y="164"/>
                </a:lnTo>
                <a:lnTo>
                  <a:pt x="727" y="167"/>
                </a:lnTo>
                <a:lnTo>
                  <a:pt x="741" y="172"/>
                </a:lnTo>
                <a:lnTo>
                  <a:pt x="756" y="179"/>
                </a:lnTo>
                <a:lnTo>
                  <a:pt x="769" y="187"/>
                </a:lnTo>
                <a:lnTo>
                  <a:pt x="780" y="197"/>
                </a:lnTo>
                <a:lnTo>
                  <a:pt x="792" y="207"/>
                </a:lnTo>
                <a:lnTo>
                  <a:pt x="802" y="218"/>
                </a:lnTo>
                <a:lnTo>
                  <a:pt x="812" y="230"/>
                </a:lnTo>
                <a:lnTo>
                  <a:pt x="819" y="243"/>
                </a:lnTo>
                <a:lnTo>
                  <a:pt x="826" y="257"/>
                </a:lnTo>
                <a:lnTo>
                  <a:pt x="832" y="271"/>
                </a:lnTo>
                <a:lnTo>
                  <a:pt x="835" y="287"/>
                </a:lnTo>
                <a:lnTo>
                  <a:pt x="838" y="303"/>
                </a:lnTo>
                <a:lnTo>
                  <a:pt x="839" y="319"/>
                </a:lnTo>
                <a:lnTo>
                  <a:pt x="839" y="319"/>
                </a:lnTo>
                <a:lnTo>
                  <a:pt x="838" y="336"/>
                </a:lnTo>
                <a:lnTo>
                  <a:pt x="835" y="352"/>
                </a:lnTo>
                <a:lnTo>
                  <a:pt x="832" y="366"/>
                </a:lnTo>
                <a:lnTo>
                  <a:pt x="826" y="381"/>
                </a:lnTo>
                <a:lnTo>
                  <a:pt x="819" y="395"/>
                </a:lnTo>
                <a:lnTo>
                  <a:pt x="812" y="408"/>
                </a:lnTo>
                <a:lnTo>
                  <a:pt x="802" y="421"/>
                </a:lnTo>
                <a:lnTo>
                  <a:pt x="792" y="432"/>
                </a:lnTo>
                <a:lnTo>
                  <a:pt x="792" y="432"/>
                </a:lnTo>
                <a:lnTo>
                  <a:pt x="780" y="442"/>
                </a:lnTo>
                <a:lnTo>
                  <a:pt x="769" y="451"/>
                </a:lnTo>
                <a:lnTo>
                  <a:pt x="756" y="459"/>
                </a:lnTo>
                <a:lnTo>
                  <a:pt x="741" y="465"/>
                </a:lnTo>
                <a:lnTo>
                  <a:pt x="727" y="471"/>
                </a:lnTo>
                <a:lnTo>
                  <a:pt x="711" y="475"/>
                </a:lnTo>
                <a:lnTo>
                  <a:pt x="695" y="477"/>
                </a:lnTo>
                <a:lnTo>
                  <a:pt x="679" y="478"/>
                </a:lnTo>
                <a:lnTo>
                  <a:pt x="679" y="478"/>
                </a:lnTo>
                <a:lnTo>
                  <a:pt x="662" y="478"/>
                </a:lnTo>
                <a:lnTo>
                  <a:pt x="646" y="475"/>
                </a:lnTo>
                <a:lnTo>
                  <a:pt x="632" y="471"/>
                </a:lnTo>
                <a:lnTo>
                  <a:pt x="617" y="465"/>
                </a:lnTo>
                <a:lnTo>
                  <a:pt x="603" y="459"/>
                </a:lnTo>
                <a:lnTo>
                  <a:pt x="590" y="451"/>
                </a:lnTo>
                <a:lnTo>
                  <a:pt x="577" y="442"/>
                </a:lnTo>
                <a:lnTo>
                  <a:pt x="566" y="432"/>
                </a:lnTo>
                <a:lnTo>
                  <a:pt x="555" y="419"/>
                </a:lnTo>
                <a:lnTo>
                  <a:pt x="547" y="408"/>
                </a:lnTo>
                <a:lnTo>
                  <a:pt x="538" y="393"/>
                </a:lnTo>
                <a:lnTo>
                  <a:pt x="531" y="381"/>
                </a:lnTo>
                <a:lnTo>
                  <a:pt x="527" y="365"/>
                </a:lnTo>
                <a:lnTo>
                  <a:pt x="522" y="350"/>
                </a:lnTo>
                <a:lnTo>
                  <a:pt x="519" y="335"/>
                </a:lnTo>
                <a:lnTo>
                  <a:pt x="519" y="319"/>
                </a:lnTo>
                <a:lnTo>
                  <a:pt x="519" y="307"/>
                </a:lnTo>
                <a:lnTo>
                  <a:pt x="521" y="294"/>
                </a:lnTo>
                <a:lnTo>
                  <a:pt x="524" y="283"/>
                </a:lnTo>
                <a:lnTo>
                  <a:pt x="527" y="271"/>
                </a:lnTo>
                <a:lnTo>
                  <a:pt x="531" y="260"/>
                </a:lnTo>
                <a:lnTo>
                  <a:pt x="535" y="250"/>
                </a:lnTo>
                <a:lnTo>
                  <a:pt x="541" y="238"/>
                </a:lnTo>
                <a:lnTo>
                  <a:pt x="548" y="228"/>
                </a:lnTo>
                <a:lnTo>
                  <a:pt x="560" y="214"/>
                </a:lnTo>
                <a:lnTo>
                  <a:pt x="574" y="200"/>
                </a:lnTo>
                <a:lnTo>
                  <a:pt x="590" y="187"/>
                </a:lnTo>
                <a:lnTo>
                  <a:pt x="607" y="177"/>
                </a:lnTo>
                <a:lnTo>
                  <a:pt x="602" y="164"/>
                </a:lnTo>
                <a:lnTo>
                  <a:pt x="483" y="281"/>
                </a:lnTo>
                <a:lnTo>
                  <a:pt x="488" y="290"/>
                </a:lnTo>
                <a:lnTo>
                  <a:pt x="491" y="300"/>
                </a:lnTo>
                <a:lnTo>
                  <a:pt x="492" y="309"/>
                </a:lnTo>
                <a:lnTo>
                  <a:pt x="494" y="319"/>
                </a:lnTo>
                <a:lnTo>
                  <a:pt x="492" y="333"/>
                </a:lnTo>
                <a:lnTo>
                  <a:pt x="488" y="347"/>
                </a:lnTo>
                <a:lnTo>
                  <a:pt x="481" y="359"/>
                </a:lnTo>
                <a:lnTo>
                  <a:pt x="472" y="370"/>
                </a:lnTo>
                <a:lnTo>
                  <a:pt x="462" y="379"/>
                </a:lnTo>
                <a:lnTo>
                  <a:pt x="449" y="385"/>
                </a:lnTo>
                <a:lnTo>
                  <a:pt x="436" y="389"/>
                </a:lnTo>
                <a:lnTo>
                  <a:pt x="422" y="391"/>
                </a:lnTo>
                <a:lnTo>
                  <a:pt x="407" y="389"/>
                </a:lnTo>
                <a:lnTo>
                  <a:pt x="393" y="385"/>
                </a:lnTo>
                <a:lnTo>
                  <a:pt x="381" y="379"/>
                </a:lnTo>
                <a:lnTo>
                  <a:pt x="371" y="370"/>
                </a:lnTo>
                <a:lnTo>
                  <a:pt x="370" y="369"/>
                </a:lnTo>
                <a:lnTo>
                  <a:pt x="364" y="362"/>
                </a:lnTo>
                <a:lnTo>
                  <a:pt x="358" y="355"/>
                </a:lnTo>
                <a:lnTo>
                  <a:pt x="354" y="346"/>
                </a:lnTo>
                <a:lnTo>
                  <a:pt x="351" y="336"/>
                </a:lnTo>
                <a:lnTo>
                  <a:pt x="318" y="336"/>
                </a:lnTo>
                <a:lnTo>
                  <a:pt x="316" y="350"/>
                </a:lnTo>
                <a:lnTo>
                  <a:pt x="312" y="363"/>
                </a:lnTo>
                <a:lnTo>
                  <a:pt x="308" y="376"/>
                </a:lnTo>
                <a:lnTo>
                  <a:pt x="303" y="389"/>
                </a:lnTo>
                <a:lnTo>
                  <a:pt x="296" y="401"/>
                </a:lnTo>
                <a:lnTo>
                  <a:pt x="289" y="412"/>
                </a:lnTo>
                <a:lnTo>
                  <a:pt x="280" y="422"/>
                </a:lnTo>
                <a:lnTo>
                  <a:pt x="272" y="432"/>
                </a:lnTo>
                <a:lnTo>
                  <a:pt x="260" y="442"/>
                </a:lnTo>
                <a:lnTo>
                  <a:pt x="249" y="451"/>
                </a:lnTo>
                <a:lnTo>
                  <a:pt x="236" y="459"/>
                </a:lnTo>
                <a:lnTo>
                  <a:pt x="221" y="465"/>
                </a:lnTo>
                <a:lnTo>
                  <a:pt x="207" y="471"/>
                </a:lnTo>
                <a:lnTo>
                  <a:pt x="191" y="475"/>
                </a:lnTo>
                <a:lnTo>
                  <a:pt x="175" y="477"/>
                </a:lnTo>
                <a:lnTo>
                  <a:pt x="159" y="478"/>
                </a:lnTo>
                <a:lnTo>
                  <a:pt x="159" y="478"/>
                </a:lnTo>
                <a:lnTo>
                  <a:pt x="142" y="478"/>
                </a:lnTo>
                <a:lnTo>
                  <a:pt x="126" y="475"/>
                </a:lnTo>
                <a:lnTo>
                  <a:pt x="112" y="471"/>
                </a:lnTo>
                <a:lnTo>
                  <a:pt x="98" y="465"/>
                </a:lnTo>
                <a:lnTo>
                  <a:pt x="83" y="459"/>
                </a:lnTo>
                <a:lnTo>
                  <a:pt x="70" y="451"/>
                </a:lnTo>
                <a:lnTo>
                  <a:pt x="57" y="441"/>
                </a:lnTo>
                <a:lnTo>
                  <a:pt x="46" y="431"/>
                </a:lnTo>
                <a:lnTo>
                  <a:pt x="36" y="419"/>
                </a:lnTo>
                <a:lnTo>
                  <a:pt x="27" y="408"/>
                </a:lnTo>
                <a:lnTo>
                  <a:pt x="18" y="395"/>
                </a:lnTo>
                <a:lnTo>
                  <a:pt x="13" y="381"/>
                </a:lnTo>
                <a:lnTo>
                  <a:pt x="7" y="366"/>
                </a:lnTo>
                <a:lnTo>
                  <a:pt x="3" y="350"/>
                </a:lnTo>
                <a:lnTo>
                  <a:pt x="1" y="335"/>
                </a:lnTo>
                <a:lnTo>
                  <a:pt x="0" y="319"/>
                </a:lnTo>
                <a:lnTo>
                  <a:pt x="0" y="319"/>
                </a:lnTo>
                <a:lnTo>
                  <a:pt x="1" y="303"/>
                </a:lnTo>
                <a:lnTo>
                  <a:pt x="3" y="287"/>
                </a:lnTo>
                <a:lnTo>
                  <a:pt x="7" y="271"/>
                </a:lnTo>
                <a:lnTo>
                  <a:pt x="13" y="257"/>
                </a:lnTo>
                <a:lnTo>
                  <a:pt x="18" y="243"/>
                </a:lnTo>
                <a:lnTo>
                  <a:pt x="27" y="230"/>
                </a:lnTo>
                <a:lnTo>
                  <a:pt x="36" y="218"/>
                </a:lnTo>
                <a:lnTo>
                  <a:pt x="46" y="207"/>
                </a:lnTo>
                <a:lnTo>
                  <a:pt x="47" y="205"/>
                </a:lnTo>
                <a:lnTo>
                  <a:pt x="59" y="195"/>
                </a:lnTo>
                <a:lnTo>
                  <a:pt x="70" y="187"/>
                </a:lnTo>
                <a:lnTo>
                  <a:pt x="85" y="178"/>
                </a:lnTo>
                <a:lnTo>
                  <a:pt x="98" y="172"/>
                </a:lnTo>
                <a:lnTo>
                  <a:pt x="112" y="167"/>
                </a:lnTo>
                <a:lnTo>
                  <a:pt x="128" y="164"/>
                </a:lnTo>
                <a:lnTo>
                  <a:pt x="144" y="161"/>
                </a:lnTo>
                <a:lnTo>
                  <a:pt x="159" y="159"/>
                </a:lnTo>
                <a:lnTo>
                  <a:pt x="170" y="161"/>
                </a:lnTo>
                <a:lnTo>
                  <a:pt x="181" y="161"/>
                </a:lnTo>
                <a:lnTo>
                  <a:pt x="191" y="164"/>
                </a:lnTo>
                <a:lnTo>
                  <a:pt x="201" y="165"/>
                </a:lnTo>
                <a:lnTo>
                  <a:pt x="208" y="169"/>
                </a:lnTo>
                <a:lnTo>
                  <a:pt x="211" y="174"/>
                </a:lnTo>
                <a:lnTo>
                  <a:pt x="214" y="179"/>
                </a:lnTo>
                <a:lnTo>
                  <a:pt x="214" y="187"/>
                </a:lnTo>
                <a:lnTo>
                  <a:pt x="210" y="192"/>
                </a:lnTo>
                <a:lnTo>
                  <a:pt x="206" y="197"/>
                </a:lnTo>
                <a:lnTo>
                  <a:pt x="200" y="200"/>
                </a:lnTo>
                <a:lnTo>
                  <a:pt x="193" y="198"/>
                </a:lnTo>
                <a:lnTo>
                  <a:pt x="184" y="197"/>
                </a:lnTo>
                <a:lnTo>
                  <a:pt x="177" y="195"/>
                </a:lnTo>
                <a:lnTo>
                  <a:pt x="168" y="194"/>
                </a:lnTo>
                <a:lnTo>
                  <a:pt x="159" y="194"/>
                </a:lnTo>
                <a:lnTo>
                  <a:pt x="147" y="195"/>
                </a:lnTo>
                <a:lnTo>
                  <a:pt x="134" y="197"/>
                </a:lnTo>
                <a:lnTo>
                  <a:pt x="122" y="200"/>
                </a:lnTo>
                <a:lnTo>
                  <a:pt x="111" y="204"/>
                </a:lnTo>
                <a:lnTo>
                  <a:pt x="100" y="208"/>
                </a:lnTo>
                <a:lnTo>
                  <a:pt x="90" y="215"/>
                </a:lnTo>
                <a:lnTo>
                  <a:pt x="80" y="223"/>
                </a:lnTo>
                <a:lnTo>
                  <a:pt x="72" y="230"/>
                </a:lnTo>
                <a:lnTo>
                  <a:pt x="70" y="231"/>
                </a:lnTo>
                <a:lnTo>
                  <a:pt x="63" y="240"/>
                </a:lnTo>
                <a:lnTo>
                  <a:pt x="56" y="250"/>
                </a:lnTo>
                <a:lnTo>
                  <a:pt x="49" y="260"/>
                </a:lnTo>
                <a:lnTo>
                  <a:pt x="44" y="270"/>
                </a:lnTo>
                <a:lnTo>
                  <a:pt x="40" y="281"/>
                </a:lnTo>
                <a:lnTo>
                  <a:pt x="36" y="294"/>
                </a:lnTo>
                <a:lnTo>
                  <a:pt x="34" y="306"/>
                </a:lnTo>
                <a:lnTo>
                  <a:pt x="34" y="319"/>
                </a:lnTo>
                <a:lnTo>
                  <a:pt x="34" y="319"/>
                </a:lnTo>
                <a:lnTo>
                  <a:pt x="34" y="332"/>
                </a:lnTo>
                <a:lnTo>
                  <a:pt x="36" y="345"/>
                </a:lnTo>
                <a:lnTo>
                  <a:pt x="40" y="356"/>
                </a:lnTo>
                <a:lnTo>
                  <a:pt x="44" y="368"/>
                </a:lnTo>
                <a:lnTo>
                  <a:pt x="49" y="379"/>
                </a:lnTo>
                <a:lnTo>
                  <a:pt x="56" y="389"/>
                </a:lnTo>
                <a:lnTo>
                  <a:pt x="63" y="399"/>
                </a:lnTo>
                <a:lnTo>
                  <a:pt x="70" y="408"/>
                </a:lnTo>
                <a:lnTo>
                  <a:pt x="80" y="416"/>
                </a:lnTo>
                <a:lnTo>
                  <a:pt x="89" y="424"/>
                </a:lnTo>
                <a:lnTo>
                  <a:pt x="100" y="429"/>
                </a:lnTo>
                <a:lnTo>
                  <a:pt x="111" y="435"/>
                </a:lnTo>
                <a:lnTo>
                  <a:pt x="122" y="439"/>
                </a:lnTo>
                <a:lnTo>
                  <a:pt x="135" y="442"/>
                </a:lnTo>
                <a:lnTo>
                  <a:pt x="147" y="444"/>
                </a:lnTo>
                <a:lnTo>
                  <a:pt x="159" y="444"/>
                </a:lnTo>
                <a:lnTo>
                  <a:pt x="159" y="444"/>
                </a:lnTo>
                <a:lnTo>
                  <a:pt x="172" y="444"/>
                </a:lnTo>
                <a:lnTo>
                  <a:pt x="184" y="442"/>
                </a:lnTo>
                <a:lnTo>
                  <a:pt x="197" y="438"/>
                </a:lnTo>
                <a:lnTo>
                  <a:pt x="208" y="435"/>
                </a:lnTo>
                <a:lnTo>
                  <a:pt x="219" y="429"/>
                </a:lnTo>
                <a:lnTo>
                  <a:pt x="230" y="424"/>
                </a:lnTo>
                <a:lnTo>
                  <a:pt x="239" y="415"/>
                </a:lnTo>
                <a:lnTo>
                  <a:pt x="247" y="408"/>
                </a:lnTo>
                <a:lnTo>
                  <a:pt x="255" y="401"/>
                </a:lnTo>
                <a:lnTo>
                  <a:pt x="260" y="392"/>
                </a:lnTo>
                <a:lnTo>
                  <a:pt x="266" y="383"/>
                </a:lnTo>
                <a:lnTo>
                  <a:pt x="272" y="375"/>
                </a:lnTo>
                <a:lnTo>
                  <a:pt x="276" y="366"/>
                </a:lnTo>
                <a:lnTo>
                  <a:pt x="279" y="356"/>
                </a:lnTo>
                <a:lnTo>
                  <a:pt x="282" y="346"/>
                </a:lnTo>
                <a:lnTo>
                  <a:pt x="283" y="336"/>
                </a:lnTo>
                <a:lnTo>
                  <a:pt x="159" y="336"/>
                </a:lnTo>
                <a:lnTo>
                  <a:pt x="159" y="336"/>
                </a:lnTo>
                <a:lnTo>
                  <a:pt x="154" y="335"/>
                </a:lnTo>
                <a:lnTo>
                  <a:pt x="149" y="333"/>
                </a:lnTo>
                <a:lnTo>
                  <a:pt x="145" y="327"/>
                </a:lnTo>
                <a:lnTo>
                  <a:pt x="142" y="322"/>
                </a:lnTo>
                <a:lnTo>
                  <a:pt x="142" y="316"/>
                </a:lnTo>
                <a:lnTo>
                  <a:pt x="145" y="309"/>
                </a:lnTo>
                <a:lnTo>
                  <a:pt x="311" y="83"/>
                </a:lnTo>
                <a:lnTo>
                  <a:pt x="314" y="80"/>
                </a:lnTo>
                <a:lnTo>
                  <a:pt x="316" y="78"/>
                </a:lnTo>
                <a:lnTo>
                  <a:pt x="321" y="76"/>
                </a:lnTo>
                <a:lnTo>
                  <a:pt x="325" y="75"/>
                </a:lnTo>
                <a:lnTo>
                  <a:pt x="568" y="75"/>
                </a:lnTo>
                <a:lnTo>
                  <a:pt x="561" y="56"/>
                </a:lnTo>
                <a:lnTo>
                  <a:pt x="560" y="53"/>
                </a:lnTo>
                <a:lnTo>
                  <a:pt x="560" y="50"/>
                </a:lnTo>
                <a:lnTo>
                  <a:pt x="560" y="19"/>
                </a:lnTo>
                <a:lnTo>
                  <a:pt x="560" y="17"/>
                </a:lnTo>
                <a:lnTo>
                  <a:pt x="561" y="10"/>
                </a:lnTo>
                <a:lnTo>
                  <a:pt x="564" y="4"/>
                </a:lnTo>
                <a:lnTo>
                  <a:pt x="570" y="1"/>
                </a:lnTo>
                <a:lnTo>
                  <a:pt x="577" y="0"/>
                </a:lnTo>
                <a:lnTo>
                  <a:pt x="661" y="0"/>
                </a:lnTo>
                <a:lnTo>
                  <a:pt x="674" y="1"/>
                </a:lnTo>
                <a:lnTo>
                  <a:pt x="687" y="4"/>
                </a:lnTo>
                <a:lnTo>
                  <a:pt x="697" y="11"/>
                </a:lnTo>
                <a:lnTo>
                  <a:pt x="707" y="19"/>
                </a:lnTo>
                <a:lnTo>
                  <a:pt x="707" y="19"/>
                </a:lnTo>
                <a:lnTo>
                  <a:pt x="707" y="19"/>
                </a:lnTo>
                <a:lnTo>
                  <a:pt x="715" y="29"/>
                </a:lnTo>
                <a:lnTo>
                  <a:pt x="721" y="40"/>
                </a:lnTo>
                <a:lnTo>
                  <a:pt x="725" y="52"/>
                </a:lnTo>
                <a:lnTo>
                  <a:pt x="727" y="65"/>
                </a:lnTo>
                <a:lnTo>
                  <a:pt x="725" y="79"/>
                </a:lnTo>
                <a:lnTo>
                  <a:pt x="721" y="90"/>
                </a:lnTo>
                <a:lnTo>
                  <a:pt x="715" y="102"/>
                </a:lnTo>
                <a:lnTo>
                  <a:pt x="707" y="112"/>
                </a:lnTo>
                <a:lnTo>
                  <a:pt x="697" y="119"/>
                </a:lnTo>
                <a:lnTo>
                  <a:pt x="687" y="125"/>
                </a:lnTo>
                <a:lnTo>
                  <a:pt x="674" y="129"/>
                </a:lnTo>
                <a:lnTo>
                  <a:pt x="661" y="131"/>
                </a:lnTo>
                <a:lnTo>
                  <a:pt x="653" y="129"/>
                </a:lnTo>
                <a:lnTo>
                  <a:pt x="649" y="125"/>
                </a:lnTo>
                <a:lnTo>
                  <a:pt x="645" y="121"/>
                </a:lnTo>
                <a:lnTo>
                  <a:pt x="643" y="113"/>
                </a:lnTo>
                <a:lnTo>
                  <a:pt x="645" y="106"/>
                </a:lnTo>
                <a:lnTo>
                  <a:pt x="649" y="102"/>
                </a:lnTo>
                <a:lnTo>
                  <a:pt x="653" y="98"/>
                </a:lnTo>
                <a:lnTo>
                  <a:pt x="661" y="96"/>
                </a:lnTo>
                <a:lnTo>
                  <a:pt x="666" y="96"/>
                </a:lnTo>
                <a:lnTo>
                  <a:pt x="672" y="93"/>
                </a:lnTo>
                <a:lnTo>
                  <a:pt x="678" y="90"/>
                </a:lnTo>
                <a:lnTo>
                  <a:pt x="682" y="88"/>
                </a:lnTo>
                <a:lnTo>
                  <a:pt x="687" y="83"/>
                </a:lnTo>
                <a:lnTo>
                  <a:pt x="689" y="78"/>
                </a:lnTo>
                <a:lnTo>
                  <a:pt x="691" y="72"/>
                </a:lnTo>
                <a:lnTo>
                  <a:pt x="692" y="65"/>
                </a:lnTo>
                <a:lnTo>
                  <a:pt x="691" y="59"/>
                </a:lnTo>
                <a:lnTo>
                  <a:pt x="689" y="53"/>
                </a:lnTo>
                <a:lnTo>
                  <a:pt x="687" y="47"/>
                </a:lnTo>
                <a:lnTo>
                  <a:pt x="682" y="43"/>
                </a:lnTo>
                <a:lnTo>
                  <a:pt x="682" y="43"/>
                </a:lnTo>
                <a:lnTo>
                  <a:pt x="678" y="39"/>
                </a:lnTo>
                <a:lnTo>
                  <a:pt x="672" y="36"/>
                </a:lnTo>
                <a:lnTo>
                  <a:pt x="666" y="34"/>
                </a:lnTo>
                <a:lnTo>
                  <a:pt x="661" y="34"/>
                </a:lnTo>
                <a:lnTo>
                  <a:pt x="594" y="34"/>
                </a:lnTo>
                <a:lnTo>
                  <a:pt x="594" y="47"/>
                </a:lnTo>
                <a:lnTo>
                  <a:pt x="607" y="85"/>
                </a:lnTo>
                <a:lnTo>
                  <a:pt x="609" y="88"/>
                </a:lnTo>
                <a:lnTo>
                  <a:pt x="695" y="313"/>
                </a:lnTo>
                <a:lnTo>
                  <a:pt x="697" y="320"/>
                </a:lnTo>
                <a:lnTo>
                  <a:pt x="695" y="326"/>
                </a:lnTo>
                <a:lnTo>
                  <a:pt x="691" y="332"/>
                </a:lnTo>
                <a:lnTo>
                  <a:pt x="685" y="335"/>
                </a:lnTo>
                <a:lnTo>
                  <a:pt x="678" y="336"/>
                </a:lnTo>
                <a:lnTo>
                  <a:pt x="672" y="335"/>
                </a:lnTo>
                <a:lnTo>
                  <a:pt x="666" y="330"/>
                </a:lnTo>
                <a:lnTo>
                  <a:pt x="663" y="325"/>
                </a:lnTo>
                <a:lnTo>
                  <a:pt x="619" y="210"/>
                </a:lnTo>
                <a:lnTo>
                  <a:pt x="606" y="217"/>
                </a:lnTo>
                <a:lnTo>
                  <a:pt x="594" y="227"/>
                </a:lnTo>
                <a:lnTo>
                  <a:pt x="584" y="237"/>
                </a:lnTo>
                <a:lnTo>
                  <a:pt x="576" y="248"/>
                </a:lnTo>
                <a:lnTo>
                  <a:pt x="566" y="264"/>
                </a:lnTo>
                <a:lnTo>
                  <a:pt x="560" y="281"/>
                </a:lnTo>
                <a:lnTo>
                  <a:pt x="557" y="290"/>
                </a:lnTo>
                <a:lnTo>
                  <a:pt x="555" y="300"/>
                </a:lnTo>
                <a:lnTo>
                  <a:pt x="554" y="309"/>
                </a:lnTo>
                <a:lnTo>
                  <a:pt x="554" y="319"/>
                </a:lnTo>
                <a:lnTo>
                  <a:pt x="554" y="332"/>
                </a:lnTo>
                <a:lnTo>
                  <a:pt x="555" y="345"/>
                </a:lnTo>
                <a:lnTo>
                  <a:pt x="560" y="356"/>
                </a:lnTo>
                <a:lnTo>
                  <a:pt x="563" y="368"/>
                </a:lnTo>
                <a:lnTo>
                  <a:pt x="568" y="379"/>
                </a:lnTo>
                <a:lnTo>
                  <a:pt x="574" y="389"/>
                </a:lnTo>
                <a:lnTo>
                  <a:pt x="581" y="399"/>
                </a:lnTo>
                <a:lnTo>
                  <a:pt x="590" y="408"/>
                </a:lnTo>
                <a:lnTo>
                  <a:pt x="599" y="416"/>
                </a:lnTo>
                <a:lnTo>
                  <a:pt x="609" y="424"/>
                </a:lnTo>
                <a:lnTo>
                  <a:pt x="619" y="429"/>
                </a:lnTo>
                <a:lnTo>
                  <a:pt x="630" y="435"/>
                </a:lnTo>
                <a:lnTo>
                  <a:pt x="640" y="439"/>
                </a:lnTo>
                <a:lnTo>
                  <a:pt x="652" y="442"/>
                </a:lnTo>
                <a:lnTo>
                  <a:pt x="665" y="444"/>
                </a:lnTo>
                <a:lnTo>
                  <a:pt x="676" y="444"/>
                </a:lnTo>
                <a:lnTo>
                  <a:pt x="679" y="444"/>
                </a:lnTo>
                <a:lnTo>
                  <a:pt x="692" y="444"/>
                </a:lnTo>
                <a:lnTo>
                  <a:pt x="704" y="442"/>
                </a:lnTo>
                <a:lnTo>
                  <a:pt x="717" y="438"/>
                </a:lnTo>
                <a:lnTo>
                  <a:pt x="728" y="435"/>
                </a:lnTo>
                <a:lnTo>
                  <a:pt x="738" y="429"/>
                </a:lnTo>
                <a:lnTo>
                  <a:pt x="748" y="422"/>
                </a:lnTo>
                <a:lnTo>
                  <a:pt x="759" y="415"/>
                </a:lnTo>
                <a:lnTo>
                  <a:pt x="767" y="408"/>
                </a:lnTo>
                <a:lnTo>
                  <a:pt x="776" y="399"/>
                </a:lnTo>
                <a:lnTo>
                  <a:pt x="783" y="389"/>
                </a:lnTo>
                <a:lnTo>
                  <a:pt x="789" y="379"/>
                </a:lnTo>
                <a:lnTo>
                  <a:pt x="795" y="369"/>
                </a:lnTo>
                <a:lnTo>
                  <a:pt x="799" y="358"/>
                </a:lnTo>
                <a:lnTo>
                  <a:pt x="802" y="346"/>
                </a:lnTo>
                <a:lnTo>
                  <a:pt x="803" y="333"/>
                </a:lnTo>
                <a:lnTo>
                  <a:pt x="805" y="320"/>
                </a:lnTo>
                <a:lnTo>
                  <a:pt x="805" y="319"/>
                </a:lnTo>
                <a:lnTo>
                  <a:pt x="803" y="306"/>
                </a:lnTo>
                <a:lnTo>
                  <a:pt x="802" y="294"/>
                </a:lnTo>
                <a:lnTo>
                  <a:pt x="799" y="281"/>
                </a:lnTo>
                <a:lnTo>
                  <a:pt x="795" y="270"/>
                </a:lnTo>
                <a:lnTo>
                  <a:pt x="789" y="260"/>
                </a:lnTo>
                <a:lnTo>
                  <a:pt x="783" y="250"/>
                </a:lnTo>
                <a:lnTo>
                  <a:pt x="776" y="240"/>
                </a:lnTo>
                <a:lnTo>
                  <a:pt x="767" y="231"/>
                </a:lnTo>
                <a:lnTo>
                  <a:pt x="759" y="223"/>
                </a:lnTo>
                <a:lnTo>
                  <a:pt x="748" y="215"/>
                </a:lnTo>
                <a:lnTo>
                  <a:pt x="738" y="210"/>
                </a:lnTo>
                <a:lnTo>
                  <a:pt x="728" y="204"/>
                </a:lnTo>
                <a:lnTo>
                  <a:pt x="717" y="200"/>
                </a:lnTo>
                <a:lnTo>
                  <a:pt x="704" y="197"/>
                </a:lnTo>
                <a:lnTo>
                  <a:pt x="692" y="194"/>
                </a:lnTo>
                <a:lnTo>
                  <a:pt x="679" y="194"/>
                </a:lnTo>
                <a:close/>
                <a:moveTo>
                  <a:pt x="283" y="302"/>
                </a:moveTo>
                <a:lnTo>
                  <a:pt x="283" y="302"/>
                </a:lnTo>
                <a:lnTo>
                  <a:pt x="282" y="291"/>
                </a:lnTo>
                <a:lnTo>
                  <a:pt x="279" y="281"/>
                </a:lnTo>
                <a:lnTo>
                  <a:pt x="276" y="271"/>
                </a:lnTo>
                <a:lnTo>
                  <a:pt x="272" y="263"/>
                </a:lnTo>
                <a:lnTo>
                  <a:pt x="266" y="253"/>
                </a:lnTo>
                <a:lnTo>
                  <a:pt x="260" y="244"/>
                </a:lnTo>
                <a:lnTo>
                  <a:pt x="253" y="237"/>
                </a:lnTo>
                <a:lnTo>
                  <a:pt x="246" y="228"/>
                </a:lnTo>
                <a:lnTo>
                  <a:pt x="193" y="302"/>
                </a:lnTo>
                <a:lnTo>
                  <a:pt x="283" y="302"/>
                </a:lnTo>
                <a:close/>
              </a:path>
            </a:pathLst>
          </a:cu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4" name="Skupina 1063">
            <a:extLst>
              <a:ext uri="{FF2B5EF4-FFF2-40B4-BE49-F238E27FC236}">
                <a16:creationId xmlns:a16="http://schemas.microsoft.com/office/drawing/2014/main" id="{B900F3B0-50CB-3406-4A0D-127ABEACB7BF}"/>
              </a:ext>
            </a:extLst>
          </p:cNvPr>
          <p:cNvGrpSpPr/>
          <p:nvPr/>
        </p:nvGrpSpPr>
        <p:grpSpPr>
          <a:xfrm>
            <a:off x="10572750" y="2193925"/>
            <a:ext cx="952500" cy="950913"/>
            <a:chOff x="10572750" y="2193925"/>
            <a:chExt cx="952500" cy="950913"/>
          </a:xfrm>
        </p:grpSpPr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29C73B0-FDBE-ED19-835D-21C1D07B8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2750" y="2193925"/>
              <a:ext cx="952500" cy="950913"/>
            </a:xfrm>
            <a:custGeom>
              <a:avLst/>
              <a:gdLst>
                <a:gd name="T0" fmla="*/ 206 w 1800"/>
                <a:gd name="T1" fmla="*/ 325 h 1795"/>
                <a:gd name="T2" fmla="*/ 131 w 1800"/>
                <a:gd name="T3" fmla="*/ 432 h 1795"/>
                <a:gd name="T4" fmla="*/ 71 w 1800"/>
                <a:gd name="T5" fmla="*/ 547 h 1795"/>
                <a:gd name="T6" fmla="*/ 29 w 1800"/>
                <a:gd name="T7" fmla="*/ 672 h 1795"/>
                <a:gd name="T8" fmla="*/ 4 w 1800"/>
                <a:gd name="T9" fmla="*/ 804 h 1795"/>
                <a:gd name="T10" fmla="*/ 0 w 1800"/>
                <a:gd name="T11" fmla="*/ 898 h 1795"/>
                <a:gd name="T12" fmla="*/ 10 w 1800"/>
                <a:gd name="T13" fmla="*/ 1035 h 1795"/>
                <a:gd name="T14" fmla="*/ 40 w 1800"/>
                <a:gd name="T15" fmla="*/ 1164 h 1795"/>
                <a:gd name="T16" fmla="*/ 89 w 1800"/>
                <a:gd name="T17" fmla="*/ 1286 h 1795"/>
                <a:gd name="T18" fmla="*/ 154 w 1800"/>
                <a:gd name="T19" fmla="*/ 1400 h 1795"/>
                <a:gd name="T20" fmla="*/ 233 w 1800"/>
                <a:gd name="T21" fmla="*/ 1500 h 1795"/>
                <a:gd name="T22" fmla="*/ 327 w 1800"/>
                <a:gd name="T23" fmla="*/ 1589 h 1795"/>
                <a:gd name="T24" fmla="*/ 433 w 1800"/>
                <a:gd name="T25" fmla="*/ 1664 h 1795"/>
                <a:gd name="T26" fmla="*/ 550 w 1800"/>
                <a:gd name="T27" fmla="*/ 1724 h 1795"/>
                <a:gd name="T28" fmla="*/ 675 w 1800"/>
                <a:gd name="T29" fmla="*/ 1766 h 1795"/>
                <a:gd name="T30" fmla="*/ 808 w 1800"/>
                <a:gd name="T31" fmla="*/ 1790 h 1795"/>
                <a:gd name="T32" fmla="*/ 900 w 1800"/>
                <a:gd name="T33" fmla="*/ 1795 h 1795"/>
                <a:gd name="T34" fmla="*/ 1037 w 1800"/>
                <a:gd name="T35" fmla="*/ 1784 h 1795"/>
                <a:gd name="T36" fmla="*/ 1168 w 1800"/>
                <a:gd name="T37" fmla="*/ 1754 h 1795"/>
                <a:gd name="T38" fmla="*/ 1290 w 1800"/>
                <a:gd name="T39" fmla="*/ 1705 h 1795"/>
                <a:gd name="T40" fmla="*/ 1404 w 1800"/>
                <a:gd name="T41" fmla="*/ 1641 h 1795"/>
                <a:gd name="T42" fmla="*/ 1505 w 1800"/>
                <a:gd name="T43" fmla="*/ 1562 h 1795"/>
                <a:gd name="T44" fmla="*/ 1594 w 1800"/>
                <a:gd name="T45" fmla="*/ 1469 h 1795"/>
                <a:gd name="T46" fmla="*/ 1670 w 1800"/>
                <a:gd name="T47" fmla="*/ 1362 h 1795"/>
                <a:gd name="T48" fmla="*/ 1729 w 1800"/>
                <a:gd name="T49" fmla="*/ 1246 h 1795"/>
                <a:gd name="T50" fmla="*/ 1771 w 1800"/>
                <a:gd name="T51" fmla="*/ 1121 h 1795"/>
                <a:gd name="T52" fmla="*/ 1796 w 1800"/>
                <a:gd name="T53" fmla="*/ 989 h 1795"/>
                <a:gd name="T54" fmla="*/ 1799 w 1800"/>
                <a:gd name="T55" fmla="*/ 851 h 1795"/>
                <a:gd name="T56" fmla="*/ 1781 w 1800"/>
                <a:gd name="T57" fmla="*/ 716 h 1795"/>
                <a:gd name="T58" fmla="*/ 1745 w 1800"/>
                <a:gd name="T59" fmla="*/ 588 h 1795"/>
                <a:gd name="T60" fmla="*/ 1692 w 1800"/>
                <a:gd name="T61" fmla="*/ 469 h 1795"/>
                <a:gd name="T62" fmla="*/ 1621 w 1800"/>
                <a:gd name="T63" fmla="*/ 360 h 1795"/>
                <a:gd name="T64" fmla="*/ 1536 w 1800"/>
                <a:gd name="T65" fmla="*/ 262 h 1795"/>
                <a:gd name="T66" fmla="*/ 1439 w 1800"/>
                <a:gd name="T67" fmla="*/ 178 h 1795"/>
                <a:gd name="T68" fmla="*/ 1329 w 1800"/>
                <a:gd name="T69" fmla="*/ 107 h 1795"/>
                <a:gd name="T70" fmla="*/ 1210 w 1800"/>
                <a:gd name="T71" fmla="*/ 54 h 1795"/>
                <a:gd name="T72" fmla="*/ 1081 w 1800"/>
                <a:gd name="T73" fmla="*/ 18 h 1795"/>
                <a:gd name="T74" fmla="*/ 946 w 1800"/>
                <a:gd name="T75" fmla="*/ 1 h 1795"/>
                <a:gd name="T76" fmla="*/ 808 w 1800"/>
                <a:gd name="T77" fmla="*/ 4 h 1795"/>
                <a:gd name="T78" fmla="*/ 675 w 1800"/>
                <a:gd name="T79" fmla="*/ 28 h 1795"/>
                <a:gd name="T80" fmla="*/ 550 w 1800"/>
                <a:gd name="T81" fmla="*/ 70 h 1795"/>
                <a:gd name="T82" fmla="*/ 433 w 1800"/>
                <a:gd name="T83" fmla="*/ 129 h 1795"/>
                <a:gd name="T84" fmla="*/ 327 w 1800"/>
                <a:gd name="T85" fmla="*/ 205 h 1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0" h="1795">
                  <a:moveTo>
                    <a:pt x="264" y="262"/>
                  </a:moveTo>
                  <a:lnTo>
                    <a:pt x="233" y="294"/>
                  </a:lnTo>
                  <a:lnTo>
                    <a:pt x="206" y="325"/>
                  </a:lnTo>
                  <a:lnTo>
                    <a:pt x="179" y="360"/>
                  </a:lnTo>
                  <a:lnTo>
                    <a:pt x="154" y="394"/>
                  </a:lnTo>
                  <a:lnTo>
                    <a:pt x="131" y="432"/>
                  </a:lnTo>
                  <a:lnTo>
                    <a:pt x="109" y="469"/>
                  </a:lnTo>
                  <a:lnTo>
                    <a:pt x="89" y="508"/>
                  </a:lnTo>
                  <a:lnTo>
                    <a:pt x="71" y="547"/>
                  </a:lnTo>
                  <a:lnTo>
                    <a:pt x="55" y="588"/>
                  </a:lnTo>
                  <a:lnTo>
                    <a:pt x="40" y="630"/>
                  </a:lnTo>
                  <a:lnTo>
                    <a:pt x="29" y="672"/>
                  </a:lnTo>
                  <a:lnTo>
                    <a:pt x="19" y="715"/>
                  </a:lnTo>
                  <a:lnTo>
                    <a:pt x="10" y="759"/>
                  </a:lnTo>
                  <a:lnTo>
                    <a:pt x="4" y="804"/>
                  </a:lnTo>
                  <a:lnTo>
                    <a:pt x="1" y="850"/>
                  </a:lnTo>
                  <a:lnTo>
                    <a:pt x="0" y="896"/>
                  </a:lnTo>
                  <a:lnTo>
                    <a:pt x="0" y="898"/>
                  </a:lnTo>
                  <a:lnTo>
                    <a:pt x="1" y="944"/>
                  </a:lnTo>
                  <a:lnTo>
                    <a:pt x="4" y="990"/>
                  </a:lnTo>
                  <a:lnTo>
                    <a:pt x="10" y="1035"/>
                  </a:lnTo>
                  <a:lnTo>
                    <a:pt x="19" y="1079"/>
                  </a:lnTo>
                  <a:lnTo>
                    <a:pt x="29" y="1122"/>
                  </a:lnTo>
                  <a:lnTo>
                    <a:pt x="40" y="1164"/>
                  </a:lnTo>
                  <a:lnTo>
                    <a:pt x="55" y="1206"/>
                  </a:lnTo>
                  <a:lnTo>
                    <a:pt x="71" y="1247"/>
                  </a:lnTo>
                  <a:lnTo>
                    <a:pt x="89" y="1286"/>
                  </a:lnTo>
                  <a:lnTo>
                    <a:pt x="109" y="1325"/>
                  </a:lnTo>
                  <a:lnTo>
                    <a:pt x="131" y="1362"/>
                  </a:lnTo>
                  <a:lnTo>
                    <a:pt x="154" y="1400"/>
                  </a:lnTo>
                  <a:lnTo>
                    <a:pt x="179" y="1434"/>
                  </a:lnTo>
                  <a:lnTo>
                    <a:pt x="206" y="1469"/>
                  </a:lnTo>
                  <a:lnTo>
                    <a:pt x="233" y="1500"/>
                  </a:lnTo>
                  <a:lnTo>
                    <a:pt x="264" y="1532"/>
                  </a:lnTo>
                  <a:lnTo>
                    <a:pt x="295" y="1562"/>
                  </a:lnTo>
                  <a:lnTo>
                    <a:pt x="327" y="1589"/>
                  </a:lnTo>
                  <a:lnTo>
                    <a:pt x="361" y="1616"/>
                  </a:lnTo>
                  <a:lnTo>
                    <a:pt x="396" y="1641"/>
                  </a:lnTo>
                  <a:lnTo>
                    <a:pt x="433" y="1664"/>
                  </a:lnTo>
                  <a:lnTo>
                    <a:pt x="471" y="1687"/>
                  </a:lnTo>
                  <a:lnTo>
                    <a:pt x="510" y="1705"/>
                  </a:lnTo>
                  <a:lnTo>
                    <a:pt x="550" y="1724"/>
                  </a:lnTo>
                  <a:lnTo>
                    <a:pt x="590" y="1740"/>
                  </a:lnTo>
                  <a:lnTo>
                    <a:pt x="632" y="1754"/>
                  </a:lnTo>
                  <a:lnTo>
                    <a:pt x="675" y="1766"/>
                  </a:lnTo>
                  <a:lnTo>
                    <a:pt x="719" y="1776"/>
                  </a:lnTo>
                  <a:lnTo>
                    <a:pt x="763" y="1784"/>
                  </a:lnTo>
                  <a:lnTo>
                    <a:pt x="808" y="1790"/>
                  </a:lnTo>
                  <a:lnTo>
                    <a:pt x="852" y="1793"/>
                  </a:lnTo>
                  <a:lnTo>
                    <a:pt x="900" y="1795"/>
                  </a:lnTo>
                  <a:lnTo>
                    <a:pt x="900" y="1795"/>
                  </a:lnTo>
                  <a:lnTo>
                    <a:pt x="948" y="1793"/>
                  </a:lnTo>
                  <a:lnTo>
                    <a:pt x="992" y="1790"/>
                  </a:lnTo>
                  <a:lnTo>
                    <a:pt x="1037" y="1784"/>
                  </a:lnTo>
                  <a:lnTo>
                    <a:pt x="1081" y="1776"/>
                  </a:lnTo>
                  <a:lnTo>
                    <a:pt x="1125" y="1766"/>
                  </a:lnTo>
                  <a:lnTo>
                    <a:pt x="1168" y="1754"/>
                  </a:lnTo>
                  <a:lnTo>
                    <a:pt x="1210" y="1740"/>
                  </a:lnTo>
                  <a:lnTo>
                    <a:pt x="1250" y="1724"/>
                  </a:lnTo>
                  <a:lnTo>
                    <a:pt x="1290" y="1705"/>
                  </a:lnTo>
                  <a:lnTo>
                    <a:pt x="1329" y="1687"/>
                  </a:lnTo>
                  <a:lnTo>
                    <a:pt x="1367" y="1664"/>
                  </a:lnTo>
                  <a:lnTo>
                    <a:pt x="1404" y="1641"/>
                  </a:lnTo>
                  <a:lnTo>
                    <a:pt x="1439" y="1616"/>
                  </a:lnTo>
                  <a:lnTo>
                    <a:pt x="1473" y="1589"/>
                  </a:lnTo>
                  <a:lnTo>
                    <a:pt x="1505" y="1562"/>
                  </a:lnTo>
                  <a:lnTo>
                    <a:pt x="1536" y="1532"/>
                  </a:lnTo>
                  <a:lnTo>
                    <a:pt x="1567" y="1500"/>
                  </a:lnTo>
                  <a:lnTo>
                    <a:pt x="1594" y="1469"/>
                  </a:lnTo>
                  <a:lnTo>
                    <a:pt x="1621" y="1434"/>
                  </a:lnTo>
                  <a:lnTo>
                    <a:pt x="1646" y="1398"/>
                  </a:lnTo>
                  <a:lnTo>
                    <a:pt x="1670" y="1362"/>
                  </a:lnTo>
                  <a:lnTo>
                    <a:pt x="1692" y="1325"/>
                  </a:lnTo>
                  <a:lnTo>
                    <a:pt x="1711" y="1286"/>
                  </a:lnTo>
                  <a:lnTo>
                    <a:pt x="1729" y="1246"/>
                  </a:lnTo>
                  <a:lnTo>
                    <a:pt x="1745" y="1206"/>
                  </a:lnTo>
                  <a:lnTo>
                    <a:pt x="1760" y="1164"/>
                  </a:lnTo>
                  <a:lnTo>
                    <a:pt x="1771" y="1121"/>
                  </a:lnTo>
                  <a:lnTo>
                    <a:pt x="1781" y="1078"/>
                  </a:lnTo>
                  <a:lnTo>
                    <a:pt x="1790" y="1033"/>
                  </a:lnTo>
                  <a:lnTo>
                    <a:pt x="1796" y="989"/>
                  </a:lnTo>
                  <a:lnTo>
                    <a:pt x="1799" y="943"/>
                  </a:lnTo>
                  <a:lnTo>
                    <a:pt x="1800" y="897"/>
                  </a:lnTo>
                  <a:lnTo>
                    <a:pt x="1799" y="851"/>
                  </a:lnTo>
                  <a:lnTo>
                    <a:pt x="1796" y="805"/>
                  </a:lnTo>
                  <a:lnTo>
                    <a:pt x="1790" y="761"/>
                  </a:lnTo>
                  <a:lnTo>
                    <a:pt x="1781" y="716"/>
                  </a:lnTo>
                  <a:lnTo>
                    <a:pt x="1771" y="673"/>
                  </a:lnTo>
                  <a:lnTo>
                    <a:pt x="1760" y="630"/>
                  </a:lnTo>
                  <a:lnTo>
                    <a:pt x="1745" y="588"/>
                  </a:lnTo>
                  <a:lnTo>
                    <a:pt x="1729" y="548"/>
                  </a:lnTo>
                  <a:lnTo>
                    <a:pt x="1711" y="508"/>
                  </a:lnTo>
                  <a:lnTo>
                    <a:pt x="1692" y="469"/>
                  </a:lnTo>
                  <a:lnTo>
                    <a:pt x="1670" y="432"/>
                  </a:lnTo>
                  <a:lnTo>
                    <a:pt x="1646" y="396"/>
                  </a:lnTo>
                  <a:lnTo>
                    <a:pt x="1621" y="360"/>
                  </a:lnTo>
                  <a:lnTo>
                    <a:pt x="1594" y="325"/>
                  </a:lnTo>
                  <a:lnTo>
                    <a:pt x="1567" y="294"/>
                  </a:lnTo>
                  <a:lnTo>
                    <a:pt x="1536" y="262"/>
                  </a:lnTo>
                  <a:lnTo>
                    <a:pt x="1505" y="232"/>
                  </a:lnTo>
                  <a:lnTo>
                    <a:pt x="1473" y="205"/>
                  </a:lnTo>
                  <a:lnTo>
                    <a:pt x="1439" y="178"/>
                  </a:lnTo>
                  <a:lnTo>
                    <a:pt x="1403" y="153"/>
                  </a:lnTo>
                  <a:lnTo>
                    <a:pt x="1367" y="129"/>
                  </a:lnTo>
                  <a:lnTo>
                    <a:pt x="1329" y="107"/>
                  </a:lnTo>
                  <a:lnTo>
                    <a:pt x="1290" y="89"/>
                  </a:lnTo>
                  <a:lnTo>
                    <a:pt x="1250" y="70"/>
                  </a:lnTo>
                  <a:lnTo>
                    <a:pt x="1210" y="54"/>
                  </a:lnTo>
                  <a:lnTo>
                    <a:pt x="1168" y="40"/>
                  </a:lnTo>
                  <a:lnTo>
                    <a:pt x="1125" y="28"/>
                  </a:lnTo>
                  <a:lnTo>
                    <a:pt x="1081" y="18"/>
                  </a:lnTo>
                  <a:lnTo>
                    <a:pt x="1037" y="10"/>
                  </a:lnTo>
                  <a:lnTo>
                    <a:pt x="992" y="4"/>
                  </a:lnTo>
                  <a:lnTo>
                    <a:pt x="946" y="1"/>
                  </a:lnTo>
                  <a:lnTo>
                    <a:pt x="900" y="0"/>
                  </a:lnTo>
                  <a:lnTo>
                    <a:pt x="854" y="1"/>
                  </a:lnTo>
                  <a:lnTo>
                    <a:pt x="808" y="4"/>
                  </a:lnTo>
                  <a:lnTo>
                    <a:pt x="763" y="10"/>
                  </a:lnTo>
                  <a:lnTo>
                    <a:pt x="719" y="18"/>
                  </a:lnTo>
                  <a:lnTo>
                    <a:pt x="675" y="28"/>
                  </a:lnTo>
                  <a:lnTo>
                    <a:pt x="632" y="40"/>
                  </a:lnTo>
                  <a:lnTo>
                    <a:pt x="590" y="54"/>
                  </a:lnTo>
                  <a:lnTo>
                    <a:pt x="550" y="70"/>
                  </a:lnTo>
                  <a:lnTo>
                    <a:pt x="510" y="89"/>
                  </a:lnTo>
                  <a:lnTo>
                    <a:pt x="471" y="107"/>
                  </a:lnTo>
                  <a:lnTo>
                    <a:pt x="433" y="129"/>
                  </a:lnTo>
                  <a:lnTo>
                    <a:pt x="397" y="153"/>
                  </a:lnTo>
                  <a:lnTo>
                    <a:pt x="361" y="178"/>
                  </a:lnTo>
                  <a:lnTo>
                    <a:pt x="327" y="205"/>
                  </a:lnTo>
                  <a:lnTo>
                    <a:pt x="295" y="232"/>
                  </a:lnTo>
                  <a:lnTo>
                    <a:pt x="264" y="2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BE7E31E7-A304-75D4-0629-E89601EC8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90213" y="2211388"/>
              <a:ext cx="917575" cy="914400"/>
            </a:xfrm>
            <a:custGeom>
              <a:avLst/>
              <a:gdLst>
                <a:gd name="T0" fmla="*/ 123 w 1734"/>
                <a:gd name="T1" fmla="*/ 880 h 1728"/>
                <a:gd name="T2" fmla="*/ 675 w 1734"/>
                <a:gd name="T3" fmla="*/ 1559 h 1728"/>
                <a:gd name="T4" fmla="*/ 639 w 1734"/>
                <a:gd name="T5" fmla="*/ 1484 h 1728"/>
                <a:gd name="T6" fmla="*/ 709 w 1734"/>
                <a:gd name="T7" fmla="*/ 1631 h 1728"/>
                <a:gd name="T8" fmla="*/ 736 w 1734"/>
                <a:gd name="T9" fmla="*/ 1545 h 1728"/>
                <a:gd name="T10" fmla="*/ 311 w 1734"/>
                <a:gd name="T11" fmla="*/ 1217 h 1728"/>
                <a:gd name="T12" fmla="*/ 200 w 1734"/>
                <a:gd name="T13" fmla="*/ 1036 h 1728"/>
                <a:gd name="T14" fmla="*/ 223 w 1734"/>
                <a:gd name="T15" fmla="*/ 1003 h 1728"/>
                <a:gd name="T16" fmla="*/ 140 w 1734"/>
                <a:gd name="T17" fmla="*/ 1029 h 1728"/>
                <a:gd name="T18" fmla="*/ 127 w 1734"/>
                <a:gd name="T19" fmla="*/ 1012 h 1728"/>
                <a:gd name="T20" fmla="*/ 114 w 1734"/>
                <a:gd name="T21" fmla="*/ 1092 h 1728"/>
                <a:gd name="T22" fmla="*/ 288 w 1734"/>
                <a:gd name="T23" fmla="*/ 1178 h 1728"/>
                <a:gd name="T24" fmla="*/ 1400 w 1734"/>
                <a:gd name="T25" fmla="*/ 1509 h 1728"/>
                <a:gd name="T26" fmla="*/ 739 w 1734"/>
                <a:gd name="T27" fmla="*/ 1690 h 1728"/>
                <a:gd name="T28" fmla="*/ 173 w 1734"/>
                <a:gd name="T29" fmla="*/ 1331 h 1728"/>
                <a:gd name="T30" fmla="*/ 56 w 1734"/>
                <a:gd name="T31" fmla="*/ 656 h 1728"/>
                <a:gd name="T32" fmla="*/ 468 w 1734"/>
                <a:gd name="T33" fmla="*/ 130 h 1728"/>
                <a:gd name="T34" fmla="*/ 1155 w 1734"/>
                <a:gd name="T35" fmla="*/ 80 h 1728"/>
                <a:gd name="T36" fmla="*/ 1639 w 1734"/>
                <a:gd name="T37" fmla="*/ 539 h 1728"/>
                <a:gd name="T38" fmla="*/ 1622 w 1734"/>
                <a:gd name="T39" fmla="*/ 1226 h 1728"/>
                <a:gd name="T40" fmla="*/ 530 w 1734"/>
                <a:gd name="T41" fmla="*/ 67 h 1728"/>
                <a:gd name="T42" fmla="*/ 52 w 1734"/>
                <a:gd name="T43" fmla="*/ 567 h 1728"/>
                <a:gd name="T44" fmla="*/ 105 w 1734"/>
                <a:gd name="T45" fmla="*/ 1276 h 1728"/>
                <a:gd name="T46" fmla="*/ 651 w 1734"/>
                <a:gd name="T47" fmla="*/ 1701 h 1728"/>
                <a:gd name="T48" fmla="*/ 1352 w 1734"/>
                <a:gd name="T49" fmla="*/ 1581 h 1728"/>
                <a:gd name="T50" fmla="*/ 1724 w 1734"/>
                <a:gd name="T51" fmla="*/ 996 h 1728"/>
                <a:gd name="T52" fmla="*/ 1537 w 1734"/>
                <a:gd name="T53" fmla="*/ 314 h 1728"/>
                <a:gd name="T54" fmla="*/ 912 w 1734"/>
                <a:gd name="T55" fmla="*/ 1 h 1728"/>
                <a:gd name="T56" fmla="*/ 1331 w 1734"/>
                <a:gd name="T57" fmla="*/ 1466 h 1728"/>
                <a:gd name="T58" fmla="*/ 1257 w 1734"/>
                <a:gd name="T59" fmla="*/ 1453 h 1728"/>
                <a:gd name="T60" fmla="*/ 1355 w 1734"/>
                <a:gd name="T61" fmla="*/ 1499 h 1728"/>
                <a:gd name="T62" fmla="*/ 1465 w 1734"/>
                <a:gd name="T63" fmla="*/ 1312 h 1728"/>
                <a:gd name="T64" fmla="*/ 1411 w 1734"/>
                <a:gd name="T65" fmla="*/ 1286 h 1728"/>
                <a:gd name="T66" fmla="*/ 1515 w 1734"/>
                <a:gd name="T67" fmla="*/ 1268 h 1728"/>
                <a:gd name="T68" fmla="*/ 1429 w 1734"/>
                <a:gd name="T69" fmla="*/ 1230 h 1728"/>
                <a:gd name="T70" fmla="*/ 1522 w 1734"/>
                <a:gd name="T71" fmla="*/ 1272 h 1728"/>
                <a:gd name="T72" fmla="*/ 1112 w 1734"/>
                <a:gd name="T73" fmla="*/ 1540 h 1728"/>
                <a:gd name="T74" fmla="*/ 1141 w 1734"/>
                <a:gd name="T75" fmla="*/ 1559 h 1728"/>
                <a:gd name="T76" fmla="*/ 1109 w 1734"/>
                <a:gd name="T77" fmla="*/ 1484 h 1728"/>
                <a:gd name="T78" fmla="*/ 873 w 1734"/>
                <a:gd name="T79" fmla="*/ 1638 h 1728"/>
                <a:gd name="T80" fmla="*/ 1270 w 1734"/>
                <a:gd name="T81" fmla="*/ 170 h 1728"/>
                <a:gd name="T82" fmla="*/ 1037 w 1734"/>
                <a:gd name="T83" fmla="*/ 199 h 1728"/>
                <a:gd name="T84" fmla="*/ 1086 w 1734"/>
                <a:gd name="T85" fmla="*/ 130 h 1728"/>
                <a:gd name="T86" fmla="*/ 1007 w 1734"/>
                <a:gd name="T87" fmla="*/ 107 h 1728"/>
                <a:gd name="T88" fmla="*/ 1041 w 1734"/>
                <a:gd name="T89" fmla="*/ 231 h 1728"/>
                <a:gd name="T90" fmla="*/ 1391 w 1734"/>
                <a:gd name="T91" fmla="*/ 369 h 1728"/>
                <a:gd name="T92" fmla="*/ 1519 w 1734"/>
                <a:gd name="T93" fmla="*/ 728 h 1728"/>
                <a:gd name="T94" fmla="*/ 206 w 1734"/>
                <a:gd name="T95" fmla="*/ 610 h 1728"/>
                <a:gd name="T96" fmla="*/ 236 w 1734"/>
                <a:gd name="T97" fmla="*/ 672 h 1728"/>
                <a:gd name="T98" fmla="*/ 176 w 1734"/>
                <a:gd name="T99" fmla="*/ 558 h 1728"/>
                <a:gd name="T100" fmla="*/ 133 w 1734"/>
                <a:gd name="T101" fmla="*/ 677 h 1728"/>
                <a:gd name="T102" fmla="*/ 546 w 1734"/>
                <a:gd name="T103" fmla="*/ 259 h 1728"/>
                <a:gd name="T104" fmla="*/ 501 w 1734"/>
                <a:gd name="T105" fmla="*/ 182 h 1728"/>
                <a:gd name="T106" fmla="*/ 570 w 1734"/>
                <a:gd name="T107" fmla="*/ 170 h 1728"/>
                <a:gd name="T108" fmla="*/ 448 w 1734"/>
                <a:gd name="T109" fmla="*/ 221 h 1728"/>
                <a:gd name="T110" fmla="*/ 356 w 1734"/>
                <a:gd name="T111" fmla="*/ 331 h 1728"/>
                <a:gd name="T112" fmla="*/ 362 w 1734"/>
                <a:gd name="T113" fmla="*/ 324 h 1728"/>
                <a:gd name="T114" fmla="*/ 392 w 1734"/>
                <a:gd name="T115" fmla="*/ 281 h 1728"/>
                <a:gd name="T116" fmla="*/ 403 w 1734"/>
                <a:gd name="T117" fmla="*/ 396 h 1728"/>
                <a:gd name="T118" fmla="*/ 786 w 1734"/>
                <a:gd name="T119" fmla="*/ 206 h 1728"/>
                <a:gd name="T120" fmla="*/ 1318 w 1734"/>
                <a:gd name="T121" fmla="*/ 131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4" h="1728">
                  <a:moveTo>
                    <a:pt x="295" y="1425"/>
                  </a:moveTo>
                  <a:lnTo>
                    <a:pt x="367" y="1493"/>
                  </a:lnTo>
                  <a:lnTo>
                    <a:pt x="386" y="1474"/>
                  </a:lnTo>
                  <a:lnTo>
                    <a:pt x="343" y="1434"/>
                  </a:lnTo>
                  <a:lnTo>
                    <a:pt x="363" y="1413"/>
                  </a:lnTo>
                  <a:lnTo>
                    <a:pt x="406" y="1453"/>
                  </a:lnTo>
                  <a:lnTo>
                    <a:pt x="425" y="1433"/>
                  </a:lnTo>
                  <a:lnTo>
                    <a:pt x="382" y="1392"/>
                  </a:lnTo>
                  <a:lnTo>
                    <a:pt x="402" y="1371"/>
                  </a:lnTo>
                  <a:lnTo>
                    <a:pt x="445" y="1411"/>
                  </a:lnTo>
                  <a:lnTo>
                    <a:pt x="464" y="1392"/>
                  </a:lnTo>
                  <a:lnTo>
                    <a:pt x="392" y="1324"/>
                  </a:lnTo>
                  <a:lnTo>
                    <a:pt x="295" y="1425"/>
                  </a:lnTo>
                  <a:close/>
                  <a:moveTo>
                    <a:pt x="97" y="819"/>
                  </a:moveTo>
                  <a:lnTo>
                    <a:pt x="97" y="819"/>
                  </a:lnTo>
                  <a:lnTo>
                    <a:pt x="125" y="821"/>
                  </a:lnTo>
                  <a:lnTo>
                    <a:pt x="123" y="880"/>
                  </a:lnTo>
                  <a:lnTo>
                    <a:pt x="148" y="881"/>
                  </a:lnTo>
                  <a:lnTo>
                    <a:pt x="153" y="824"/>
                  </a:lnTo>
                  <a:lnTo>
                    <a:pt x="183" y="825"/>
                  </a:lnTo>
                  <a:lnTo>
                    <a:pt x="179" y="883"/>
                  </a:lnTo>
                  <a:lnTo>
                    <a:pt x="206" y="886"/>
                  </a:lnTo>
                  <a:lnTo>
                    <a:pt x="212" y="786"/>
                  </a:lnTo>
                  <a:lnTo>
                    <a:pt x="72" y="778"/>
                  </a:lnTo>
                  <a:lnTo>
                    <a:pt x="65" y="875"/>
                  </a:lnTo>
                  <a:lnTo>
                    <a:pt x="92" y="877"/>
                  </a:lnTo>
                  <a:lnTo>
                    <a:pt x="97" y="819"/>
                  </a:lnTo>
                  <a:close/>
                  <a:moveTo>
                    <a:pt x="694" y="1548"/>
                  </a:moveTo>
                  <a:lnTo>
                    <a:pt x="694" y="1548"/>
                  </a:lnTo>
                  <a:lnTo>
                    <a:pt x="691" y="1552"/>
                  </a:lnTo>
                  <a:lnTo>
                    <a:pt x="690" y="1555"/>
                  </a:lnTo>
                  <a:lnTo>
                    <a:pt x="687" y="1558"/>
                  </a:lnTo>
                  <a:lnTo>
                    <a:pt x="683" y="1559"/>
                  </a:lnTo>
                  <a:lnTo>
                    <a:pt x="675" y="1559"/>
                  </a:lnTo>
                  <a:lnTo>
                    <a:pt x="667" y="1558"/>
                  </a:lnTo>
                  <a:lnTo>
                    <a:pt x="655" y="1555"/>
                  </a:lnTo>
                  <a:lnTo>
                    <a:pt x="652" y="1553"/>
                  </a:lnTo>
                  <a:lnTo>
                    <a:pt x="664" y="1520"/>
                  </a:lnTo>
                  <a:lnTo>
                    <a:pt x="665" y="1520"/>
                  </a:lnTo>
                  <a:lnTo>
                    <a:pt x="677" y="1525"/>
                  </a:lnTo>
                  <a:lnTo>
                    <a:pt x="686" y="1527"/>
                  </a:lnTo>
                  <a:lnTo>
                    <a:pt x="691" y="1533"/>
                  </a:lnTo>
                  <a:lnTo>
                    <a:pt x="693" y="1536"/>
                  </a:lnTo>
                  <a:lnTo>
                    <a:pt x="694" y="1539"/>
                  </a:lnTo>
                  <a:lnTo>
                    <a:pt x="694" y="1543"/>
                  </a:lnTo>
                  <a:lnTo>
                    <a:pt x="694" y="1548"/>
                  </a:lnTo>
                  <a:close/>
                  <a:moveTo>
                    <a:pt x="686" y="1499"/>
                  </a:moveTo>
                  <a:lnTo>
                    <a:pt x="686" y="1499"/>
                  </a:lnTo>
                  <a:lnTo>
                    <a:pt x="671" y="1494"/>
                  </a:lnTo>
                  <a:lnTo>
                    <a:pt x="654" y="1489"/>
                  </a:lnTo>
                  <a:lnTo>
                    <a:pt x="639" y="1484"/>
                  </a:lnTo>
                  <a:lnTo>
                    <a:pt x="634" y="1483"/>
                  </a:lnTo>
                  <a:lnTo>
                    <a:pt x="591" y="1616"/>
                  </a:lnTo>
                  <a:lnTo>
                    <a:pt x="629" y="1628"/>
                  </a:lnTo>
                  <a:lnTo>
                    <a:pt x="645" y="1579"/>
                  </a:lnTo>
                  <a:lnTo>
                    <a:pt x="647" y="1579"/>
                  </a:lnTo>
                  <a:lnTo>
                    <a:pt x="658" y="1583"/>
                  </a:lnTo>
                  <a:lnTo>
                    <a:pt x="664" y="1585"/>
                  </a:lnTo>
                  <a:lnTo>
                    <a:pt x="668" y="1588"/>
                  </a:lnTo>
                  <a:lnTo>
                    <a:pt x="671" y="1591"/>
                  </a:lnTo>
                  <a:lnTo>
                    <a:pt x="673" y="1593"/>
                  </a:lnTo>
                  <a:lnTo>
                    <a:pt x="675" y="1601"/>
                  </a:lnTo>
                  <a:lnTo>
                    <a:pt x="674" y="1609"/>
                  </a:lnTo>
                  <a:lnTo>
                    <a:pt x="670" y="1625"/>
                  </a:lnTo>
                  <a:lnTo>
                    <a:pt x="670" y="1641"/>
                  </a:lnTo>
                  <a:lnTo>
                    <a:pt x="709" y="1652"/>
                  </a:lnTo>
                  <a:lnTo>
                    <a:pt x="707" y="1642"/>
                  </a:lnTo>
                  <a:lnTo>
                    <a:pt x="709" y="1631"/>
                  </a:lnTo>
                  <a:lnTo>
                    <a:pt x="711" y="1619"/>
                  </a:lnTo>
                  <a:lnTo>
                    <a:pt x="713" y="1609"/>
                  </a:lnTo>
                  <a:lnTo>
                    <a:pt x="713" y="1601"/>
                  </a:lnTo>
                  <a:lnTo>
                    <a:pt x="711" y="1592"/>
                  </a:lnTo>
                  <a:lnTo>
                    <a:pt x="709" y="1588"/>
                  </a:lnTo>
                  <a:lnTo>
                    <a:pt x="706" y="1585"/>
                  </a:lnTo>
                  <a:lnTo>
                    <a:pt x="701" y="1582"/>
                  </a:lnTo>
                  <a:lnTo>
                    <a:pt x="696" y="1579"/>
                  </a:lnTo>
                  <a:lnTo>
                    <a:pt x="701" y="1579"/>
                  </a:lnTo>
                  <a:lnTo>
                    <a:pt x="706" y="1578"/>
                  </a:lnTo>
                  <a:lnTo>
                    <a:pt x="711" y="1578"/>
                  </a:lnTo>
                  <a:lnTo>
                    <a:pt x="717" y="1575"/>
                  </a:lnTo>
                  <a:lnTo>
                    <a:pt x="722" y="1572"/>
                  </a:lnTo>
                  <a:lnTo>
                    <a:pt x="727" y="1566"/>
                  </a:lnTo>
                  <a:lnTo>
                    <a:pt x="732" y="1560"/>
                  </a:lnTo>
                  <a:lnTo>
                    <a:pt x="735" y="1552"/>
                  </a:lnTo>
                  <a:lnTo>
                    <a:pt x="736" y="1545"/>
                  </a:lnTo>
                  <a:lnTo>
                    <a:pt x="736" y="1539"/>
                  </a:lnTo>
                  <a:lnTo>
                    <a:pt x="736" y="1535"/>
                  </a:lnTo>
                  <a:lnTo>
                    <a:pt x="735" y="1530"/>
                  </a:lnTo>
                  <a:lnTo>
                    <a:pt x="730" y="1522"/>
                  </a:lnTo>
                  <a:lnTo>
                    <a:pt x="723" y="1515"/>
                  </a:lnTo>
                  <a:lnTo>
                    <a:pt x="714" y="1510"/>
                  </a:lnTo>
                  <a:lnTo>
                    <a:pt x="704" y="1506"/>
                  </a:lnTo>
                  <a:lnTo>
                    <a:pt x="694" y="1502"/>
                  </a:lnTo>
                  <a:lnTo>
                    <a:pt x="686" y="1499"/>
                  </a:lnTo>
                  <a:close/>
                  <a:moveTo>
                    <a:pt x="311" y="1217"/>
                  </a:moveTo>
                  <a:lnTo>
                    <a:pt x="311" y="1217"/>
                  </a:lnTo>
                  <a:lnTo>
                    <a:pt x="235" y="1209"/>
                  </a:lnTo>
                  <a:lnTo>
                    <a:pt x="193" y="1293"/>
                  </a:lnTo>
                  <a:lnTo>
                    <a:pt x="216" y="1334"/>
                  </a:lnTo>
                  <a:lnTo>
                    <a:pt x="258" y="1249"/>
                  </a:lnTo>
                  <a:lnTo>
                    <a:pt x="334" y="1257"/>
                  </a:lnTo>
                  <a:lnTo>
                    <a:pt x="311" y="1217"/>
                  </a:lnTo>
                  <a:close/>
                  <a:moveTo>
                    <a:pt x="171" y="1058"/>
                  </a:moveTo>
                  <a:lnTo>
                    <a:pt x="171" y="1058"/>
                  </a:lnTo>
                  <a:lnTo>
                    <a:pt x="173" y="1039"/>
                  </a:lnTo>
                  <a:lnTo>
                    <a:pt x="174" y="1023"/>
                  </a:lnTo>
                  <a:lnTo>
                    <a:pt x="176" y="1016"/>
                  </a:lnTo>
                  <a:lnTo>
                    <a:pt x="177" y="1012"/>
                  </a:lnTo>
                  <a:lnTo>
                    <a:pt x="179" y="1008"/>
                  </a:lnTo>
                  <a:lnTo>
                    <a:pt x="182" y="1006"/>
                  </a:lnTo>
                  <a:lnTo>
                    <a:pt x="187" y="1006"/>
                  </a:lnTo>
                  <a:lnTo>
                    <a:pt x="192" y="1006"/>
                  </a:lnTo>
                  <a:lnTo>
                    <a:pt x="195" y="1009"/>
                  </a:lnTo>
                  <a:lnTo>
                    <a:pt x="199" y="1012"/>
                  </a:lnTo>
                  <a:lnTo>
                    <a:pt x="200" y="1016"/>
                  </a:lnTo>
                  <a:lnTo>
                    <a:pt x="202" y="1021"/>
                  </a:lnTo>
                  <a:lnTo>
                    <a:pt x="203" y="1028"/>
                  </a:lnTo>
                  <a:lnTo>
                    <a:pt x="202" y="1033"/>
                  </a:lnTo>
                  <a:lnTo>
                    <a:pt x="200" y="1036"/>
                  </a:lnTo>
                  <a:lnTo>
                    <a:pt x="197" y="1039"/>
                  </a:lnTo>
                  <a:lnTo>
                    <a:pt x="193" y="1041"/>
                  </a:lnTo>
                  <a:lnTo>
                    <a:pt x="187" y="1044"/>
                  </a:lnTo>
                  <a:lnTo>
                    <a:pt x="193" y="1066"/>
                  </a:lnTo>
                  <a:lnTo>
                    <a:pt x="196" y="1079"/>
                  </a:lnTo>
                  <a:lnTo>
                    <a:pt x="199" y="1079"/>
                  </a:lnTo>
                  <a:lnTo>
                    <a:pt x="207" y="1077"/>
                  </a:lnTo>
                  <a:lnTo>
                    <a:pt x="212" y="1075"/>
                  </a:lnTo>
                  <a:lnTo>
                    <a:pt x="216" y="1072"/>
                  </a:lnTo>
                  <a:lnTo>
                    <a:pt x="220" y="1068"/>
                  </a:lnTo>
                  <a:lnTo>
                    <a:pt x="223" y="1064"/>
                  </a:lnTo>
                  <a:lnTo>
                    <a:pt x="228" y="1054"/>
                  </a:lnTo>
                  <a:lnTo>
                    <a:pt x="231" y="1044"/>
                  </a:lnTo>
                  <a:lnTo>
                    <a:pt x="231" y="1033"/>
                  </a:lnTo>
                  <a:lnTo>
                    <a:pt x="229" y="1022"/>
                  </a:lnTo>
                  <a:lnTo>
                    <a:pt x="226" y="1012"/>
                  </a:lnTo>
                  <a:lnTo>
                    <a:pt x="223" y="1003"/>
                  </a:lnTo>
                  <a:lnTo>
                    <a:pt x="220" y="995"/>
                  </a:lnTo>
                  <a:lnTo>
                    <a:pt x="216" y="987"/>
                  </a:lnTo>
                  <a:lnTo>
                    <a:pt x="212" y="982"/>
                  </a:lnTo>
                  <a:lnTo>
                    <a:pt x="207" y="977"/>
                  </a:lnTo>
                  <a:lnTo>
                    <a:pt x="200" y="972"/>
                  </a:lnTo>
                  <a:lnTo>
                    <a:pt x="193" y="969"/>
                  </a:lnTo>
                  <a:lnTo>
                    <a:pt x="186" y="967"/>
                  </a:lnTo>
                  <a:lnTo>
                    <a:pt x="179" y="966"/>
                  </a:lnTo>
                  <a:lnTo>
                    <a:pt x="170" y="967"/>
                  </a:lnTo>
                  <a:lnTo>
                    <a:pt x="163" y="970"/>
                  </a:lnTo>
                  <a:lnTo>
                    <a:pt x="157" y="975"/>
                  </a:lnTo>
                  <a:lnTo>
                    <a:pt x="153" y="977"/>
                  </a:lnTo>
                  <a:lnTo>
                    <a:pt x="148" y="982"/>
                  </a:lnTo>
                  <a:lnTo>
                    <a:pt x="146" y="986"/>
                  </a:lnTo>
                  <a:lnTo>
                    <a:pt x="143" y="996"/>
                  </a:lnTo>
                  <a:lnTo>
                    <a:pt x="141" y="1006"/>
                  </a:lnTo>
                  <a:lnTo>
                    <a:pt x="140" y="1029"/>
                  </a:lnTo>
                  <a:lnTo>
                    <a:pt x="138" y="1051"/>
                  </a:lnTo>
                  <a:lnTo>
                    <a:pt x="135" y="1054"/>
                  </a:lnTo>
                  <a:lnTo>
                    <a:pt x="133" y="1056"/>
                  </a:lnTo>
                  <a:lnTo>
                    <a:pt x="128" y="1059"/>
                  </a:lnTo>
                  <a:lnTo>
                    <a:pt x="124" y="1058"/>
                  </a:lnTo>
                  <a:lnTo>
                    <a:pt x="120" y="1056"/>
                  </a:lnTo>
                  <a:lnTo>
                    <a:pt x="115" y="1054"/>
                  </a:lnTo>
                  <a:lnTo>
                    <a:pt x="112" y="1049"/>
                  </a:lnTo>
                  <a:lnTo>
                    <a:pt x="111" y="1045"/>
                  </a:lnTo>
                  <a:lnTo>
                    <a:pt x="110" y="1038"/>
                  </a:lnTo>
                  <a:lnTo>
                    <a:pt x="110" y="1029"/>
                  </a:lnTo>
                  <a:lnTo>
                    <a:pt x="110" y="1026"/>
                  </a:lnTo>
                  <a:lnTo>
                    <a:pt x="111" y="1022"/>
                  </a:lnTo>
                  <a:lnTo>
                    <a:pt x="114" y="1019"/>
                  </a:lnTo>
                  <a:lnTo>
                    <a:pt x="117" y="1018"/>
                  </a:lnTo>
                  <a:lnTo>
                    <a:pt x="124" y="1013"/>
                  </a:lnTo>
                  <a:lnTo>
                    <a:pt x="127" y="1012"/>
                  </a:lnTo>
                  <a:lnTo>
                    <a:pt x="118" y="977"/>
                  </a:lnTo>
                  <a:lnTo>
                    <a:pt x="108" y="979"/>
                  </a:lnTo>
                  <a:lnTo>
                    <a:pt x="98" y="985"/>
                  </a:lnTo>
                  <a:lnTo>
                    <a:pt x="94" y="987"/>
                  </a:lnTo>
                  <a:lnTo>
                    <a:pt x="91" y="990"/>
                  </a:lnTo>
                  <a:lnTo>
                    <a:pt x="88" y="995"/>
                  </a:lnTo>
                  <a:lnTo>
                    <a:pt x="85" y="1000"/>
                  </a:lnTo>
                  <a:lnTo>
                    <a:pt x="82" y="1012"/>
                  </a:lnTo>
                  <a:lnTo>
                    <a:pt x="81" y="1022"/>
                  </a:lnTo>
                  <a:lnTo>
                    <a:pt x="81" y="1033"/>
                  </a:lnTo>
                  <a:lnTo>
                    <a:pt x="82" y="1045"/>
                  </a:lnTo>
                  <a:lnTo>
                    <a:pt x="85" y="1055"/>
                  </a:lnTo>
                  <a:lnTo>
                    <a:pt x="88" y="1065"/>
                  </a:lnTo>
                  <a:lnTo>
                    <a:pt x="94" y="1074"/>
                  </a:lnTo>
                  <a:lnTo>
                    <a:pt x="101" y="1082"/>
                  </a:lnTo>
                  <a:lnTo>
                    <a:pt x="107" y="1088"/>
                  </a:lnTo>
                  <a:lnTo>
                    <a:pt x="114" y="1092"/>
                  </a:lnTo>
                  <a:lnTo>
                    <a:pt x="121" y="1095"/>
                  </a:lnTo>
                  <a:lnTo>
                    <a:pt x="127" y="1097"/>
                  </a:lnTo>
                  <a:lnTo>
                    <a:pt x="134" y="1098"/>
                  </a:lnTo>
                  <a:lnTo>
                    <a:pt x="140" y="1097"/>
                  </a:lnTo>
                  <a:lnTo>
                    <a:pt x="147" y="1095"/>
                  </a:lnTo>
                  <a:lnTo>
                    <a:pt x="153" y="1092"/>
                  </a:lnTo>
                  <a:lnTo>
                    <a:pt x="157" y="1089"/>
                  </a:lnTo>
                  <a:lnTo>
                    <a:pt x="161" y="1085"/>
                  </a:lnTo>
                  <a:lnTo>
                    <a:pt x="164" y="1081"/>
                  </a:lnTo>
                  <a:lnTo>
                    <a:pt x="167" y="1075"/>
                  </a:lnTo>
                  <a:lnTo>
                    <a:pt x="171" y="1065"/>
                  </a:lnTo>
                  <a:lnTo>
                    <a:pt x="171" y="1058"/>
                  </a:lnTo>
                  <a:close/>
                  <a:moveTo>
                    <a:pt x="268" y="1144"/>
                  </a:moveTo>
                  <a:lnTo>
                    <a:pt x="268" y="1144"/>
                  </a:lnTo>
                  <a:lnTo>
                    <a:pt x="146" y="1214"/>
                  </a:lnTo>
                  <a:lnTo>
                    <a:pt x="166" y="1249"/>
                  </a:lnTo>
                  <a:lnTo>
                    <a:pt x="288" y="1178"/>
                  </a:lnTo>
                  <a:lnTo>
                    <a:pt x="268" y="1144"/>
                  </a:lnTo>
                  <a:close/>
                  <a:moveTo>
                    <a:pt x="423" y="1336"/>
                  </a:moveTo>
                  <a:lnTo>
                    <a:pt x="423" y="1336"/>
                  </a:lnTo>
                  <a:lnTo>
                    <a:pt x="448" y="1359"/>
                  </a:lnTo>
                  <a:lnTo>
                    <a:pt x="480" y="1358"/>
                  </a:lnTo>
                  <a:lnTo>
                    <a:pt x="457" y="1335"/>
                  </a:lnTo>
                  <a:lnTo>
                    <a:pt x="423" y="1336"/>
                  </a:lnTo>
                  <a:close/>
                  <a:moveTo>
                    <a:pt x="1521" y="986"/>
                  </a:moveTo>
                  <a:lnTo>
                    <a:pt x="1521" y="986"/>
                  </a:lnTo>
                  <a:lnTo>
                    <a:pt x="1660" y="1005"/>
                  </a:lnTo>
                  <a:lnTo>
                    <a:pt x="1666" y="965"/>
                  </a:lnTo>
                  <a:lnTo>
                    <a:pt x="1527" y="947"/>
                  </a:lnTo>
                  <a:lnTo>
                    <a:pt x="1521" y="986"/>
                  </a:lnTo>
                  <a:close/>
                  <a:moveTo>
                    <a:pt x="1459" y="1454"/>
                  </a:moveTo>
                  <a:lnTo>
                    <a:pt x="1459" y="1454"/>
                  </a:lnTo>
                  <a:lnTo>
                    <a:pt x="1430" y="1481"/>
                  </a:lnTo>
                  <a:lnTo>
                    <a:pt x="1400" y="1509"/>
                  </a:lnTo>
                  <a:lnTo>
                    <a:pt x="1368" y="1533"/>
                  </a:lnTo>
                  <a:lnTo>
                    <a:pt x="1335" y="1556"/>
                  </a:lnTo>
                  <a:lnTo>
                    <a:pt x="1300" y="1578"/>
                  </a:lnTo>
                  <a:lnTo>
                    <a:pt x="1266" y="1598"/>
                  </a:lnTo>
                  <a:lnTo>
                    <a:pt x="1230" y="1616"/>
                  </a:lnTo>
                  <a:lnTo>
                    <a:pt x="1192" y="1634"/>
                  </a:lnTo>
                  <a:lnTo>
                    <a:pt x="1155" y="1648"/>
                  </a:lnTo>
                  <a:lnTo>
                    <a:pt x="1116" y="1661"/>
                  </a:lnTo>
                  <a:lnTo>
                    <a:pt x="1076" y="1672"/>
                  </a:lnTo>
                  <a:lnTo>
                    <a:pt x="1035" y="1681"/>
                  </a:lnTo>
                  <a:lnTo>
                    <a:pt x="995" y="1690"/>
                  </a:lnTo>
                  <a:lnTo>
                    <a:pt x="952" y="1694"/>
                  </a:lnTo>
                  <a:lnTo>
                    <a:pt x="910" y="1698"/>
                  </a:lnTo>
                  <a:lnTo>
                    <a:pt x="867" y="1698"/>
                  </a:lnTo>
                  <a:lnTo>
                    <a:pt x="824" y="1698"/>
                  </a:lnTo>
                  <a:lnTo>
                    <a:pt x="782" y="1694"/>
                  </a:lnTo>
                  <a:lnTo>
                    <a:pt x="739" y="1690"/>
                  </a:lnTo>
                  <a:lnTo>
                    <a:pt x="699" y="1681"/>
                  </a:lnTo>
                  <a:lnTo>
                    <a:pt x="658" y="1672"/>
                  </a:lnTo>
                  <a:lnTo>
                    <a:pt x="618" y="1661"/>
                  </a:lnTo>
                  <a:lnTo>
                    <a:pt x="579" y="1648"/>
                  </a:lnTo>
                  <a:lnTo>
                    <a:pt x="542" y="1634"/>
                  </a:lnTo>
                  <a:lnTo>
                    <a:pt x="504" y="1616"/>
                  </a:lnTo>
                  <a:lnTo>
                    <a:pt x="468" y="1598"/>
                  </a:lnTo>
                  <a:lnTo>
                    <a:pt x="434" y="1578"/>
                  </a:lnTo>
                  <a:lnTo>
                    <a:pt x="399" y="1556"/>
                  </a:lnTo>
                  <a:lnTo>
                    <a:pt x="366" y="1533"/>
                  </a:lnTo>
                  <a:lnTo>
                    <a:pt x="334" y="1509"/>
                  </a:lnTo>
                  <a:lnTo>
                    <a:pt x="304" y="1481"/>
                  </a:lnTo>
                  <a:lnTo>
                    <a:pt x="275" y="1454"/>
                  </a:lnTo>
                  <a:lnTo>
                    <a:pt x="248" y="1425"/>
                  </a:lnTo>
                  <a:lnTo>
                    <a:pt x="220" y="1395"/>
                  </a:lnTo>
                  <a:lnTo>
                    <a:pt x="196" y="1364"/>
                  </a:lnTo>
                  <a:lnTo>
                    <a:pt x="173" y="1331"/>
                  </a:lnTo>
                  <a:lnTo>
                    <a:pt x="151" y="1296"/>
                  </a:lnTo>
                  <a:lnTo>
                    <a:pt x="131" y="1262"/>
                  </a:lnTo>
                  <a:lnTo>
                    <a:pt x="112" y="1226"/>
                  </a:lnTo>
                  <a:lnTo>
                    <a:pt x="95" y="1189"/>
                  </a:lnTo>
                  <a:lnTo>
                    <a:pt x="81" y="1151"/>
                  </a:lnTo>
                  <a:lnTo>
                    <a:pt x="68" y="1112"/>
                  </a:lnTo>
                  <a:lnTo>
                    <a:pt x="56" y="1072"/>
                  </a:lnTo>
                  <a:lnTo>
                    <a:pt x="46" y="1032"/>
                  </a:lnTo>
                  <a:lnTo>
                    <a:pt x="39" y="990"/>
                  </a:lnTo>
                  <a:lnTo>
                    <a:pt x="35" y="949"/>
                  </a:lnTo>
                  <a:lnTo>
                    <a:pt x="30" y="907"/>
                  </a:lnTo>
                  <a:lnTo>
                    <a:pt x="30" y="864"/>
                  </a:lnTo>
                  <a:lnTo>
                    <a:pt x="30" y="821"/>
                  </a:lnTo>
                  <a:lnTo>
                    <a:pt x="35" y="779"/>
                  </a:lnTo>
                  <a:lnTo>
                    <a:pt x="39" y="736"/>
                  </a:lnTo>
                  <a:lnTo>
                    <a:pt x="46" y="696"/>
                  </a:lnTo>
                  <a:lnTo>
                    <a:pt x="56" y="656"/>
                  </a:lnTo>
                  <a:lnTo>
                    <a:pt x="68" y="616"/>
                  </a:lnTo>
                  <a:lnTo>
                    <a:pt x="81" y="577"/>
                  </a:lnTo>
                  <a:lnTo>
                    <a:pt x="95" y="539"/>
                  </a:lnTo>
                  <a:lnTo>
                    <a:pt x="112" y="502"/>
                  </a:lnTo>
                  <a:lnTo>
                    <a:pt x="131" y="466"/>
                  </a:lnTo>
                  <a:lnTo>
                    <a:pt x="151" y="432"/>
                  </a:lnTo>
                  <a:lnTo>
                    <a:pt x="173" y="397"/>
                  </a:lnTo>
                  <a:lnTo>
                    <a:pt x="196" y="364"/>
                  </a:lnTo>
                  <a:lnTo>
                    <a:pt x="220" y="333"/>
                  </a:lnTo>
                  <a:lnTo>
                    <a:pt x="248" y="303"/>
                  </a:lnTo>
                  <a:lnTo>
                    <a:pt x="275" y="274"/>
                  </a:lnTo>
                  <a:lnTo>
                    <a:pt x="304" y="247"/>
                  </a:lnTo>
                  <a:lnTo>
                    <a:pt x="334" y="219"/>
                  </a:lnTo>
                  <a:lnTo>
                    <a:pt x="366" y="195"/>
                  </a:lnTo>
                  <a:lnTo>
                    <a:pt x="399" y="172"/>
                  </a:lnTo>
                  <a:lnTo>
                    <a:pt x="434" y="150"/>
                  </a:lnTo>
                  <a:lnTo>
                    <a:pt x="468" y="130"/>
                  </a:lnTo>
                  <a:lnTo>
                    <a:pt x="504" y="112"/>
                  </a:lnTo>
                  <a:lnTo>
                    <a:pt x="542" y="94"/>
                  </a:lnTo>
                  <a:lnTo>
                    <a:pt x="579" y="80"/>
                  </a:lnTo>
                  <a:lnTo>
                    <a:pt x="618" y="67"/>
                  </a:lnTo>
                  <a:lnTo>
                    <a:pt x="658" y="56"/>
                  </a:lnTo>
                  <a:lnTo>
                    <a:pt x="699" y="45"/>
                  </a:lnTo>
                  <a:lnTo>
                    <a:pt x="739" y="38"/>
                  </a:lnTo>
                  <a:lnTo>
                    <a:pt x="782" y="34"/>
                  </a:lnTo>
                  <a:lnTo>
                    <a:pt x="824" y="30"/>
                  </a:lnTo>
                  <a:lnTo>
                    <a:pt x="867" y="30"/>
                  </a:lnTo>
                  <a:lnTo>
                    <a:pt x="910" y="30"/>
                  </a:lnTo>
                  <a:lnTo>
                    <a:pt x="952" y="34"/>
                  </a:lnTo>
                  <a:lnTo>
                    <a:pt x="995" y="38"/>
                  </a:lnTo>
                  <a:lnTo>
                    <a:pt x="1035" y="45"/>
                  </a:lnTo>
                  <a:lnTo>
                    <a:pt x="1076" y="56"/>
                  </a:lnTo>
                  <a:lnTo>
                    <a:pt x="1116" y="67"/>
                  </a:lnTo>
                  <a:lnTo>
                    <a:pt x="1155" y="80"/>
                  </a:lnTo>
                  <a:lnTo>
                    <a:pt x="1192" y="94"/>
                  </a:lnTo>
                  <a:lnTo>
                    <a:pt x="1230" y="112"/>
                  </a:lnTo>
                  <a:lnTo>
                    <a:pt x="1266" y="130"/>
                  </a:lnTo>
                  <a:lnTo>
                    <a:pt x="1300" y="150"/>
                  </a:lnTo>
                  <a:lnTo>
                    <a:pt x="1335" y="172"/>
                  </a:lnTo>
                  <a:lnTo>
                    <a:pt x="1368" y="195"/>
                  </a:lnTo>
                  <a:lnTo>
                    <a:pt x="1400" y="219"/>
                  </a:lnTo>
                  <a:lnTo>
                    <a:pt x="1430" y="247"/>
                  </a:lnTo>
                  <a:lnTo>
                    <a:pt x="1459" y="274"/>
                  </a:lnTo>
                  <a:lnTo>
                    <a:pt x="1486" y="303"/>
                  </a:lnTo>
                  <a:lnTo>
                    <a:pt x="1514" y="333"/>
                  </a:lnTo>
                  <a:lnTo>
                    <a:pt x="1538" y="364"/>
                  </a:lnTo>
                  <a:lnTo>
                    <a:pt x="1561" y="397"/>
                  </a:lnTo>
                  <a:lnTo>
                    <a:pt x="1583" y="432"/>
                  </a:lnTo>
                  <a:lnTo>
                    <a:pt x="1603" y="466"/>
                  </a:lnTo>
                  <a:lnTo>
                    <a:pt x="1622" y="502"/>
                  </a:lnTo>
                  <a:lnTo>
                    <a:pt x="1639" y="539"/>
                  </a:lnTo>
                  <a:lnTo>
                    <a:pt x="1653" y="577"/>
                  </a:lnTo>
                  <a:lnTo>
                    <a:pt x="1666" y="616"/>
                  </a:lnTo>
                  <a:lnTo>
                    <a:pt x="1678" y="656"/>
                  </a:lnTo>
                  <a:lnTo>
                    <a:pt x="1686" y="696"/>
                  </a:lnTo>
                  <a:lnTo>
                    <a:pt x="1695" y="736"/>
                  </a:lnTo>
                  <a:lnTo>
                    <a:pt x="1699" y="779"/>
                  </a:lnTo>
                  <a:lnTo>
                    <a:pt x="1704" y="821"/>
                  </a:lnTo>
                  <a:lnTo>
                    <a:pt x="1704" y="864"/>
                  </a:lnTo>
                  <a:lnTo>
                    <a:pt x="1704" y="907"/>
                  </a:lnTo>
                  <a:lnTo>
                    <a:pt x="1699" y="949"/>
                  </a:lnTo>
                  <a:lnTo>
                    <a:pt x="1695" y="990"/>
                  </a:lnTo>
                  <a:lnTo>
                    <a:pt x="1686" y="1032"/>
                  </a:lnTo>
                  <a:lnTo>
                    <a:pt x="1678" y="1072"/>
                  </a:lnTo>
                  <a:lnTo>
                    <a:pt x="1666" y="1112"/>
                  </a:lnTo>
                  <a:lnTo>
                    <a:pt x="1653" y="1151"/>
                  </a:lnTo>
                  <a:lnTo>
                    <a:pt x="1639" y="1189"/>
                  </a:lnTo>
                  <a:lnTo>
                    <a:pt x="1622" y="1226"/>
                  </a:lnTo>
                  <a:lnTo>
                    <a:pt x="1603" y="1262"/>
                  </a:lnTo>
                  <a:lnTo>
                    <a:pt x="1583" y="1296"/>
                  </a:lnTo>
                  <a:lnTo>
                    <a:pt x="1561" y="1331"/>
                  </a:lnTo>
                  <a:lnTo>
                    <a:pt x="1538" y="1364"/>
                  </a:lnTo>
                  <a:lnTo>
                    <a:pt x="1514" y="1395"/>
                  </a:lnTo>
                  <a:lnTo>
                    <a:pt x="1486" y="1425"/>
                  </a:lnTo>
                  <a:lnTo>
                    <a:pt x="1459" y="1454"/>
                  </a:lnTo>
                  <a:close/>
                  <a:moveTo>
                    <a:pt x="867" y="0"/>
                  </a:moveTo>
                  <a:lnTo>
                    <a:pt x="867" y="0"/>
                  </a:lnTo>
                  <a:lnTo>
                    <a:pt x="822" y="1"/>
                  </a:lnTo>
                  <a:lnTo>
                    <a:pt x="778" y="4"/>
                  </a:lnTo>
                  <a:lnTo>
                    <a:pt x="735" y="10"/>
                  </a:lnTo>
                  <a:lnTo>
                    <a:pt x="693" y="17"/>
                  </a:lnTo>
                  <a:lnTo>
                    <a:pt x="651" y="27"/>
                  </a:lnTo>
                  <a:lnTo>
                    <a:pt x="609" y="38"/>
                  </a:lnTo>
                  <a:lnTo>
                    <a:pt x="569" y="51"/>
                  </a:lnTo>
                  <a:lnTo>
                    <a:pt x="530" y="67"/>
                  </a:lnTo>
                  <a:lnTo>
                    <a:pt x="491" y="84"/>
                  </a:lnTo>
                  <a:lnTo>
                    <a:pt x="454" y="104"/>
                  </a:lnTo>
                  <a:lnTo>
                    <a:pt x="418" y="124"/>
                  </a:lnTo>
                  <a:lnTo>
                    <a:pt x="382" y="147"/>
                  </a:lnTo>
                  <a:lnTo>
                    <a:pt x="349" y="172"/>
                  </a:lnTo>
                  <a:lnTo>
                    <a:pt x="315" y="196"/>
                  </a:lnTo>
                  <a:lnTo>
                    <a:pt x="284" y="224"/>
                  </a:lnTo>
                  <a:lnTo>
                    <a:pt x="254" y="252"/>
                  </a:lnTo>
                  <a:lnTo>
                    <a:pt x="225" y="282"/>
                  </a:lnTo>
                  <a:lnTo>
                    <a:pt x="197" y="314"/>
                  </a:lnTo>
                  <a:lnTo>
                    <a:pt x="173" y="347"/>
                  </a:lnTo>
                  <a:lnTo>
                    <a:pt x="148" y="380"/>
                  </a:lnTo>
                  <a:lnTo>
                    <a:pt x="125" y="416"/>
                  </a:lnTo>
                  <a:lnTo>
                    <a:pt x="105" y="452"/>
                  </a:lnTo>
                  <a:lnTo>
                    <a:pt x="85" y="489"/>
                  </a:lnTo>
                  <a:lnTo>
                    <a:pt x="68" y="528"/>
                  </a:lnTo>
                  <a:lnTo>
                    <a:pt x="52" y="567"/>
                  </a:lnTo>
                  <a:lnTo>
                    <a:pt x="39" y="607"/>
                  </a:lnTo>
                  <a:lnTo>
                    <a:pt x="27" y="647"/>
                  </a:lnTo>
                  <a:lnTo>
                    <a:pt x="17" y="690"/>
                  </a:lnTo>
                  <a:lnTo>
                    <a:pt x="10" y="732"/>
                  </a:lnTo>
                  <a:lnTo>
                    <a:pt x="4" y="775"/>
                  </a:lnTo>
                  <a:lnTo>
                    <a:pt x="2" y="819"/>
                  </a:lnTo>
                  <a:lnTo>
                    <a:pt x="0" y="864"/>
                  </a:lnTo>
                  <a:lnTo>
                    <a:pt x="2" y="909"/>
                  </a:lnTo>
                  <a:lnTo>
                    <a:pt x="4" y="953"/>
                  </a:lnTo>
                  <a:lnTo>
                    <a:pt x="10" y="996"/>
                  </a:lnTo>
                  <a:lnTo>
                    <a:pt x="17" y="1038"/>
                  </a:lnTo>
                  <a:lnTo>
                    <a:pt x="27" y="1079"/>
                  </a:lnTo>
                  <a:lnTo>
                    <a:pt x="39" y="1121"/>
                  </a:lnTo>
                  <a:lnTo>
                    <a:pt x="52" y="1161"/>
                  </a:lnTo>
                  <a:lnTo>
                    <a:pt x="68" y="1200"/>
                  </a:lnTo>
                  <a:lnTo>
                    <a:pt x="85" y="1239"/>
                  </a:lnTo>
                  <a:lnTo>
                    <a:pt x="105" y="1276"/>
                  </a:lnTo>
                  <a:lnTo>
                    <a:pt x="125" y="1312"/>
                  </a:lnTo>
                  <a:lnTo>
                    <a:pt x="148" y="1348"/>
                  </a:lnTo>
                  <a:lnTo>
                    <a:pt x="173" y="1381"/>
                  </a:lnTo>
                  <a:lnTo>
                    <a:pt x="197" y="1414"/>
                  </a:lnTo>
                  <a:lnTo>
                    <a:pt x="225" y="1446"/>
                  </a:lnTo>
                  <a:lnTo>
                    <a:pt x="254" y="1476"/>
                  </a:lnTo>
                  <a:lnTo>
                    <a:pt x="284" y="1504"/>
                  </a:lnTo>
                  <a:lnTo>
                    <a:pt x="315" y="1532"/>
                  </a:lnTo>
                  <a:lnTo>
                    <a:pt x="349" y="1556"/>
                  </a:lnTo>
                  <a:lnTo>
                    <a:pt x="382" y="1581"/>
                  </a:lnTo>
                  <a:lnTo>
                    <a:pt x="418" y="1604"/>
                  </a:lnTo>
                  <a:lnTo>
                    <a:pt x="454" y="1624"/>
                  </a:lnTo>
                  <a:lnTo>
                    <a:pt x="491" y="1644"/>
                  </a:lnTo>
                  <a:lnTo>
                    <a:pt x="530" y="1661"/>
                  </a:lnTo>
                  <a:lnTo>
                    <a:pt x="569" y="1675"/>
                  </a:lnTo>
                  <a:lnTo>
                    <a:pt x="609" y="1690"/>
                  </a:lnTo>
                  <a:lnTo>
                    <a:pt x="651" y="1701"/>
                  </a:lnTo>
                  <a:lnTo>
                    <a:pt x="693" y="1711"/>
                  </a:lnTo>
                  <a:lnTo>
                    <a:pt x="735" y="1718"/>
                  </a:lnTo>
                  <a:lnTo>
                    <a:pt x="778" y="1724"/>
                  </a:lnTo>
                  <a:lnTo>
                    <a:pt x="822" y="1727"/>
                  </a:lnTo>
                  <a:lnTo>
                    <a:pt x="867" y="1728"/>
                  </a:lnTo>
                  <a:lnTo>
                    <a:pt x="912" y="1727"/>
                  </a:lnTo>
                  <a:lnTo>
                    <a:pt x="956" y="1724"/>
                  </a:lnTo>
                  <a:lnTo>
                    <a:pt x="999" y="1718"/>
                  </a:lnTo>
                  <a:lnTo>
                    <a:pt x="1041" y="1711"/>
                  </a:lnTo>
                  <a:lnTo>
                    <a:pt x="1083" y="1701"/>
                  </a:lnTo>
                  <a:lnTo>
                    <a:pt x="1125" y="1690"/>
                  </a:lnTo>
                  <a:lnTo>
                    <a:pt x="1165" y="1675"/>
                  </a:lnTo>
                  <a:lnTo>
                    <a:pt x="1204" y="1661"/>
                  </a:lnTo>
                  <a:lnTo>
                    <a:pt x="1243" y="1644"/>
                  </a:lnTo>
                  <a:lnTo>
                    <a:pt x="1280" y="1624"/>
                  </a:lnTo>
                  <a:lnTo>
                    <a:pt x="1316" y="1604"/>
                  </a:lnTo>
                  <a:lnTo>
                    <a:pt x="1352" y="1581"/>
                  </a:lnTo>
                  <a:lnTo>
                    <a:pt x="1385" y="1556"/>
                  </a:lnTo>
                  <a:lnTo>
                    <a:pt x="1419" y="1532"/>
                  </a:lnTo>
                  <a:lnTo>
                    <a:pt x="1450" y="1504"/>
                  </a:lnTo>
                  <a:lnTo>
                    <a:pt x="1480" y="1476"/>
                  </a:lnTo>
                  <a:lnTo>
                    <a:pt x="1509" y="1446"/>
                  </a:lnTo>
                  <a:lnTo>
                    <a:pt x="1537" y="1414"/>
                  </a:lnTo>
                  <a:lnTo>
                    <a:pt x="1561" y="1381"/>
                  </a:lnTo>
                  <a:lnTo>
                    <a:pt x="1586" y="1348"/>
                  </a:lnTo>
                  <a:lnTo>
                    <a:pt x="1609" y="1312"/>
                  </a:lnTo>
                  <a:lnTo>
                    <a:pt x="1629" y="1276"/>
                  </a:lnTo>
                  <a:lnTo>
                    <a:pt x="1649" y="1239"/>
                  </a:lnTo>
                  <a:lnTo>
                    <a:pt x="1666" y="1200"/>
                  </a:lnTo>
                  <a:lnTo>
                    <a:pt x="1681" y="1161"/>
                  </a:lnTo>
                  <a:lnTo>
                    <a:pt x="1695" y="1121"/>
                  </a:lnTo>
                  <a:lnTo>
                    <a:pt x="1707" y="1079"/>
                  </a:lnTo>
                  <a:lnTo>
                    <a:pt x="1717" y="1038"/>
                  </a:lnTo>
                  <a:lnTo>
                    <a:pt x="1724" y="996"/>
                  </a:lnTo>
                  <a:lnTo>
                    <a:pt x="1730" y="953"/>
                  </a:lnTo>
                  <a:lnTo>
                    <a:pt x="1732" y="909"/>
                  </a:lnTo>
                  <a:lnTo>
                    <a:pt x="1734" y="864"/>
                  </a:lnTo>
                  <a:lnTo>
                    <a:pt x="1732" y="819"/>
                  </a:lnTo>
                  <a:lnTo>
                    <a:pt x="1730" y="775"/>
                  </a:lnTo>
                  <a:lnTo>
                    <a:pt x="1724" y="732"/>
                  </a:lnTo>
                  <a:lnTo>
                    <a:pt x="1717" y="690"/>
                  </a:lnTo>
                  <a:lnTo>
                    <a:pt x="1707" y="647"/>
                  </a:lnTo>
                  <a:lnTo>
                    <a:pt x="1695" y="607"/>
                  </a:lnTo>
                  <a:lnTo>
                    <a:pt x="1681" y="567"/>
                  </a:lnTo>
                  <a:lnTo>
                    <a:pt x="1666" y="528"/>
                  </a:lnTo>
                  <a:lnTo>
                    <a:pt x="1649" y="489"/>
                  </a:lnTo>
                  <a:lnTo>
                    <a:pt x="1629" y="452"/>
                  </a:lnTo>
                  <a:lnTo>
                    <a:pt x="1609" y="416"/>
                  </a:lnTo>
                  <a:lnTo>
                    <a:pt x="1586" y="380"/>
                  </a:lnTo>
                  <a:lnTo>
                    <a:pt x="1561" y="347"/>
                  </a:lnTo>
                  <a:lnTo>
                    <a:pt x="1537" y="314"/>
                  </a:lnTo>
                  <a:lnTo>
                    <a:pt x="1509" y="282"/>
                  </a:lnTo>
                  <a:lnTo>
                    <a:pt x="1480" y="252"/>
                  </a:lnTo>
                  <a:lnTo>
                    <a:pt x="1450" y="224"/>
                  </a:lnTo>
                  <a:lnTo>
                    <a:pt x="1419" y="196"/>
                  </a:lnTo>
                  <a:lnTo>
                    <a:pt x="1385" y="172"/>
                  </a:lnTo>
                  <a:lnTo>
                    <a:pt x="1352" y="147"/>
                  </a:lnTo>
                  <a:lnTo>
                    <a:pt x="1316" y="124"/>
                  </a:lnTo>
                  <a:lnTo>
                    <a:pt x="1280" y="104"/>
                  </a:lnTo>
                  <a:lnTo>
                    <a:pt x="1243" y="84"/>
                  </a:lnTo>
                  <a:lnTo>
                    <a:pt x="1204" y="67"/>
                  </a:lnTo>
                  <a:lnTo>
                    <a:pt x="1165" y="51"/>
                  </a:lnTo>
                  <a:lnTo>
                    <a:pt x="1125" y="38"/>
                  </a:lnTo>
                  <a:lnTo>
                    <a:pt x="1083" y="27"/>
                  </a:lnTo>
                  <a:lnTo>
                    <a:pt x="1041" y="17"/>
                  </a:lnTo>
                  <a:lnTo>
                    <a:pt x="999" y="10"/>
                  </a:lnTo>
                  <a:lnTo>
                    <a:pt x="956" y="4"/>
                  </a:lnTo>
                  <a:lnTo>
                    <a:pt x="912" y="1"/>
                  </a:lnTo>
                  <a:lnTo>
                    <a:pt x="867" y="0"/>
                  </a:lnTo>
                  <a:close/>
                  <a:moveTo>
                    <a:pt x="1594" y="1137"/>
                  </a:moveTo>
                  <a:lnTo>
                    <a:pt x="1594" y="1137"/>
                  </a:lnTo>
                  <a:lnTo>
                    <a:pt x="1488" y="1097"/>
                  </a:lnTo>
                  <a:lnTo>
                    <a:pt x="1473" y="1134"/>
                  </a:lnTo>
                  <a:lnTo>
                    <a:pt x="1604" y="1184"/>
                  </a:lnTo>
                  <a:lnTo>
                    <a:pt x="1640" y="1091"/>
                  </a:lnTo>
                  <a:lnTo>
                    <a:pt x="1614" y="1082"/>
                  </a:lnTo>
                  <a:lnTo>
                    <a:pt x="1594" y="1137"/>
                  </a:lnTo>
                  <a:close/>
                  <a:moveTo>
                    <a:pt x="1306" y="1364"/>
                  </a:moveTo>
                  <a:lnTo>
                    <a:pt x="1306" y="1364"/>
                  </a:lnTo>
                  <a:lnTo>
                    <a:pt x="1275" y="1387"/>
                  </a:lnTo>
                  <a:lnTo>
                    <a:pt x="1282" y="1398"/>
                  </a:lnTo>
                  <a:lnTo>
                    <a:pt x="1299" y="1423"/>
                  </a:lnTo>
                  <a:lnTo>
                    <a:pt x="1318" y="1448"/>
                  </a:lnTo>
                  <a:lnTo>
                    <a:pt x="1328" y="1461"/>
                  </a:lnTo>
                  <a:lnTo>
                    <a:pt x="1331" y="1466"/>
                  </a:lnTo>
                  <a:lnTo>
                    <a:pt x="1331" y="1470"/>
                  </a:lnTo>
                  <a:lnTo>
                    <a:pt x="1331" y="1474"/>
                  </a:lnTo>
                  <a:lnTo>
                    <a:pt x="1331" y="1480"/>
                  </a:lnTo>
                  <a:lnTo>
                    <a:pt x="1328" y="1484"/>
                  </a:lnTo>
                  <a:lnTo>
                    <a:pt x="1326" y="1487"/>
                  </a:lnTo>
                  <a:lnTo>
                    <a:pt x="1323" y="1492"/>
                  </a:lnTo>
                  <a:lnTo>
                    <a:pt x="1319" y="1494"/>
                  </a:lnTo>
                  <a:lnTo>
                    <a:pt x="1315" y="1497"/>
                  </a:lnTo>
                  <a:lnTo>
                    <a:pt x="1311" y="1499"/>
                  </a:lnTo>
                  <a:lnTo>
                    <a:pt x="1306" y="1500"/>
                  </a:lnTo>
                  <a:lnTo>
                    <a:pt x="1302" y="1500"/>
                  </a:lnTo>
                  <a:lnTo>
                    <a:pt x="1298" y="1499"/>
                  </a:lnTo>
                  <a:lnTo>
                    <a:pt x="1293" y="1497"/>
                  </a:lnTo>
                  <a:lnTo>
                    <a:pt x="1289" y="1496"/>
                  </a:lnTo>
                  <a:lnTo>
                    <a:pt x="1286" y="1492"/>
                  </a:lnTo>
                  <a:lnTo>
                    <a:pt x="1276" y="1479"/>
                  </a:lnTo>
                  <a:lnTo>
                    <a:pt x="1257" y="1453"/>
                  </a:lnTo>
                  <a:lnTo>
                    <a:pt x="1240" y="1428"/>
                  </a:lnTo>
                  <a:lnTo>
                    <a:pt x="1231" y="1417"/>
                  </a:lnTo>
                  <a:lnTo>
                    <a:pt x="1200" y="1440"/>
                  </a:lnTo>
                  <a:lnTo>
                    <a:pt x="1207" y="1451"/>
                  </a:lnTo>
                  <a:lnTo>
                    <a:pt x="1224" y="1476"/>
                  </a:lnTo>
                  <a:lnTo>
                    <a:pt x="1243" y="1502"/>
                  </a:lnTo>
                  <a:lnTo>
                    <a:pt x="1253" y="1516"/>
                  </a:lnTo>
                  <a:lnTo>
                    <a:pt x="1260" y="1523"/>
                  </a:lnTo>
                  <a:lnTo>
                    <a:pt x="1269" y="1530"/>
                  </a:lnTo>
                  <a:lnTo>
                    <a:pt x="1279" y="1533"/>
                  </a:lnTo>
                  <a:lnTo>
                    <a:pt x="1289" y="1535"/>
                  </a:lnTo>
                  <a:lnTo>
                    <a:pt x="1300" y="1533"/>
                  </a:lnTo>
                  <a:lnTo>
                    <a:pt x="1312" y="1530"/>
                  </a:lnTo>
                  <a:lnTo>
                    <a:pt x="1323" y="1525"/>
                  </a:lnTo>
                  <a:lnTo>
                    <a:pt x="1335" y="1517"/>
                  </a:lnTo>
                  <a:lnTo>
                    <a:pt x="1347" y="1509"/>
                  </a:lnTo>
                  <a:lnTo>
                    <a:pt x="1355" y="1499"/>
                  </a:lnTo>
                  <a:lnTo>
                    <a:pt x="1362" y="1489"/>
                  </a:lnTo>
                  <a:lnTo>
                    <a:pt x="1367" y="1479"/>
                  </a:lnTo>
                  <a:lnTo>
                    <a:pt x="1370" y="1469"/>
                  </a:lnTo>
                  <a:lnTo>
                    <a:pt x="1368" y="1459"/>
                  </a:lnTo>
                  <a:lnTo>
                    <a:pt x="1367" y="1448"/>
                  </a:lnTo>
                  <a:lnTo>
                    <a:pt x="1361" y="1438"/>
                  </a:lnTo>
                  <a:lnTo>
                    <a:pt x="1351" y="1424"/>
                  </a:lnTo>
                  <a:lnTo>
                    <a:pt x="1332" y="1398"/>
                  </a:lnTo>
                  <a:lnTo>
                    <a:pt x="1315" y="1374"/>
                  </a:lnTo>
                  <a:lnTo>
                    <a:pt x="1306" y="1364"/>
                  </a:lnTo>
                  <a:close/>
                  <a:moveTo>
                    <a:pt x="1488" y="1331"/>
                  </a:moveTo>
                  <a:lnTo>
                    <a:pt x="1488" y="1331"/>
                  </a:lnTo>
                  <a:lnTo>
                    <a:pt x="1480" y="1339"/>
                  </a:lnTo>
                  <a:lnTo>
                    <a:pt x="1479" y="1342"/>
                  </a:lnTo>
                  <a:lnTo>
                    <a:pt x="1456" y="1324"/>
                  </a:lnTo>
                  <a:lnTo>
                    <a:pt x="1457" y="1322"/>
                  </a:lnTo>
                  <a:lnTo>
                    <a:pt x="1465" y="1312"/>
                  </a:lnTo>
                  <a:lnTo>
                    <a:pt x="1472" y="1306"/>
                  </a:lnTo>
                  <a:lnTo>
                    <a:pt x="1478" y="1302"/>
                  </a:lnTo>
                  <a:lnTo>
                    <a:pt x="1480" y="1301"/>
                  </a:lnTo>
                  <a:lnTo>
                    <a:pt x="1485" y="1301"/>
                  </a:lnTo>
                  <a:lnTo>
                    <a:pt x="1488" y="1302"/>
                  </a:lnTo>
                  <a:lnTo>
                    <a:pt x="1491" y="1305"/>
                  </a:lnTo>
                  <a:lnTo>
                    <a:pt x="1493" y="1306"/>
                  </a:lnTo>
                  <a:lnTo>
                    <a:pt x="1495" y="1309"/>
                  </a:lnTo>
                  <a:lnTo>
                    <a:pt x="1495" y="1313"/>
                  </a:lnTo>
                  <a:lnTo>
                    <a:pt x="1495" y="1316"/>
                  </a:lnTo>
                  <a:lnTo>
                    <a:pt x="1492" y="1324"/>
                  </a:lnTo>
                  <a:lnTo>
                    <a:pt x="1488" y="1331"/>
                  </a:lnTo>
                  <a:close/>
                  <a:moveTo>
                    <a:pt x="1443" y="1295"/>
                  </a:moveTo>
                  <a:lnTo>
                    <a:pt x="1443" y="1295"/>
                  </a:lnTo>
                  <a:lnTo>
                    <a:pt x="1436" y="1303"/>
                  </a:lnTo>
                  <a:lnTo>
                    <a:pt x="1433" y="1305"/>
                  </a:lnTo>
                  <a:lnTo>
                    <a:pt x="1411" y="1286"/>
                  </a:lnTo>
                  <a:lnTo>
                    <a:pt x="1413" y="1285"/>
                  </a:lnTo>
                  <a:lnTo>
                    <a:pt x="1420" y="1276"/>
                  </a:lnTo>
                  <a:lnTo>
                    <a:pt x="1427" y="1269"/>
                  </a:lnTo>
                  <a:lnTo>
                    <a:pt x="1433" y="1265"/>
                  </a:lnTo>
                  <a:lnTo>
                    <a:pt x="1436" y="1265"/>
                  </a:lnTo>
                  <a:lnTo>
                    <a:pt x="1440" y="1265"/>
                  </a:lnTo>
                  <a:lnTo>
                    <a:pt x="1443" y="1265"/>
                  </a:lnTo>
                  <a:lnTo>
                    <a:pt x="1446" y="1268"/>
                  </a:lnTo>
                  <a:lnTo>
                    <a:pt x="1449" y="1270"/>
                  </a:lnTo>
                  <a:lnTo>
                    <a:pt x="1450" y="1273"/>
                  </a:lnTo>
                  <a:lnTo>
                    <a:pt x="1450" y="1276"/>
                  </a:lnTo>
                  <a:lnTo>
                    <a:pt x="1450" y="1279"/>
                  </a:lnTo>
                  <a:lnTo>
                    <a:pt x="1447" y="1286"/>
                  </a:lnTo>
                  <a:lnTo>
                    <a:pt x="1443" y="1295"/>
                  </a:lnTo>
                  <a:close/>
                  <a:moveTo>
                    <a:pt x="1522" y="1272"/>
                  </a:moveTo>
                  <a:lnTo>
                    <a:pt x="1522" y="1272"/>
                  </a:lnTo>
                  <a:lnTo>
                    <a:pt x="1515" y="1268"/>
                  </a:lnTo>
                  <a:lnTo>
                    <a:pt x="1509" y="1265"/>
                  </a:lnTo>
                  <a:lnTo>
                    <a:pt x="1503" y="1263"/>
                  </a:lnTo>
                  <a:lnTo>
                    <a:pt x="1498" y="1263"/>
                  </a:lnTo>
                  <a:lnTo>
                    <a:pt x="1486" y="1266"/>
                  </a:lnTo>
                  <a:lnTo>
                    <a:pt x="1475" y="1273"/>
                  </a:lnTo>
                  <a:lnTo>
                    <a:pt x="1478" y="1268"/>
                  </a:lnTo>
                  <a:lnTo>
                    <a:pt x="1479" y="1257"/>
                  </a:lnTo>
                  <a:lnTo>
                    <a:pt x="1479" y="1252"/>
                  </a:lnTo>
                  <a:lnTo>
                    <a:pt x="1478" y="1246"/>
                  </a:lnTo>
                  <a:lnTo>
                    <a:pt x="1473" y="1239"/>
                  </a:lnTo>
                  <a:lnTo>
                    <a:pt x="1467" y="1233"/>
                  </a:lnTo>
                  <a:lnTo>
                    <a:pt x="1462" y="1229"/>
                  </a:lnTo>
                  <a:lnTo>
                    <a:pt x="1457" y="1226"/>
                  </a:lnTo>
                  <a:lnTo>
                    <a:pt x="1452" y="1224"/>
                  </a:lnTo>
                  <a:lnTo>
                    <a:pt x="1447" y="1224"/>
                  </a:lnTo>
                  <a:lnTo>
                    <a:pt x="1437" y="1226"/>
                  </a:lnTo>
                  <a:lnTo>
                    <a:pt x="1429" y="1230"/>
                  </a:lnTo>
                  <a:lnTo>
                    <a:pt x="1420" y="1236"/>
                  </a:lnTo>
                  <a:lnTo>
                    <a:pt x="1413" y="1243"/>
                  </a:lnTo>
                  <a:lnTo>
                    <a:pt x="1406" y="1252"/>
                  </a:lnTo>
                  <a:lnTo>
                    <a:pt x="1400" y="1259"/>
                  </a:lnTo>
                  <a:lnTo>
                    <a:pt x="1380" y="1283"/>
                  </a:lnTo>
                  <a:lnTo>
                    <a:pt x="1365" y="1301"/>
                  </a:lnTo>
                  <a:lnTo>
                    <a:pt x="1473" y="1390"/>
                  </a:lnTo>
                  <a:lnTo>
                    <a:pt x="1488" y="1372"/>
                  </a:lnTo>
                  <a:lnTo>
                    <a:pt x="1508" y="1348"/>
                  </a:lnTo>
                  <a:lnTo>
                    <a:pt x="1521" y="1331"/>
                  </a:lnTo>
                  <a:lnTo>
                    <a:pt x="1528" y="1316"/>
                  </a:lnTo>
                  <a:lnTo>
                    <a:pt x="1532" y="1305"/>
                  </a:lnTo>
                  <a:lnTo>
                    <a:pt x="1534" y="1295"/>
                  </a:lnTo>
                  <a:lnTo>
                    <a:pt x="1532" y="1286"/>
                  </a:lnTo>
                  <a:lnTo>
                    <a:pt x="1529" y="1280"/>
                  </a:lnTo>
                  <a:lnTo>
                    <a:pt x="1527" y="1276"/>
                  </a:lnTo>
                  <a:lnTo>
                    <a:pt x="1522" y="1272"/>
                  </a:lnTo>
                  <a:close/>
                  <a:moveTo>
                    <a:pt x="1097" y="1549"/>
                  </a:moveTo>
                  <a:lnTo>
                    <a:pt x="1097" y="1549"/>
                  </a:lnTo>
                  <a:lnTo>
                    <a:pt x="1086" y="1552"/>
                  </a:lnTo>
                  <a:lnTo>
                    <a:pt x="1083" y="1553"/>
                  </a:lnTo>
                  <a:lnTo>
                    <a:pt x="1074" y="1519"/>
                  </a:lnTo>
                  <a:lnTo>
                    <a:pt x="1076" y="1519"/>
                  </a:lnTo>
                  <a:lnTo>
                    <a:pt x="1087" y="1516"/>
                  </a:lnTo>
                  <a:lnTo>
                    <a:pt x="1096" y="1515"/>
                  </a:lnTo>
                  <a:lnTo>
                    <a:pt x="1105" y="1515"/>
                  </a:lnTo>
                  <a:lnTo>
                    <a:pt x="1107" y="1516"/>
                  </a:lnTo>
                  <a:lnTo>
                    <a:pt x="1110" y="1519"/>
                  </a:lnTo>
                  <a:lnTo>
                    <a:pt x="1112" y="1522"/>
                  </a:lnTo>
                  <a:lnTo>
                    <a:pt x="1115" y="1526"/>
                  </a:lnTo>
                  <a:lnTo>
                    <a:pt x="1115" y="1530"/>
                  </a:lnTo>
                  <a:lnTo>
                    <a:pt x="1115" y="1535"/>
                  </a:lnTo>
                  <a:lnTo>
                    <a:pt x="1113" y="1537"/>
                  </a:lnTo>
                  <a:lnTo>
                    <a:pt x="1112" y="1540"/>
                  </a:lnTo>
                  <a:lnTo>
                    <a:pt x="1106" y="1546"/>
                  </a:lnTo>
                  <a:lnTo>
                    <a:pt x="1097" y="1549"/>
                  </a:lnTo>
                  <a:close/>
                  <a:moveTo>
                    <a:pt x="1080" y="1490"/>
                  </a:moveTo>
                  <a:lnTo>
                    <a:pt x="1080" y="1490"/>
                  </a:lnTo>
                  <a:lnTo>
                    <a:pt x="1066" y="1494"/>
                  </a:lnTo>
                  <a:lnTo>
                    <a:pt x="1048" y="1499"/>
                  </a:lnTo>
                  <a:lnTo>
                    <a:pt x="1034" y="1503"/>
                  </a:lnTo>
                  <a:lnTo>
                    <a:pt x="1028" y="1504"/>
                  </a:lnTo>
                  <a:lnTo>
                    <a:pt x="1067" y="1639"/>
                  </a:lnTo>
                  <a:lnTo>
                    <a:pt x="1106" y="1628"/>
                  </a:lnTo>
                  <a:lnTo>
                    <a:pt x="1092" y="1579"/>
                  </a:lnTo>
                  <a:lnTo>
                    <a:pt x="1093" y="1578"/>
                  </a:lnTo>
                  <a:lnTo>
                    <a:pt x="1105" y="1575"/>
                  </a:lnTo>
                  <a:lnTo>
                    <a:pt x="1113" y="1572"/>
                  </a:lnTo>
                  <a:lnTo>
                    <a:pt x="1123" y="1569"/>
                  </a:lnTo>
                  <a:lnTo>
                    <a:pt x="1133" y="1565"/>
                  </a:lnTo>
                  <a:lnTo>
                    <a:pt x="1141" y="1559"/>
                  </a:lnTo>
                  <a:lnTo>
                    <a:pt x="1145" y="1555"/>
                  </a:lnTo>
                  <a:lnTo>
                    <a:pt x="1148" y="1550"/>
                  </a:lnTo>
                  <a:lnTo>
                    <a:pt x="1151" y="1546"/>
                  </a:lnTo>
                  <a:lnTo>
                    <a:pt x="1152" y="1542"/>
                  </a:lnTo>
                  <a:lnTo>
                    <a:pt x="1154" y="1536"/>
                  </a:lnTo>
                  <a:lnTo>
                    <a:pt x="1154" y="1530"/>
                  </a:lnTo>
                  <a:lnTo>
                    <a:pt x="1152" y="1523"/>
                  </a:lnTo>
                  <a:lnTo>
                    <a:pt x="1151" y="1516"/>
                  </a:lnTo>
                  <a:lnTo>
                    <a:pt x="1148" y="1507"/>
                  </a:lnTo>
                  <a:lnTo>
                    <a:pt x="1145" y="1502"/>
                  </a:lnTo>
                  <a:lnTo>
                    <a:pt x="1142" y="1497"/>
                  </a:lnTo>
                  <a:lnTo>
                    <a:pt x="1138" y="1493"/>
                  </a:lnTo>
                  <a:lnTo>
                    <a:pt x="1133" y="1489"/>
                  </a:lnTo>
                  <a:lnTo>
                    <a:pt x="1129" y="1487"/>
                  </a:lnTo>
                  <a:lnTo>
                    <a:pt x="1125" y="1486"/>
                  </a:lnTo>
                  <a:lnTo>
                    <a:pt x="1119" y="1484"/>
                  </a:lnTo>
                  <a:lnTo>
                    <a:pt x="1109" y="1484"/>
                  </a:lnTo>
                  <a:lnTo>
                    <a:pt x="1099" y="1484"/>
                  </a:lnTo>
                  <a:lnTo>
                    <a:pt x="1089" y="1487"/>
                  </a:lnTo>
                  <a:lnTo>
                    <a:pt x="1080" y="1490"/>
                  </a:lnTo>
                  <a:close/>
                  <a:moveTo>
                    <a:pt x="873" y="1638"/>
                  </a:moveTo>
                  <a:lnTo>
                    <a:pt x="873" y="1638"/>
                  </a:lnTo>
                  <a:lnTo>
                    <a:pt x="873" y="1608"/>
                  </a:lnTo>
                  <a:lnTo>
                    <a:pt x="932" y="1608"/>
                  </a:lnTo>
                  <a:lnTo>
                    <a:pt x="932" y="1581"/>
                  </a:lnTo>
                  <a:lnTo>
                    <a:pt x="873" y="1581"/>
                  </a:lnTo>
                  <a:lnTo>
                    <a:pt x="873" y="1552"/>
                  </a:lnTo>
                  <a:lnTo>
                    <a:pt x="930" y="1550"/>
                  </a:lnTo>
                  <a:lnTo>
                    <a:pt x="930" y="1525"/>
                  </a:lnTo>
                  <a:lnTo>
                    <a:pt x="832" y="1525"/>
                  </a:lnTo>
                  <a:lnTo>
                    <a:pt x="832" y="1664"/>
                  </a:lnTo>
                  <a:lnTo>
                    <a:pt x="932" y="1664"/>
                  </a:lnTo>
                  <a:lnTo>
                    <a:pt x="932" y="1637"/>
                  </a:lnTo>
                  <a:lnTo>
                    <a:pt x="873" y="1638"/>
                  </a:lnTo>
                  <a:close/>
                  <a:moveTo>
                    <a:pt x="1531" y="595"/>
                  </a:moveTo>
                  <a:lnTo>
                    <a:pt x="1531" y="595"/>
                  </a:lnTo>
                  <a:lnTo>
                    <a:pt x="1492" y="644"/>
                  </a:lnTo>
                  <a:lnTo>
                    <a:pt x="1508" y="682"/>
                  </a:lnTo>
                  <a:lnTo>
                    <a:pt x="1573" y="601"/>
                  </a:lnTo>
                  <a:lnTo>
                    <a:pt x="1617" y="581"/>
                  </a:lnTo>
                  <a:lnTo>
                    <a:pt x="1601" y="545"/>
                  </a:lnTo>
                  <a:lnTo>
                    <a:pt x="1557" y="564"/>
                  </a:lnTo>
                  <a:lnTo>
                    <a:pt x="1452" y="551"/>
                  </a:lnTo>
                  <a:lnTo>
                    <a:pt x="1467" y="587"/>
                  </a:lnTo>
                  <a:lnTo>
                    <a:pt x="1531" y="595"/>
                  </a:lnTo>
                  <a:close/>
                  <a:moveTo>
                    <a:pt x="1270" y="170"/>
                  </a:moveTo>
                  <a:lnTo>
                    <a:pt x="1270" y="170"/>
                  </a:lnTo>
                  <a:lnTo>
                    <a:pt x="1233" y="152"/>
                  </a:lnTo>
                  <a:lnTo>
                    <a:pt x="1171" y="278"/>
                  </a:lnTo>
                  <a:lnTo>
                    <a:pt x="1207" y="295"/>
                  </a:lnTo>
                  <a:lnTo>
                    <a:pt x="1270" y="170"/>
                  </a:lnTo>
                  <a:close/>
                  <a:moveTo>
                    <a:pt x="1041" y="231"/>
                  </a:moveTo>
                  <a:lnTo>
                    <a:pt x="1041" y="231"/>
                  </a:lnTo>
                  <a:lnTo>
                    <a:pt x="1053" y="232"/>
                  </a:lnTo>
                  <a:lnTo>
                    <a:pt x="1063" y="232"/>
                  </a:lnTo>
                  <a:lnTo>
                    <a:pt x="1073" y="231"/>
                  </a:lnTo>
                  <a:lnTo>
                    <a:pt x="1083" y="228"/>
                  </a:lnTo>
                  <a:lnTo>
                    <a:pt x="1092" y="222"/>
                  </a:lnTo>
                  <a:lnTo>
                    <a:pt x="1099" y="216"/>
                  </a:lnTo>
                  <a:lnTo>
                    <a:pt x="1106" y="208"/>
                  </a:lnTo>
                  <a:lnTo>
                    <a:pt x="1110" y="198"/>
                  </a:lnTo>
                  <a:lnTo>
                    <a:pt x="1077" y="191"/>
                  </a:lnTo>
                  <a:lnTo>
                    <a:pt x="1070" y="198"/>
                  </a:lnTo>
                  <a:lnTo>
                    <a:pt x="1063" y="202"/>
                  </a:lnTo>
                  <a:lnTo>
                    <a:pt x="1056" y="205"/>
                  </a:lnTo>
                  <a:lnTo>
                    <a:pt x="1047" y="203"/>
                  </a:lnTo>
                  <a:lnTo>
                    <a:pt x="1041" y="202"/>
                  </a:lnTo>
                  <a:lnTo>
                    <a:pt x="1037" y="199"/>
                  </a:lnTo>
                  <a:lnTo>
                    <a:pt x="1033" y="195"/>
                  </a:lnTo>
                  <a:lnTo>
                    <a:pt x="1030" y="189"/>
                  </a:lnTo>
                  <a:lnTo>
                    <a:pt x="1027" y="182"/>
                  </a:lnTo>
                  <a:lnTo>
                    <a:pt x="1025" y="173"/>
                  </a:lnTo>
                  <a:lnTo>
                    <a:pt x="1027" y="163"/>
                  </a:lnTo>
                  <a:lnTo>
                    <a:pt x="1028" y="153"/>
                  </a:lnTo>
                  <a:lnTo>
                    <a:pt x="1031" y="142"/>
                  </a:lnTo>
                  <a:lnTo>
                    <a:pt x="1035" y="133"/>
                  </a:lnTo>
                  <a:lnTo>
                    <a:pt x="1040" y="126"/>
                  </a:lnTo>
                  <a:lnTo>
                    <a:pt x="1044" y="122"/>
                  </a:lnTo>
                  <a:lnTo>
                    <a:pt x="1050" y="117"/>
                  </a:lnTo>
                  <a:lnTo>
                    <a:pt x="1056" y="116"/>
                  </a:lnTo>
                  <a:lnTo>
                    <a:pt x="1061" y="114"/>
                  </a:lnTo>
                  <a:lnTo>
                    <a:pt x="1067" y="116"/>
                  </a:lnTo>
                  <a:lnTo>
                    <a:pt x="1074" y="119"/>
                  </a:lnTo>
                  <a:lnTo>
                    <a:pt x="1080" y="123"/>
                  </a:lnTo>
                  <a:lnTo>
                    <a:pt x="1086" y="130"/>
                  </a:lnTo>
                  <a:lnTo>
                    <a:pt x="1087" y="139"/>
                  </a:lnTo>
                  <a:lnTo>
                    <a:pt x="1122" y="147"/>
                  </a:lnTo>
                  <a:lnTo>
                    <a:pt x="1122" y="136"/>
                  </a:lnTo>
                  <a:lnTo>
                    <a:pt x="1119" y="124"/>
                  </a:lnTo>
                  <a:lnTo>
                    <a:pt x="1115" y="116"/>
                  </a:lnTo>
                  <a:lnTo>
                    <a:pt x="1109" y="107"/>
                  </a:lnTo>
                  <a:lnTo>
                    <a:pt x="1102" y="101"/>
                  </a:lnTo>
                  <a:lnTo>
                    <a:pt x="1095" y="96"/>
                  </a:lnTo>
                  <a:lnTo>
                    <a:pt x="1084" y="91"/>
                  </a:lnTo>
                  <a:lnTo>
                    <a:pt x="1073" y="89"/>
                  </a:lnTo>
                  <a:lnTo>
                    <a:pt x="1060" y="86"/>
                  </a:lnTo>
                  <a:lnTo>
                    <a:pt x="1046" y="86"/>
                  </a:lnTo>
                  <a:lnTo>
                    <a:pt x="1034" y="89"/>
                  </a:lnTo>
                  <a:lnTo>
                    <a:pt x="1021" y="94"/>
                  </a:lnTo>
                  <a:lnTo>
                    <a:pt x="1017" y="99"/>
                  </a:lnTo>
                  <a:lnTo>
                    <a:pt x="1011" y="103"/>
                  </a:lnTo>
                  <a:lnTo>
                    <a:pt x="1007" y="107"/>
                  </a:lnTo>
                  <a:lnTo>
                    <a:pt x="1002" y="113"/>
                  </a:lnTo>
                  <a:lnTo>
                    <a:pt x="998" y="120"/>
                  </a:lnTo>
                  <a:lnTo>
                    <a:pt x="995" y="127"/>
                  </a:lnTo>
                  <a:lnTo>
                    <a:pt x="992" y="135"/>
                  </a:lnTo>
                  <a:lnTo>
                    <a:pt x="989" y="145"/>
                  </a:lnTo>
                  <a:lnTo>
                    <a:pt x="988" y="153"/>
                  </a:lnTo>
                  <a:lnTo>
                    <a:pt x="987" y="162"/>
                  </a:lnTo>
                  <a:lnTo>
                    <a:pt x="987" y="170"/>
                  </a:lnTo>
                  <a:lnTo>
                    <a:pt x="988" y="178"/>
                  </a:lnTo>
                  <a:lnTo>
                    <a:pt x="989" y="185"/>
                  </a:lnTo>
                  <a:lnTo>
                    <a:pt x="991" y="191"/>
                  </a:lnTo>
                  <a:lnTo>
                    <a:pt x="994" y="198"/>
                  </a:lnTo>
                  <a:lnTo>
                    <a:pt x="997" y="203"/>
                  </a:lnTo>
                  <a:lnTo>
                    <a:pt x="1005" y="213"/>
                  </a:lnTo>
                  <a:lnTo>
                    <a:pt x="1015" y="221"/>
                  </a:lnTo>
                  <a:lnTo>
                    <a:pt x="1027" y="226"/>
                  </a:lnTo>
                  <a:lnTo>
                    <a:pt x="1041" y="231"/>
                  </a:lnTo>
                  <a:close/>
                  <a:moveTo>
                    <a:pt x="1532" y="858"/>
                  </a:moveTo>
                  <a:lnTo>
                    <a:pt x="1532" y="858"/>
                  </a:lnTo>
                  <a:lnTo>
                    <a:pt x="1672" y="842"/>
                  </a:lnTo>
                  <a:lnTo>
                    <a:pt x="1668" y="802"/>
                  </a:lnTo>
                  <a:lnTo>
                    <a:pt x="1528" y="818"/>
                  </a:lnTo>
                  <a:lnTo>
                    <a:pt x="1532" y="858"/>
                  </a:lnTo>
                  <a:close/>
                  <a:moveTo>
                    <a:pt x="893" y="64"/>
                  </a:moveTo>
                  <a:lnTo>
                    <a:pt x="893" y="64"/>
                  </a:lnTo>
                  <a:lnTo>
                    <a:pt x="853" y="64"/>
                  </a:lnTo>
                  <a:lnTo>
                    <a:pt x="853" y="205"/>
                  </a:lnTo>
                  <a:lnTo>
                    <a:pt x="893" y="205"/>
                  </a:lnTo>
                  <a:lnTo>
                    <a:pt x="893" y="64"/>
                  </a:lnTo>
                  <a:close/>
                  <a:moveTo>
                    <a:pt x="1371" y="392"/>
                  </a:moveTo>
                  <a:lnTo>
                    <a:pt x="1371" y="392"/>
                  </a:lnTo>
                  <a:lnTo>
                    <a:pt x="1328" y="353"/>
                  </a:lnTo>
                  <a:lnTo>
                    <a:pt x="1347" y="330"/>
                  </a:lnTo>
                  <a:lnTo>
                    <a:pt x="1391" y="369"/>
                  </a:lnTo>
                  <a:lnTo>
                    <a:pt x="1408" y="348"/>
                  </a:lnTo>
                  <a:lnTo>
                    <a:pt x="1365" y="310"/>
                  </a:lnTo>
                  <a:lnTo>
                    <a:pt x="1385" y="288"/>
                  </a:lnTo>
                  <a:lnTo>
                    <a:pt x="1429" y="327"/>
                  </a:lnTo>
                  <a:lnTo>
                    <a:pt x="1447" y="307"/>
                  </a:lnTo>
                  <a:lnTo>
                    <a:pt x="1372" y="241"/>
                  </a:lnTo>
                  <a:lnTo>
                    <a:pt x="1279" y="346"/>
                  </a:lnTo>
                  <a:lnTo>
                    <a:pt x="1352" y="412"/>
                  </a:lnTo>
                  <a:lnTo>
                    <a:pt x="1371" y="392"/>
                  </a:lnTo>
                  <a:close/>
                  <a:moveTo>
                    <a:pt x="1519" y="728"/>
                  </a:moveTo>
                  <a:lnTo>
                    <a:pt x="1519" y="728"/>
                  </a:lnTo>
                  <a:lnTo>
                    <a:pt x="1524" y="772"/>
                  </a:lnTo>
                  <a:lnTo>
                    <a:pt x="1590" y="811"/>
                  </a:lnTo>
                  <a:lnTo>
                    <a:pt x="1663" y="751"/>
                  </a:lnTo>
                  <a:lnTo>
                    <a:pt x="1658" y="706"/>
                  </a:lnTo>
                  <a:lnTo>
                    <a:pt x="1584" y="766"/>
                  </a:lnTo>
                  <a:lnTo>
                    <a:pt x="1519" y="728"/>
                  </a:lnTo>
                  <a:close/>
                  <a:moveTo>
                    <a:pt x="133" y="677"/>
                  </a:moveTo>
                  <a:lnTo>
                    <a:pt x="133" y="677"/>
                  </a:lnTo>
                  <a:lnTo>
                    <a:pt x="144" y="644"/>
                  </a:lnTo>
                  <a:lnTo>
                    <a:pt x="138" y="637"/>
                  </a:lnTo>
                  <a:lnTo>
                    <a:pt x="134" y="630"/>
                  </a:lnTo>
                  <a:lnTo>
                    <a:pt x="133" y="621"/>
                  </a:lnTo>
                  <a:lnTo>
                    <a:pt x="134" y="614"/>
                  </a:lnTo>
                  <a:lnTo>
                    <a:pt x="137" y="608"/>
                  </a:lnTo>
                  <a:lnTo>
                    <a:pt x="141" y="604"/>
                  </a:lnTo>
                  <a:lnTo>
                    <a:pt x="146" y="600"/>
                  </a:lnTo>
                  <a:lnTo>
                    <a:pt x="151" y="597"/>
                  </a:lnTo>
                  <a:lnTo>
                    <a:pt x="159" y="595"/>
                  </a:lnTo>
                  <a:lnTo>
                    <a:pt x="167" y="595"/>
                  </a:lnTo>
                  <a:lnTo>
                    <a:pt x="176" y="598"/>
                  </a:lnTo>
                  <a:lnTo>
                    <a:pt x="187" y="601"/>
                  </a:lnTo>
                  <a:lnTo>
                    <a:pt x="197" y="606"/>
                  </a:lnTo>
                  <a:lnTo>
                    <a:pt x="206" y="610"/>
                  </a:lnTo>
                  <a:lnTo>
                    <a:pt x="212" y="616"/>
                  </a:lnTo>
                  <a:lnTo>
                    <a:pt x="218" y="620"/>
                  </a:lnTo>
                  <a:lnTo>
                    <a:pt x="220" y="626"/>
                  </a:lnTo>
                  <a:lnTo>
                    <a:pt x="222" y="631"/>
                  </a:lnTo>
                  <a:lnTo>
                    <a:pt x="222" y="637"/>
                  </a:lnTo>
                  <a:lnTo>
                    <a:pt x="220" y="643"/>
                  </a:lnTo>
                  <a:lnTo>
                    <a:pt x="216" y="650"/>
                  </a:lnTo>
                  <a:lnTo>
                    <a:pt x="210" y="656"/>
                  </a:lnTo>
                  <a:lnTo>
                    <a:pt x="203" y="660"/>
                  </a:lnTo>
                  <a:lnTo>
                    <a:pt x="193" y="662"/>
                  </a:lnTo>
                  <a:lnTo>
                    <a:pt x="182" y="695"/>
                  </a:lnTo>
                  <a:lnTo>
                    <a:pt x="195" y="695"/>
                  </a:lnTo>
                  <a:lnTo>
                    <a:pt x="205" y="693"/>
                  </a:lnTo>
                  <a:lnTo>
                    <a:pt x="215" y="690"/>
                  </a:lnTo>
                  <a:lnTo>
                    <a:pt x="223" y="686"/>
                  </a:lnTo>
                  <a:lnTo>
                    <a:pt x="231" y="680"/>
                  </a:lnTo>
                  <a:lnTo>
                    <a:pt x="236" y="672"/>
                  </a:lnTo>
                  <a:lnTo>
                    <a:pt x="242" y="663"/>
                  </a:lnTo>
                  <a:lnTo>
                    <a:pt x="246" y="653"/>
                  </a:lnTo>
                  <a:lnTo>
                    <a:pt x="251" y="640"/>
                  </a:lnTo>
                  <a:lnTo>
                    <a:pt x="252" y="626"/>
                  </a:lnTo>
                  <a:lnTo>
                    <a:pt x="251" y="613"/>
                  </a:lnTo>
                  <a:lnTo>
                    <a:pt x="246" y="601"/>
                  </a:lnTo>
                  <a:lnTo>
                    <a:pt x="243" y="595"/>
                  </a:lnTo>
                  <a:lnTo>
                    <a:pt x="239" y="590"/>
                  </a:lnTo>
                  <a:lnTo>
                    <a:pt x="235" y="584"/>
                  </a:lnTo>
                  <a:lnTo>
                    <a:pt x="229" y="580"/>
                  </a:lnTo>
                  <a:lnTo>
                    <a:pt x="223" y="574"/>
                  </a:lnTo>
                  <a:lnTo>
                    <a:pt x="216" y="570"/>
                  </a:lnTo>
                  <a:lnTo>
                    <a:pt x="209" y="567"/>
                  </a:lnTo>
                  <a:lnTo>
                    <a:pt x="200" y="562"/>
                  </a:lnTo>
                  <a:lnTo>
                    <a:pt x="192" y="560"/>
                  </a:lnTo>
                  <a:lnTo>
                    <a:pt x="183" y="558"/>
                  </a:lnTo>
                  <a:lnTo>
                    <a:pt x="176" y="558"/>
                  </a:lnTo>
                  <a:lnTo>
                    <a:pt x="167" y="557"/>
                  </a:lnTo>
                  <a:lnTo>
                    <a:pt x="160" y="558"/>
                  </a:lnTo>
                  <a:lnTo>
                    <a:pt x="153" y="560"/>
                  </a:lnTo>
                  <a:lnTo>
                    <a:pt x="147" y="561"/>
                  </a:lnTo>
                  <a:lnTo>
                    <a:pt x="141" y="564"/>
                  </a:lnTo>
                  <a:lnTo>
                    <a:pt x="130" y="571"/>
                  </a:lnTo>
                  <a:lnTo>
                    <a:pt x="121" y="580"/>
                  </a:lnTo>
                  <a:lnTo>
                    <a:pt x="114" y="591"/>
                  </a:lnTo>
                  <a:lnTo>
                    <a:pt x="108" y="604"/>
                  </a:lnTo>
                  <a:lnTo>
                    <a:pt x="105" y="616"/>
                  </a:lnTo>
                  <a:lnTo>
                    <a:pt x="104" y="626"/>
                  </a:lnTo>
                  <a:lnTo>
                    <a:pt x="104" y="636"/>
                  </a:lnTo>
                  <a:lnTo>
                    <a:pt x="107" y="646"/>
                  </a:lnTo>
                  <a:lnTo>
                    <a:pt x="111" y="656"/>
                  </a:lnTo>
                  <a:lnTo>
                    <a:pt x="117" y="663"/>
                  </a:lnTo>
                  <a:lnTo>
                    <a:pt x="124" y="672"/>
                  </a:lnTo>
                  <a:lnTo>
                    <a:pt x="133" y="677"/>
                  </a:lnTo>
                  <a:close/>
                  <a:moveTo>
                    <a:pt x="501" y="182"/>
                  </a:moveTo>
                  <a:lnTo>
                    <a:pt x="501" y="182"/>
                  </a:lnTo>
                  <a:lnTo>
                    <a:pt x="507" y="179"/>
                  </a:lnTo>
                  <a:lnTo>
                    <a:pt x="513" y="179"/>
                  </a:lnTo>
                  <a:lnTo>
                    <a:pt x="519" y="179"/>
                  </a:lnTo>
                  <a:lnTo>
                    <a:pt x="524" y="182"/>
                  </a:lnTo>
                  <a:lnTo>
                    <a:pt x="530" y="186"/>
                  </a:lnTo>
                  <a:lnTo>
                    <a:pt x="536" y="192"/>
                  </a:lnTo>
                  <a:lnTo>
                    <a:pt x="542" y="201"/>
                  </a:lnTo>
                  <a:lnTo>
                    <a:pt x="547" y="209"/>
                  </a:lnTo>
                  <a:lnTo>
                    <a:pt x="552" y="221"/>
                  </a:lnTo>
                  <a:lnTo>
                    <a:pt x="555" y="229"/>
                  </a:lnTo>
                  <a:lnTo>
                    <a:pt x="555" y="238"/>
                  </a:lnTo>
                  <a:lnTo>
                    <a:pt x="555" y="245"/>
                  </a:lnTo>
                  <a:lnTo>
                    <a:pt x="553" y="251"/>
                  </a:lnTo>
                  <a:lnTo>
                    <a:pt x="549" y="257"/>
                  </a:lnTo>
                  <a:lnTo>
                    <a:pt x="546" y="259"/>
                  </a:lnTo>
                  <a:lnTo>
                    <a:pt x="540" y="264"/>
                  </a:lnTo>
                  <a:lnTo>
                    <a:pt x="534" y="265"/>
                  </a:lnTo>
                  <a:lnTo>
                    <a:pt x="529" y="265"/>
                  </a:lnTo>
                  <a:lnTo>
                    <a:pt x="523" y="265"/>
                  </a:lnTo>
                  <a:lnTo>
                    <a:pt x="517" y="262"/>
                  </a:lnTo>
                  <a:lnTo>
                    <a:pt x="510" y="258"/>
                  </a:lnTo>
                  <a:lnTo>
                    <a:pt x="504" y="252"/>
                  </a:lnTo>
                  <a:lnTo>
                    <a:pt x="500" y="245"/>
                  </a:lnTo>
                  <a:lnTo>
                    <a:pt x="494" y="235"/>
                  </a:lnTo>
                  <a:lnTo>
                    <a:pt x="490" y="225"/>
                  </a:lnTo>
                  <a:lnTo>
                    <a:pt x="487" y="215"/>
                  </a:lnTo>
                  <a:lnTo>
                    <a:pt x="487" y="208"/>
                  </a:lnTo>
                  <a:lnTo>
                    <a:pt x="487" y="201"/>
                  </a:lnTo>
                  <a:lnTo>
                    <a:pt x="488" y="193"/>
                  </a:lnTo>
                  <a:lnTo>
                    <a:pt x="491" y="189"/>
                  </a:lnTo>
                  <a:lnTo>
                    <a:pt x="495" y="185"/>
                  </a:lnTo>
                  <a:lnTo>
                    <a:pt x="501" y="182"/>
                  </a:lnTo>
                  <a:close/>
                  <a:moveTo>
                    <a:pt x="552" y="288"/>
                  </a:moveTo>
                  <a:lnTo>
                    <a:pt x="552" y="288"/>
                  </a:lnTo>
                  <a:lnTo>
                    <a:pt x="565" y="281"/>
                  </a:lnTo>
                  <a:lnTo>
                    <a:pt x="575" y="274"/>
                  </a:lnTo>
                  <a:lnTo>
                    <a:pt x="583" y="264"/>
                  </a:lnTo>
                  <a:lnTo>
                    <a:pt x="589" y="252"/>
                  </a:lnTo>
                  <a:lnTo>
                    <a:pt x="591" y="245"/>
                  </a:lnTo>
                  <a:lnTo>
                    <a:pt x="592" y="239"/>
                  </a:lnTo>
                  <a:lnTo>
                    <a:pt x="593" y="232"/>
                  </a:lnTo>
                  <a:lnTo>
                    <a:pt x="592" y="225"/>
                  </a:lnTo>
                  <a:lnTo>
                    <a:pt x="592" y="216"/>
                  </a:lnTo>
                  <a:lnTo>
                    <a:pt x="591" y="209"/>
                  </a:lnTo>
                  <a:lnTo>
                    <a:pt x="588" y="201"/>
                  </a:lnTo>
                  <a:lnTo>
                    <a:pt x="583" y="192"/>
                  </a:lnTo>
                  <a:lnTo>
                    <a:pt x="579" y="185"/>
                  </a:lnTo>
                  <a:lnTo>
                    <a:pt x="575" y="178"/>
                  </a:lnTo>
                  <a:lnTo>
                    <a:pt x="570" y="170"/>
                  </a:lnTo>
                  <a:lnTo>
                    <a:pt x="565" y="165"/>
                  </a:lnTo>
                  <a:lnTo>
                    <a:pt x="559" y="160"/>
                  </a:lnTo>
                  <a:lnTo>
                    <a:pt x="553" y="156"/>
                  </a:lnTo>
                  <a:lnTo>
                    <a:pt x="547" y="153"/>
                  </a:lnTo>
                  <a:lnTo>
                    <a:pt x="542" y="150"/>
                  </a:lnTo>
                  <a:lnTo>
                    <a:pt x="529" y="149"/>
                  </a:lnTo>
                  <a:lnTo>
                    <a:pt x="516" y="149"/>
                  </a:lnTo>
                  <a:lnTo>
                    <a:pt x="503" y="150"/>
                  </a:lnTo>
                  <a:lnTo>
                    <a:pt x="490" y="156"/>
                  </a:lnTo>
                  <a:lnTo>
                    <a:pt x="477" y="163"/>
                  </a:lnTo>
                  <a:lnTo>
                    <a:pt x="467" y="172"/>
                  </a:lnTo>
                  <a:lnTo>
                    <a:pt x="458" y="182"/>
                  </a:lnTo>
                  <a:lnTo>
                    <a:pt x="452" y="193"/>
                  </a:lnTo>
                  <a:lnTo>
                    <a:pt x="451" y="199"/>
                  </a:lnTo>
                  <a:lnTo>
                    <a:pt x="449" y="206"/>
                  </a:lnTo>
                  <a:lnTo>
                    <a:pt x="448" y="212"/>
                  </a:lnTo>
                  <a:lnTo>
                    <a:pt x="448" y="221"/>
                  </a:lnTo>
                  <a:lnTo>
                    <a:pt x="449" y="228"/>
                  </a:lnTo>
                  <a:lnTo>
                    <a:pt x="451" y="235"/>
                  </a:lnTo>
                  <a:lnTo>
                    <a:pt x="454" y="244"/>
                  </a:lnTo>
                  <a:lnTo>
                    <a:pt x="458" y="252"/>
                  </a:lnTo>
                  <a:lnTo>
                    <a:pt x="462" y="259"/>
                  </a:lnTo>
                  <a:lnTo>
                    <a:pt x="467" y="268"/>
                  </a:lnTo>
                  <a:lnTo>
                    <a:pt x="471" y="274"/>
                  </a:lnTo>
                  <a:lnTo>
                    <a:pt x="477" y="280"/>
                  </a:lnTo>
                  <a:lnTo>
                    <a:pt x="483" y="284"/>
                  </a:lnTo>
                  <a:lnTo>
                    <a:pt x="488" y="288"/>
                  </a:lnTo>
                  <a:lnTo>
                    <a:pt x="494" y="291"/>
                  </a:lnTo>
                  <a:lnTo>
                    <a:pt x="500" y="294"/>
                  </a:lnTo>
                  <a:lnTo>
                    <a:pt x="513" y="297"/>
                  </a:lnTo>
                  <a:lnTo>
                    <a:pt x="526" y="297"/>
                  </a:lnTo>
                  <a:lnTo>
                    <a:pt x="539" y="294"/>
                  </a:lnTo>
                  <a:lnTo>
                    <a:pt x="552" y="288"/>
                  </a:lnTo>
                  <a:close/>
                  <a:moveTo>
                    <a:pt x="356" y="331"/>
                  </a:moveTo>
                  <a:lnTo>
                    <a:pt x="356" y="331"/>
                  </a:lnTo>
                  <a:lnTo>
                    <a:pt x="349" y="340"/>
                  </a:lnTo>
                  <a:lnTo>
                    <a:pt x="347" y="341"/>
                  </a:lnTo>
                  <a:lnTo>
                    <a:pt x="321" y="317"/>
                  </a:lnTo>
                  <a:lnTo>
                    <a:pt x="323" y="315"/>
                  </a:lnTo>
                  <a:lnTo>
                    <a:pt x="331" y="307"/>
                  </a:lnTo>
                  <a:lnTo>
                    <a:pt x="339" y="301"/>
                  </a:lnTo>
                  <a:lnTo>
                    <a:pt x="346" y="298"/>
                  </a:lnTo>
                  <a:lnTo>
                    <a:pt x="350" y="298"/>
                  </a:lnTo>
                  <a:lnTo>
                    <a:pt x="353" y="298"/>
                  </a:lnTo>
                  <a:lnTo>
                    <a:pt x="357" y="300"/>
                  </a:lnTo>
                  <a:lnTo>
                    <a:pt x="360" y="303"/>
                  </a:lnTo>
                  <a:lnTo>
                    <a:pt x="363" y="307"/>
                  </a:lnTo>
                  <a:lnTo>
                    <a:pt x="364" y="310"/>
                  </a:lnTo>
                  <a:lnTo>
                    <a:pt x="366" y="314"/>
                  </a:lnTo>
                  <a:lnTo>
                    <a:pt x="364" y="317"/>
                  </a:lnTo>
                  <a:lnTo>
                    <a:pt x="362" y="324"/>
                  </a:lnTo>
                  <a:lnTo>
                    <a:pt x="356" y="331"/>
                  </a:lnTo>
                  <a:close/>
                  <a:moveTo>
                    <a:pt x="403" y="396"/>
                  </a:moveTo>
                  <a:lnTo>
                    <a:pt x="403" y="396"/>
                  </a:lnTo>
                  <a:lnTo>
                    <a:pt x="366" y="360"/>
                  </a:lnTo>
                  <a:lnTo>
                    <a:pt x="367" y="359"/>
                  </a:lnTo>
                  <a:lnTo>
                    <a:pt x="376" y="350"/>
                  </a:lnTo>
                  <a:lnTo>
                    <a:pt x="383" y="343"/>
                  </a:lnTo>
                  <a:lnTo>
                    <a:pt x="389" y="336"/>
                  </a:lnTo>
                  <a:lnTo>
                    <a:pt x="395" y="327"/>
                  </a:lnTo>
                  <a:lnTo>
                    <a:pt x="399" y="318"/>
                  </a:lnTo>
                  <a:lnTo>
                    <a:pt x="400" y="313"/>
                  </a:lnTo>
                  <a:lnTo>
                    <a:pt x="402" y="308"/>
                  </a:lnTo>
                  <a:lnTo>
                    <a:pt x="402" y="303"/>
                  </a:lnTo>
                  <a:lnTo>
                    <a:pt x="400" y="298"/>
                  </a:lnTo>
                  <a:lnTo>
                    <a:pt x="399" y="292"/>
                  </a:lnTo>
                  <a:lnTo>
                    <a:pt x="396" y="287"/>
                  </a:lnTo>
                  <a:lnTo>
                    <a:pt x="392" y="281"/>
                  </a:lnTo>
                  <a:lnTo>
                    <a:pt x="387" y="275"/>
                  </a:lnTo>
                  <a:lnTo>
                    <a:pt x="382" y="271"/>
                  </a:lnTo>
                  <a:lnTo>
                    <a:pt x="376" y="267"/>
                  </a:lnTo>
                  <a:lnTo>
                    <a:pt x="370" y="264"/>
                  </a:lnTo>
                  <a:lnTo>
                    <a:pt x="364" y="262"/>
                  </a:lnTo>
                  <a:lnTo>
                    <a:pt x="359" y="261"/>
                  </a:lnTo>
                  <a:lnTo>
                    <a:pt x="354" y="261"/>
                  </a:lnTo>
                  <a:lnTo>
                    <a:pt x="349" y="262"/>
                  </a:lnTo>
                  <a:lnTo>
                    <a:pt x="344" y="264"/>
                  </a:lnTo>
                  <a:lnTo>
                    <a:pt x="336" y="268"/>
                  </a:lnTo>
                  <a:lnTo>
                    <a:pt x="327" y="274"/>
                  </a:lnTo>
                  <a:lnTo>
                    <a:pt x="320" y="281"/>
                  </a:lnTo>
                  <a:lnTo>
                    <a:pt x="313" y="288"/>
                  </a:lnTo>
                  <a:lnTo>
                    <a:pt x="290" y="311"/>
                  </a:lnTo>
                  <a:lnTo>
                    <a:pt x="274" y="327"/>
                  </a:lnTo>
                  <a:lnTo>
                    <a:pt x="375" y="425"/>
                  </a:lnTo>
                  <a:lnTo>
                    <a:pt x="403" y="396"/>
                  </a:lnTo>
                  <a:close/>
                  <a:moveTo>
                    <a:pt x="264" y="699"/>
                  </a:moveTo>
                  <a:lnTo>
                    <a:pt x="264" y="699"/>
                  </a:lnTo>
                  <a:lnTo>
                    <a:pt x="272" y="674"/>
                  </a:lnTo>
                  <a:lnTo>
                    <a:pt x="262" y="657"/>
                  </a:lnTo>
                  <a:lnTo>
                    <a:pt x="281" y="650"/>
                  </a:lnTo>
                  <a:lnTo>
                    <a:pt x="290" y="624"/>
                  </a:lnTo>
                  <a:lnTo>
                    <a:pt x="261" y="636"/>
                  </a:lnTo>
                  <a:lnTo>
                    <a:pt x="248" y="673"/>
                  </a:lnTo>
                  <a:lnTo>
                    <a:pt x="264" y="699"/>
                  </a:lnTo>
                  <a:close/>
                  <a:moveTo>
                    <a:pt x="786" y="206"/>
                  </a:moveTo>
                  <a:lnTo>
                    <a:pt x="786" y="206"/>
                  </a:lnTo>
                  <a:lnTo>
                    <a:pt x="781" y="179"/>
                  </a:lnTo>
                  <a:lnTo>
                    <a:pt x="724" y="192"/>
                  </a:lnTo>
                  <a:lnTo>
                    <a:pt x="699" y="83"/>
                  </a:lnTo>
                  <a:lnTo>
                    <a:pt x="660" y="91"/>
                  </a:lnTo>
                  <a:lnTo>
                    <a:pt x="691" y="228"/>
                  </a:lnTo>
                  <a:lnTo>
                    <a:pt x="786" y="206"/>
                  </a:lnTo>
                  <a:close/>
                  <a:moveTo>
                    <a:pt x="1119" y="967"/>
                  </a:moveTo>
                  <a:lnTo>
                    <a:pt x="1119" y="967"/>
                  </a:lnTo>
                  <a:lnTo>
                    <a:pt x="1503" y="863"/>
                  </a:lnTo>
                  <a:lnTo>
                    <a:pt x="1119" y="758"/>
                  </a:lnTo>
                  <a:lnTo>
                    <a:pt x="1318" y="413"/>
                  </a:lnTo>
                  <a:lnTo>
                    <a:pt x="971" y="611"/>
                  </a:lnTo>
                  <a:lnTo>
                    <a:pt x="867" y="228"/>
                  </a:lnTo>
                  <a:lnTo>
                    <a:pt x="762" y="611"/>
                  </a:lnTo>
                  <a:lnTo>
                    <a:pt x="416" y="413"/>
                  </a:lnTo>
                  <a:lnTo>
                    <a:pt x="614" y="758"/>
                  </a:lnTo>
                  <a:lnTo>
                    <a:pt x="229" y="863"/>
                  </a:lnTo>
                  <a:lnTo>
                    <a:pt x="614" y="967"/>
                  </a:lnTo>
                  <a:lnTo>
                    <a:pt x="416" y="1312"/>
                  </a:lnTo>
                  <a:lnTo>
                    <a:pt x="762" y="1115"/>
                  </a:lnTo>
                  <a:lnTo>
                    <a:pt x="867" y="1499"/>
                  </a:lnTo>
                  <a:lnTo>
                    <a:pt x="971" y="1115"/>
                  </a:lnTo>
                  <a:lnTo>
                    <a:pt x="1318" y="1312"/>
                  </a:lnTo>
                  <a:lnTo>
                    <a:pt x="1119" y="9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B94C315A-47BC-77F6-0C72-17EC00BFBD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20388" y="2341563"/>
              <a:ext cx="657225" cy="654050"/>
            </a:xfrm>
            <a:custGeom>
              <a:avLst/>
              <a:gdLst>
                <a:gd name="T0" fmla="*/ 470 w 1242"/>
                <a:gd name="T1" fmla="*/ 619 h 1237"/>
                <a:gd name="T2" fmla="*/ 628 w 1242"/>
                <a:gd name="T3" fmla="*/ 627 h 1237"/>
                <a:gd name="T4" fmla="*/ 621 w 1242"/>
                <a:gd name="T5" fmla="*/ 468 h 1237"/>
                <a:gd name="T6" fmla="*/ 182 w 1242"/>
                <a:gd name="T7" fmla="*/ 1057 h 1237"/>
                <a:gd name="T8" fmla="*/ 504 w 1242"/>
                <a:gd name="T9" fmla="*/ 735 h 1237"/>
                <a:gd name="T10" fmla="*/ 455 w 1242"/>
                <a:gd name="T11" fmla="*/ 621 h 1237"/>
                <a:gd name="T12" fmla="*/ 375 w 1242"/>
                <a:gd name="T13" fmla="*/ 721 h 1237"/>
                <a:gd name="T14" fmla="*/ 467 w 1242"/>
                <a:gd name="T15" fmla="*/ 682 h 1237"/>
                <a:gd name="T16" fmla="*/ 491 w 1242"/>
                <a:gd name="T17" fmla="*/ 722 h 1237"/>
                <a:gd name="T18" fmla="*/ 467 w 1242"/>
                <a:gd name="T19" fmla="*/ 682 h 1237"/>
                <a:gd name="T20" fmla="*/ 723 w 1242"/>
                <a:gd name="T21" fmla="*/ 864 h 1237"/>
                <a:gd name="T22" fmla="*/ 712 w 1242"/>
                <a:gd name="T23" fmla="*/ 756 h 1237"/>
                <a:gd name="T24" fmla="*/ 455 w 1242"/>
                <a:gd name="T25" fmla="*/ 616 h 1237"/>
                <a:gd name="T26" fmla="*/ 458 w 1242"/>
                <a:gd name="T27" fmla="*/ 586 h 1237"/>
                <a:gd name="T28" fmla="*/ 375 w 1242"/>
                <a:gd name="T29" fmla="*/ 517 h 1237"/>
                <a:gd name="T30" fmla="*/ 621 w 1242"/>
                <a:gd name="T31" fmla="*/ 784 h 1237"/>
                <a:gd name="T32" fmla="*/ 723 w 1242"/>
                <a:gd name="T33" fmla="*/ 864 h 1237"/>
                <a:gd name="T34" fmla="*/ 723 w 1242"/>
                <a:gd name="T35" fmla="*/ 864 h 1237"/>
                <a:gd name="T36" fmla="*/ 723 w 1242"/>
                <a:gd name="T37" fmla="*/ 864 h 1237"/>
                <a:gd name="T38" fmla="*/ 519 w 1242"/>
                <a:gd name="T39" fmla="*/ 864 h 1237"/>
                <a:gd name="T40" fmla="*/ 586 w 1242"/>
                <a:gd name="T41" fmla="*/ 781 h 1237"/>
                <a:gd name="T42" fmla="*/ 519 w 1242"/>
                <a:gd name="T43" fmla="*/ 864 h 1237"/>
                <a:gd name="T44" fmla="*/ 738 w 1242"/>
                <a:gd name="T45" fmla="*/ 735 h 1237"/>
                <a:gd name="T46" fmla="*/ 739 w 1242"/>
                <a:gd name="T47" fmla="*/ 733 h 1237"/>
                <a:gd name="T48" fmla="*/ 785 w 1242"/>
                <a:gd name="T49" fmla="*/ 637 h 1237"/>
                <a:gd name="T50" fmla="*/ 774 w 1242"/>
                <a:gd name="T51" fmla="*/ 682 h 1237"/>
                <a:gd name="T52" fmla="*/ 867 w 1242"/>
                <a:gd name="T53" fmla="*/ 517 h 1237"/>
                <a:gd name="T54" fmla="*/ 787 w 1242"/>
                <a:gd name="T55" fmla="*/ 619 h 1237"/>
                <a:gd name="T56" fmla="*/ 867 w 1242"/>
                <a:gd name="T57" fmla="*/ 517 h 1237"/>
                <a:gd name="T58" fmla="*/ 749 w 1242"/>
                <a:gd name="T59" fmla="*/ 515 h 1237"/>
                <a:gd name="T60" fmla="*/ 774 w 1242"/>
                <a:gd name="T61" fmla="*/ 555 h 1237"/>
                <a:gd name="T62" fmla="*/ 501 w 1242"/>
                <a:gd name="T63" fmla="*/ 504 h 1237"/>
                <a:gd name="T64" fmla="*/ 375 w 1242"/>
                <a:gd name="T65" fmla="*/ 517 h 1237"/>
                <a:gd name="T66" fmla="*/ 519 w 1242"/>
                <a:gd name="T67" fmla="*/ 373 h 1237"/>
                <a:gd name="T68" fmla="*/ 529 w 1242"/>
                <a:gd name="T69" fmla="*/ 481 h 1237"/>
                <a:gd name="T70" fmla="*/ 519 w 1242"/>
                <a:gd name="T71" fmla="*/ 373 h 1237"/>
                <a:gd name="T72" fmla="*/ 1060 w 1242"/>
                <a:gd name="T73" fmla="*/ 181 h 1237"/>
                <a:gd name="T74" fmla="*/ 738 w 1242"/>
                <a:gd name="T75" fmla="*/ 502 h 1237"/>
                <a:gd name="T76" fmla="*/ 621 w 1242"/>
                <a:gd name="T77" fmla="*/ 0 h 1237"/>
                <a:gd name="T78" fmla="*/ 621 w 1242"/>
                <a:gd name="T79" fmla="*/ 453 h 1237"/>
                <a:gd name="T80" fmla="*/ 622 w 1242"/>
                <a:gd name="T81" fmla="*/ 453 h 1237"/>
                <a:gd name="T82" fmla="*/ 670 w 1242"/>
                <a:gd name="T83" fmla="*/ 461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2" h="1237">
                  <a:moveTo>
                    <a:pt x="621" y="468"/>
                  </a:moveTo>
                  <a:lnTo>
                    <a:pt x="612" y="611"/>
                  </a:lnTo>
                  <a:lnTo>
                    <a:pt x="470" y="619"/>
                  </a:lnTo>
                  <a:lnTo>
                    <a:pt x="612" y="627"/>
                  </a:lnTo>
                  <a:lnTo>
                    <a:pt x="621" y="769"/>
                  </a:lnTo>
                  <a:lnTo>
                    <a:pt x="628" y="627"/>
                  </a:lnTo>
                  <a:lnTo>
                    <a:pt x="772" y="619"/>
                  </a:lnTo>
                  <a:lnTo>
                    <a:pt x="628" y="611"/>
                  </a:lnTo>
                  <a:lnTo>
                    <a:pt x="621" y="468"/>
                  </a:lnTo>
                  <a:close/>
                  <a:moveTo>
                    <a:pt x="504" y="735"/>
                  </a:moveTo>
                  <a:lnTo>
                    <a:pt x="504" y="735"/>
                  </a:lnTo>
                  <a:lnTo>
                    <a:pt x="182" y="1057"/>
                  </a:lnTo>
                  <a:lnTo>
                    <a:pt x="519" y="864"/>
                  </a:lnTo>
                  <a:lnTo>
                    <a:pt x="506" y="738"/>
                  </a:lnTo>
                  <a:lnTo>
                    <a:pt x="504" y="735"/>
                  </a:lnTo>
                  <a:close/>
                  <a:moveTo>
                    <a:pt x="375" y="721"/>
                  </a:moveTo>
                  <a:lnTo>
                    <a:pt x="375" y="7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0" y="619"/>
                  </a:lnTo>
                  <a:lnTo>
                    <a:pt x="375" y="721"/>
                  </a:lnTo>
                  <a:lnTo>
                    <a:pt x="375" y="721"/>
                  </a:lnTo>
                  <a:close/>
                  <a:moveTo>
                    <a:pt x="467" y="682"/>
                  </a:moveTo>
                  <a:lnTo>
                    <a:pt x="467" y="682"/>
                  </a:lnTo>
                  <a:lnTo>
                    <a:pt x="375" y="721"/>
                  </a:lnTo>
                  <a:lnTo>
                    <a:pt x="503" y="733"/>
                  </a:lnTo>
                  <a:lnTo>
                    <a:pt x="491" y="722"/>
                  </a:lnTo>
                  <a:lnTo>
                    <a:pt x="483" y="710"/>
                  </a:lnTo>
                  <a:lnTo>
                    <a:pt x="474" y="696"/>
                  </a:lnTo>
                  <a:lnTo>
                    <a:pt x="467" y="682"/>
                  </a:lnTo>
                  <a:close/>
                  <a:moveTo>
                    <a:pt x="684" y="771"/>
                  </a:moveTo>
                  <a:lnTo>
                    <a:pt x="684" y="771"/>
                  </a:lnTo>
                  <a:lnTo>
                    <a:pt x="723" y="864"/>
                  </a:lnTo>
                  <a:lnTo>
                    <a:pt x="736" y="736"/>
                  </a:lnTo>
                  <a:lnTo>
                    <a:pt x="725" y="748"/>
                  </a:lnTo>
                  <a:lnTo>
                    <a:pt x="712" y="756"/>
                  </a:lnTo>
                  <a:lnTo>
                    <a:pt x="699" y="765"/>
                  </a:lnTo>
                  <a:lnTo>
                    <a:pt x="684" y="771"/>
                  </a:lnTo>
                  <a:close/>
                  <a:moveTo>
                    <a:pt x="455" y="616"/>
                  </a:moveTo>
                  <a:lnTo>
                    <a:pt x="455" y="616"/>
                  </a:lnTo>
                  <a:lnTo>
                    <a:pt x="455" y="600"/>
                  </a:lnTo>
                  <a:lnTo>
                    <a:pt x="458" y="586"/>
                  </a:lnTo>
                  <a:lnTo>
                    <a:pt x="463" y="570"/>
                  </a:lnTo>
                  <a:lnTo>
                    <a:pt x="467" y="555"/>
                  </a:lnTo>
                  <a:lnTo>
                    <a:pt x="375" y="517"/>
                  </a:lnTo>
                  <a:lnTo>
                    <a:pt x="455" y="616"/>
                  </a:lnTo>
                  <a:close/>
                  <a:moveTo>
                    <a:pt x="621" y="784"/>
                  </a:moveTo>
                  <a:lnTo>
                    <a:pt x="621" y="784"/>
                  </a:lnTo>
                  <a:lnTo>
                    <a:pt x="621" y="1237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624" y="784"/>
                  </a:lnTo>
                  <a:lnTo>
                    <a:pt x="621" y="784"/>
                  </a:lnTo>
                  <a:close/>
                  <a:moveTo>
                    <a:pt x="723" y="864"/>
                  </a:move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close/>
                  <a:moveTo>
                    <a:pt x="519" y="864"/>
                  </a:moveTo>
                  <a:lnTo>
                    <a:pt x="519" y="864"/>
                  </a:lnTo>
                  <a:lnTo>
                    <a:pt x="618" y="784"/>
                  </a:lnTo>
                  <a:lnTo>
                    <a:pt x="602" y="782"/>
                  </a:lnTo>
                  <a:lnTo>
                    <a:pt x="586" y="781"/>
                  </a:lnTo>
                  <a:lnTo>
                    <a:pt x="572" y="777"/>
                  </a:lnTo>
                  <a:lnTo>
                    <a:pt x="558" y="771"/>
                  </a:lnTo>
                  <a:lnTo>
                    <a:pt x="519" y="864"/>
                  </a:lnTo>
                  <a:close/>
                  <a:moveTo>
                    <a:pt x="739" y="733"/>
                  </a:moveTo>
                  <a:lnTo>
                    <a:pt x="739" y="733"/>
                  </a:lnTo>
                  <a:lnTo>
                    <a:pt x="738" y="735"/>
                  </a:lnTo>
                  <a:lnTo>
                    <a:pt x="1060" y="1057"/>
                  </a:lnTo>
                  <a:lnTo>
                    <a:pt x="867" y="721"/>
                  </a:lnTo>
                  <a:lnTo>
                    <a:pt x="739" y="733"/>
                  </a:lnTo>
                  <a:close/>
                  <a:moveTo>
                    <a:pt x="787" y="621"/>
                  </a:moveTo>
                  <a:lnTo>
                    <a:pt x="787" y="621"/>
                  </a:lnTo>
                  <a:lnTo>
                    <a:pt x="785" y="637"/>
                  </a:lnTo>
                  <a:lnTo>
                    <a:pt x="782" y="653"/>
                  </a:lnTo>
                  <a:lnTo>
                    <a:pt x="779" y="667"/>
                  </a:lnTo>
                  <a:lnTo>
                    <a:pt x="774" y="682"/>
                  </a:lnTo>
                  <a:lnTo>
                    <a:pt x="867" y="721"/>
                  </a:lnTo>
                  <a:lnTo>
                    <a:pt x="787" y="621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87" y="616"/>
                  </a:lnTo>
                  <a:lnTo>
                    <a:pt x="787" y="619"/>
                  </a:lnTo>
                  <a:lnTo>
                    <a:pt x="1242" y="619"/>
                  </a:lnTo>
                  <a:lnTo>
                    <a:pt x="867" y="517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39" y="504"/>
                  </a:lnTo>
                  <a:lnTo>
                    <a:pt x="749" y="515"/>
                  </a:lnTo>
                  <a:lnTo>
                    <a:pt x="759" y="528"/>
                  </a:lnTo>
                  <a:lnTo>
                    <a:pt x="766" y="541"/>
                  </a:lnTo>
                  <a:lnTo>
                    <a:pt x="774" y="555"/>
                  </a:lnTo>
                  <a:lnTo>
                    <a:pt x="867" y="517"/>
                  </a:lnTo>
                  <a:close/>
                  <a:moveTo>
                    <a:pt x="501" y="504"/>
                  </a:moveTo>
                  <a:lnTo>
                    <a:pt x="501" y="504"/>
                  </a:lnTo>
                  <a:lnTo>
                    <a:pt x="504" y="502"/>
                  </a:lnTo>
                  <a:lnTo>
                    <a:pt x="182" y="181"/>
                  </a:lnTo>
                  <a:lnTo>
                    <a:pt x="375" y="517"/>
                  </a:lnTo>
                  <a:lnTo>
                    <a:pt x="501" y="504"/>
                  </a:lnTo>
                  <a:close/>
                  <a:moveTo>
                    <a:pt x="519" y="373"/>
                  </a:moveTo>
                  <a:lnTo>
                    <a:pt x="519" y="373"/>
                  </a:lnTo>
                  <a:lnTo>
                    <a:pt x="506" y="501"/>
                  </a:lnTo>
                  <a:lnTo>
                    <a:pt x="517" y="491"/>
                  </a:lnTo>
                  <a:lnTo>
                    <a:pt x="529" y="481"/>
                  </a:lnTo>
                  <a:lnTo>
                    <a:pt x="543" y="474"/>
                  </a:lnTo>
                  <a:lnTo>
                    <a:pt x="558" y="466"/>
                  </a:lnTo>
                  <a:lnTo>
                    <a:pt x="519" y="373"/>
                  </a:lnTo>
                  <a:close/>
                  <a:moveTo>
                    <a:pt x="738" y="502"/>
                  </a:moveTo>
                  <a:lnTo>
                    <a:pt x="738" y="502"/>
                  </a:lnTo>
                  <a:lnTo>
                    <a:pt x="1060" y="181"/>
                  </a:lnTo>
                  <a:lnTo>
                    <a:pt x="723" y="373"/>
                  </a:lnTo>
                  <a:lnTo>
                    <a:pt x="736" y="501"/>
                  </a:lnTo>
                  <a:lnTo>
                    <a:pt x="738" y="502"/>
                  </a:lnTo>
                  <a:close/>
                  <a:moveTo>
                    <a:pt x="621" y="453"/>
                  </a:moveTo>
                  <a:lnTo>
                    <a:pt x="621" y="453"/>
                  </a:lnTo>
                  <a:lnTo>
                    <a:pt x="621" y="0"/>
                  </a:lnTo>
                  <a:lnTo>
                    <a:pt x="519" y="373"/>
                  </a:lnTo>
                  <a:lnTo>
                    <a:pt x="618" y="453"/>
                  </a:lnTo>
                  <a:lnTo>
                    <a:pt x="621" y="453"/>
                  </a:lnTo>
                  <a:close/>
                  <a:moveTo>
                    <a:pt x="723" y="373"/>
                  </a:moveTo>
                  <a:lnTo>
                    <a:pt x="723" y="373"/>
                  </a:lnTo>
                  <a:lnTo>
                    <a:pt x="622" y="453"/>
                  </a:lnTo>
                  <a:lnTo>
                    <a:pt x="640" y="455"/>
                  </a:lnTo>
                  <a:lnTo>
                    <a:pt x="654" y="458"/>
                  </a:lnTo>
                  <a:lnTo>
                    <a:pt x="670" y="461"/>
                  </a:lnTo>
                  <a:lnTo>
                    <a:pt x="684" y="466"/>
                  </a:lnTo>
                  <a:lnTo>
                    <a:pt x="723" y="373"/>
                  </a:lnTo>
                  <a:close/>
                </a:path>
              </a:pathLst>
            </a:custGeom>
            <a:solidFill>
              <a:srgbClr val="B8B8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1A68B2DA-2152-2B25-6799-B0BFBCD83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63275" y="2582863"/>
              <a:ext cx="171450" cy="169863"/>
            </a:xfrm>
            <a:custGeom>
              <a:avLst/>
              <a:gdLst>
                <a:gd name="T0" fmla="*/ 170 w 322"/>
                <a:gd name="T1" fmla="*/ 184 h 321"/>
                <a:gd name="T2" fmla="*/ 178 w 322"/>
                <a:gd name="T3" fmla="*/ 321 h 321"/>
                <a:gd name="T4" fmla="*/ 210 w 322"/>
                <a:gd name="T5" fmla="*/ 314 h 321"/>
                <a:gd name="T6" fmla="*/ 239 w 322"/>
                <a:gd name="T7" fmla="*/ 303 h 321"/>
                <a:gd name="T8" fmla="*/ 263 w 322"/>
                <a:gd name="T9" fmla="*/ 285 h 321"/>
                <a:gd name="T10" fmla="*/ 285 w 322"/>
                <a:gd name="T11" fmla="*/ 264 h 321"/>
                <a:gd name="T12" fmla="*/ 302 w 322"/>
                <a:gd name="T13" fmla="*/ 238 h 321"/>
                <a:gd name="T14" fmla="*/ 315 w 322"/>
                <a:gd name="T15" fmla="*/ 209 h 321"/>
                <a:gd name="T16" fmla="*/ 321 w 322"/>
                <a:gd name="T17" fmla="*/ 178 h 321"/>
                <a:gd name="T18" fmla="*/ 183 w 322"/>
                <a:gd name="T19" fmla="*/ 171 h 321"/>
                <a:gd name="T20" fmla="*/ 151 w 322"/>
                <a:gd name="T21" fmla="*/ 171 h 321"/>
                <a:gd name="T22" fmla="*/ 138 w 322"/>
                <a:gd name="T23" fmla="*/ 171 h 321"/>
                <a:gd name="T24" fmla="*/ 0 w 322"/>
                <a:gd name="T25" fmla="*/ 178 h 321"/>
                <a:gd name="T26" fmla="*/ 7 w 322"/>
                <a:gd name="T27" fmla="*/ 209 h 321"/>
                <a:gd name="T28" fmla="*/ 18 w 322"/>
                <a:gd name="T29" fmla="*/ 238 h 321"/>
                <a:gd name="T30" fmla="*/ 36 w 322"/>
                <a:gd name="T31" fmla="*/ 264 h 321"/>
                <a:gd name="T32" fmla="*/ 57 w 322"/>
                <a:gd name="T33" fmla="*/ 285 h 321"/>
                <a:gd name="T34" fmla="*/ 83 w 322"/>
                <a:gd name="T35" fmla="*/ 303 h 321"/>
                <a:gd name="T36" fmla="*/ 112 w 322"/>
                <a:gd name="T37" fmla="*/ 314 h 321"/>
                <a:gd name="T38" fmla="*/ 142 w 322"/>
                <a:gd name="T39" fmla="*/ 321 h 321"/>
                <a:gd name="T40" fmla="*/ 151 w 322"/>
                <a:gd name="T41" fmla="*/ 184 h 321"/>
                <a:gd name="T42" fmla="*/ 171 w 322"/>
                <a:gd name="T43" fmla="*/ 151 h 321"/>
                <a:gd name="T44" fmla="*/ 183 w 322"/>
                <a:gd name="T45" fmla="*/ 152 h 321"/>
                <a:gd name="T46" fmla="*/ 321 w 322"/>
                <a:gd name="T47" fmla="*/ 143 h 321"/>
                <a:gd name="T48" fmla="*/ 315 w 322"/>
                <a:gd name="T49" fmla="*/ 112 h 321"/>
                <a:gd name="T50" fmla="*/ 302 w 322"/>
                <a:gd name="T51" fmla="*/ 83 h 321"/>
                <a:gd name="T52" fmla="*/ 285 w 322"/>
                <a:gd name="T53" fmla="*/ 59 h 321"/>
                <a:gd name="T54" fmla="*/ 263 w 322"/>
                <a:gd name="T55" fmla="*/ 37 h 321"/>
                <a:gd name="T56" fmla="*/ 239 w 322"/>
                <a:gd name="T57" fmla="*/ 20 h 321"/>
                <a:gd name="T58" fmla="*/ 210 w 322"/>
                <a:gd name="T59" fmla="*/ 7 h 321"/>
                <a:gd name="T60" fmla="*/ 178 w 322"/>
                <a:gd name="T61" fmla="*/ 1 h 321"/>
                <a:gd name="T62" fmla="*/ 170 w 322"/>
                <a:gd name="T63" fmla="*/ 139 h 321"/>
                <a:gd name="T64" fmla="*/ 0 w 322"/>
                <a:gd name="T65" fmla="*/ 159 h 321"/>
                <a:gd name="T66" fmla="*/ 138 w 322"/>
                <a:gd name="T67" fmla="*/ 152 h 321"/>
                <a:gd name="T68" fmla="*/ 151 w 322"/>
                <a:gd name="T69" fmla="*/ 139 h 321"/>
                <a:gd name="T70" fmla="*/ 142 w 322"/>
                <a:gd name="T71" fmla="*/ 1 h 321"/>
                <a:gd name="T72" fmla="*/ 112 w 322"/>
                <a:gd name="T73" fmla="*/ 7 h 321"/>
                <a:gd name="T74" fmla="*/ 83 w 322"/>
                <a:gd name="T75" fmla="*/ 20 h 321"/>
                <a:gd name="T76" fmla="*/ 57 w 322"/>
                <a:gd name="T77" fmla="*/ 37 h 321"/>
                <a:gd name="T78" fmla="*/ 36 w 322"/>
                <a:gd name="T79" fmla="*/ 59 h 321"/>
                <a:gd name="T80" fmla="*/ 18 w 322"/>
                <a:gd name="T81" fmla="*/ 83 h 321"/>
                <a:gd name="T82" fmla="*/ 7 w 322"/>
                <a:gd name="T83" fmla="*/ 112 h 321"/>
                <a:gd name="T84" fmla="*/ 0 w 322"/>
                <a:gd name="T85" fmla="*/ 1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2" h="321">
                  <a:moveTo>
                    <a:pt x="171" y="171"/>
                  </a:moveTo>
                  <a:lnTo>
                    <a:pt x="170" y="184"/>
                  </a:lnTo>
                  <a:lnTo>
                    <a:pt x="162" y="321"/>
                  </a:lnTo>
                  <a:lnTo>
                    <a:pt x="178" y="321"/>
                  </a:lnTo>
                  <a:lnTo>
                    <a:pt x="194" y="319"/>
                  </a:lnTo>
                  <a:lnTo>
                    <a:pt x="210" y="314"/>
                  </a:lnTo>
                  <a:lnTo>
                    <a:pt x="224" y="308"/>
                  </a:lnTo>
                  <a:lnTo>
                    <a:pt x="239" y="303"/>
                  </a:lnTo>
                  <a:lnTo>
                    <a:pt x="252" y="294"/>
                  </a:lnTo>
                  <a:lnTo>
                    <a:pt x="263" y="285"/>
                  </a:lnTo>
                  <a:lnTo>
                    <a:pt x="275" y="274"/>
                  </a:lnTo>
                  <a:lnTo>
                    <a:pt x="285" y="264"/>
                  </a:lnTo>
                  <a:lnTo>
                    <a:pt x="295" y="251"/>
                  </a:lnTo>
                  <a:lnTo>
                    <a:pt x="302" y="238"/>
                  </a:lnTo>
                  <a:lnTo>
                    <a:pt x="309" y="224"/>
                  </a:lnTo>
                  <a:lnTo>
                    <a:pt x="315" y="209"/>
                  </a:lnTo>
                  <a:lnTo>
                    <a:pt x="318" y="194"/>
                  </a:lnTo>
                  <a:lnTo>
                    <a:pt x="321" y="178"/>
                  </a:lnTo>
                  <a:lnTo>
                    <a:pt x="322" y="162"/>
                  </a:lnTo>
                  <a:lnTo>
                    <a:pt x="183" y="171"/>
                  </a:lnTo>
                  <a:lnTo>
                    <a:pt x="171" y="171"/>
                  </a:lnTo>
                  <a:close/>
                  <a:moveTo>
                    <a:pt x="151" y="171"/>
                  </a:moveTo>
                  <a:lnTo>
                    <a:pt x="151" y="171"/>
                  </a:lnTo>
                  <a:lnTo>
                    <a:pt x="138" y="171"/>
                  </a:lnTo>
                  <a:lnTo>
                    <a:pt x="0" y="162"/>
                  </a:lnTo>
                  <a:lnTo>
                    <a:pt x="0" y="178"/>
                  </a:lnTo>
                  <a:lnTo>
                    <a:pt x="3" y="194"/>
                  </a:lnTo>
                  <a:lnTo>
                    <a:pt x="7" y="209"/>
                  </a:lnTo>
                  <a:lnTo>
                    <a:pt x="13" y="224"/>
                  </a:lnTo>
                  <a:lnTo>
                    <a:pt x="18" y="238"/>
                  </a:lnTo>
                  <a:lnTo>
                    <a:pt x="27" y="251"/>
                  </a:lnTo>
                  <a:lnTo>
                    <a:pt x="36" y="264"/>
                  </a:lnTo>
                  <a:lnTo>
                    <a:pt x="47" y="274"/>
                  </a:lnTo>
                  <a:lnTo>
                    <a:pt x="57" y="285"/>
                  </a:lnTo>
                  <a:lnTo>
                    <a:pt x="70" y="294"/>
                  </a:lnTo>
                  <a:lnTo>
                    <a:pt x="83" y="303"/>
                  </a:lnTo>
                  <a:lnTo>
                    <a:pt x="98" y="308"/>
                  </a:lnTo>
                  <a:lnTo>
                    <a:pt x="112" y="314"/>
                  </a:lnTo>
                  <a:lnTo>
                    <a:pt x="126" y="319"/>
                  </a:lnTo>
                  <a:lnTo>
                    <a:pt x="142" y="321"/>
                  </a:lnTo>
                  <a:lnTo>
                    <a:pt x="160" y="321"/>
                  </a:lnTo>
                  <a:lnTo>
                    <a:pt x="151" y="184"/>
                  </a:lnTo>
                  <a:lnTo>
                    <a:pt x="151" y="171"/>
                  </a:lnTo>
                  <a:close/>
                  <a:moveTo>
                    <a:pt x="171" y="151"/>
                  </a:moveTo>
                  <a:lnTo>
                    <a:pt x="171" y="151"/>
                  </a:lnTo>
                  <a:lnTo>
                    <a:pt x="183" y="152"/>
                  </a:lnTo>
                  <a:lnTo>
                    <a:pt x="322" y="159"/>
                  </a:lnTo>
                  <a:lnTo>
                    <a:pt x="321" y="143"/>
                  </a:lnTo>
                  <a:lnTo>
                    <a:pt x="318" y="128"/>
                  </a:lnTo>
                  <a:lnTo>
                    <a:pt x="315" y="112"/>
                  </a:lnTo>
                  <a:lnTo>
                    <a:pt x="309" y="97"/>
                  </a:lnTo>
                  <a:lnTo>
                    <a:pt x="302" y="83"/>
                  </a:lnTo>
                  <a:lnTo>
                    <a:pt x="295" y="70"/>
                  </a:lnTo>
                  <a:lnTo>
                    <a:pt x="285" y="59"/>
                  </a:lnTo>
                  <a:lnTo>
                    <a:pt x="275" y="47"/>
                  </a:lnTo>
                  <a:lnTo>
                    <a:pt x="263" y="37"/>
                  </a:lnTo>
                  <a:lnTo>
                    <a:pt x="252" y="27"/>
                  </a:lnTo>
                  <a:lnTo>
                    <a:pt x="239" y="20"/>
                  </a:lnTo>
                  <a:lnTo>
                    <a:pt x="224" y="13"/>
                  </a:lnTo>
                  <a:lnTo>
                    <a:pt x="210" y="7"/>
                  </a:lnTo>
                  <a:lnTo>
                    <a:pt x="194" y="4"/>
                  </a:lnTo>
                  <a:lnTo>
                    <a:pt x="178" y="1"/>
                  </a:lnTo>
                  <a:lnTo>
                    <a:pt x="162" y="0"/>
                  </a:lnTo>
                  <a:lnTo>
                    <a:pt x="170" y="139"/>
                  </a:lnTo>
                  <a:lnTo>
                    <a:pt x="171" y="151"/>
                  </a:lnTo>
                  <a:close/>
                  <a:moveTo>
                    <a:pt x="0" y="159"/>
                  </a:moveTo>
                  <a:lnTo>
                    <a:pt x="0" y="159"/>
                  </a:lnTo>
                  <a:lnTo>
                    <a:pt x="138" y="152"/>
                  </a:lnTo>
                  <a:lnTo>
                    <a:pt x="151" y="151"/>
                  </a:lnTo>
                  <a:lnTo>
                    <a:pt x="151" y="139"/>
                  </a:lnTo>
                  <a:lnTo>
                    <a:pt x="160" y="0"/>
                  </a:lnTo>
                  <a:lnTo>
                    <a:pt x="142" y="1"/>
                  </a:lnTo>
                  <a:lnTo>
                    <a:pt x="126" y="4"/>
                  </a:lnTo>
                  <a:lnTo>
                    <a:pt x="112" y="7"/>
                  </a:lnTo>
                  <a:lnTo>
                    <a:pt x="98" y="13"/>
                  </a:lnTo>
                  <a:lnTo>
                    <a:pt x="83" y="20"/>
                  </a:lnTo>
                  <a:lnTo>
                    <a:pt x="70" y="27"/>
                  </a:lnTo>
                  <a:lnTo>
                    <a:pt x="57" y="37"/>
                  </a:lnTo>
                  <a:lnTo>
                    <a:pt x="47" y="47"/>
                  </a:lnTo>
                  <a:lnTo>
                    <a:pt x="36" y="59"/>
                  </a:lnTo>
                  <a:lnTo>
                    <a:pt x="27" y="70"/>
                  </a:lnTo>
                  <a:lnTo>
                    <a:pt x="18" y="83"/>
                  </a:lnTo>
                  <a:lnTo>
                    <a:pt x="13" y="97"/>
                  </a:lnTo>
                  <a:lnTo>
                    <a:pt x="7" y="112"/>
                  </a:lnTo>
                  <a:lnTo>
                    <a:pt x="3" y="128"/>
                  </a:lnTo>
                  <a:lnTo>
                    <a:pt x="0" y="143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8CBCFA57-D499-C5A4-DCD9-D15BA3233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35250"/>
              <a:ext cx="65088" cy="31750"/>
            </a:xfrm>
            <a:custGeom>
              <a:avLst/>
              <a:gdLst>
                <a:gd name="T0" fmla="*/ 61 w 121"/>
                <a:gd name="T1" fmla="*/ 0 h 60"/>
                <a:gd name="T2" fmla="*/ 61 w 121"/>
                <a:gd name="T3" fmla="*/ 0 h 60"/>
                <a:gd name="T4" fmla="*/ 29 w 121"/>
                <a:gd name="T5" fmla="*/ 0 h 60"/>
                <a:gd name="T6" fmla="*/ 29 w 121"/>
                <a:gd name="T7" fmla="*/ 0 h 60"/>
                <a:gd name="T8" fmla="*/ 0 w 121"/>
                <a:gd name="T9" fmla="*/ 29 h 60"/>
                <a:gd name="T10" fmla="*/ 0 w 121"/>
                <a:gd name="T11" fmla="*/ 46 h 60"/>
                <a:gd name="T12" fmla="*/ 9 w 121"/>
                <a:gd name="T13" fmla="*/ 54 h 60"/>
                <a:gd name="T14" fmla="*/ 121 w 121"/>
                <a:gd name="T15" fmla="*/ 60 h 60"/>
                <a:gd name="T16" fmla="*/ 61 w 121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60">
                  <a:moveTo>
                    <a:pt x="61" y="0"/>
                  </a:moveTo>
                  <a:lnTo>
                    <a:pt x="6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46"/>
                  </a:lnTo>
                  <a:lnTo>
                    <a:pt x="9" y="54"/>
                  </a:lnTo>
                  <a:lnTo>
                    <a:pt x="121" y="6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5CAFA9FE-5995-FAA3-829B-BAD3C15C4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68588"/>
              <a:ext cx="65088" cy="31750"/>
            </a:xfrm>
            <a:custGeom>
              <a:avLst/>
              <a:gdLst>
                <a:gd name="T0" fmla="*/ 9 w 121"/>
                <a:gd name="T1" fmla="*/ 7 h 60"/>
                <a:gd name="T2" fmla="*/ 0 w 121"/>
                <a:gd name="T3" fmla="*/ 14 h 60"/>
                <a:gd name="T4" fmla="*/ 0 w 121"/>
                <a:gd name="T5" fmla="*/ 32 h 60"/>
                <a:gd name="T6" fmla="*/ 29 w 121"/>
                <a:gd name="T7" fmla="*/ 60 h 60"/>
                <a:gd name="T8" fmla="*/ 61 w 121"/>
                <a:gd name="T9" fmla="*/ 60 h 60"/>
                <a:gd name="T10" fmla="*/ 121 w 121"/>
                <a:gd name="T11" fmla="*/ 0 h 60"/>
                <a:gd name="T12" fmla="*/ 9 w 121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60">
                  <a:moveTo>
                    <a:pt x="9" y="7"/>
                  </a:moveTo>
                  <a:lnTo>
                    <a:pt x="0" y="14"/>
                  </a:lnTo>
                  <a:lnTo>
                    <a:pt x="0" y="32"/>
                  </a:lnTo>
                  <a:lnTo>
                    <a:pt x="29" y="60"/>
                  </a:lnTo>
                  <a:lnTo>
                    <a:pt x="61" y="60"/>
                  </a:lnTo>
                  <a:lnTo>
                    <a:pt x="121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4FB3DA4-F46C-7393-F8F5-80B572A2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35250"/>
              <a:ext cx="63500" cy="31750"/>
            </a:xfrm>
            <a:custGeom>
              <a:avLst/>
              <a:gdLst>
                <a:gd name="T0" fmla="*/ 59 w 119"/>
                <a:gd name="T1" fmla="*/ 0 h 60"/>
                <a:gd name="T2" fmla="*/ 59 w 119"/>
                <a:gd name="T3" fmla="*/ 0 h 60"/>
                <a:gd name="T4" fmla="*/ 92 w 119"/>
                <a:gd name="T5" fmla="*/ 0 h 60"/>
                <a:gd name="T6" fmla="*/ 92 w 119"/>
                <a:gd name="T7" fmla="*/ 0 h 60"/>
                <a:gd name="T8" fmla="*/ 119 w 119"/>
                <a:gd name="T9" fmla="*/ 29 h 60"/>
                <a:gd name="T10" fmla="*/ 119 w 119"/>
                <a:gd name="T11" fmla="*/ 46 h 60"/>
                <a:gd name="T12" fmla="*/ 112 w 119"/>
                <a:gd name="T13" fmla="*/ 54 h 60"/>
                <a:gd name="T14" fmla="*/ 0 w 119"/>
                <a:gd name="T15" fmla="*/ 60 h 60"/>
                <a:gd name="T16" fmla="*/ 59 w 119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60">
                  <a:moveTo>
                    <a:pt x="59" y="0"/>
                  </a:moveTo>
                  <a:lnTo>
                    <a:pt x="59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19" y="29"/>
                  </a:lnTo>
                  <a:lnTo>
                    <a:pt x="119" y="46"/>
                  </a:lnTo>
                  <a:lnTo>
                    <a:pt x="112" y="54"/>
                  </a:lnTo>
                  <a:lnTo>
                    <a:pt x="0" y="6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CC365492-0639-DB67-CAF8-885118405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68588"/>
              <a:ext cx="63500" cy="31750"/>
            </a:xfrm>
            <a:custGeom>
              <a:avLst/>
              <a:gdLst>
                <a:gd name="T0" fmla="*/ 112 w 119"/>
                <a:gd name="T1" fmla="*/ 7 h 60"/>
                <a:gd name="T2" fmla="*/ 119 w 119"/>
                <a:gd name="T3" fmla="*/ 14 h 60"/>
                <a:gd name="T4" fmla="*/ 119 w 119"/>
                <a:gd name="T5" fmla="*/ 32 h 60"/>
                <a:gd name="T6" fmla="*/ 90 w 119"/>
                <a:gd name="T7" fmla="*/ 60 h 60"/>
                <a:gd name="T8" fmla="*/ 60 w 119"/>
                <a:gd name="T9" fmla="*/ 60 h 60"/>
                <a:gd name="T10" fmla="*/ 0 w 119"/>
                <a:gd name="T11" fmla="*/ 0 h 60"/>
                <a:gd name="T12" fmla="*/ 112 w 119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60">
                  <a:moveTo>
                    <a:pt x="112" y="7"/>
                  </a:moveTo>
                  <a:lnTo>
                    <a:pt x="119" y="14"/>
                  </a:lnTo>
                  <a:lnTo>
                    <a:pt x="119" y="32"/>
                  </a:lnTo>
                  <a:lnTo>
                    <a:pt x="90" y="60"/>
                  </a:lnTo>
                  <a:lnTo>
                    <a:pt x="60" y="60"/>
                  </a:lnTo>
                  <a:lnTo>
                    <a:pt x="0" y="0"/>
                  </a:lnTo>
                  <a:lnTo>
                    <a:pt x="112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8823327-977F-71A1-F6F8-7ED3653F2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584450"/>
              <a:ext cx="33338" cy="63500"/>
            </a:xfrm>
            <a:custGeom>
              <a:avLst/>
              <a:gdLst>
                <a:gd name="T0" fmla="*/ 61 w 61"/>
                <a:gd name="T1" fmla="*/ 60 h 120"/>
                <a:gd name="T2" fmla="*/ 59 w 61"/>
                <a:gd name="T3" fmla="*/ 60 h 120"/>
                <a:gd name="T4" fmla="*/ 59 w 61"/>
                <a:gd name="T5" fmla="*/ 92 h 120"/>
                <a:gd name="T6" fmla="*/ 61 w 61"/>
                <a:gd name="T7" fmla="*/ 92 h 120"/>
                <a:gd name="T8" fmla="*/ 32 w 61"/>
                <a:gd name="T9" fmla="*/ 120 h 120"/>
                <a:gd name="T10" fmla="*/ 15 w 61"/>
                <a:gd name="T11" fmla="*/ 120 h 120"/>
                <a:gd name="T12" fmla="*/ 6 w 61"/>
                <a:gd name="T13" fmla="*/ 112 h 120"/>
                <a:gd name="T14" fmla="*/ 0 w 61"/>
                <a:gd name="T15" fmla="*/ 0 h 120"/>
                <a:gd name="T16" fmla="*/ 61 w 61"/>
                <a:gd name="T17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0"/>
                  </a:moveTo>
                  <a:lnTo>
                    <a:pt x="59" y="60"/>
                  </a:lnTo>
                  <a:lnTo>
                    <a:pt x="59" y="92"/>
                  </a:lnTo>
                  <a:lnTo>
                    <a:pt x="61" y="92"/>
                  </a:lnTo>
                  <a:lnTo>
                    <a:pt x="32" y="120"/>
                  </a:lnTo>
                  <a:lnTo>
                    <a:pt x="15" y="120"/>
                  </a:lnTo>
                  <a:lnTo>
                    <a:pt x="6" y="112"/>
                  </a:lnTo>
                  <a:lnTo>
                    <a:pt x="0" y="0"/>
                  </a:lnTo>
                  <a:lnTo>
                    <a:pt x="61" y="6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A070502B-1D7D-A90A-4B66-F1368334B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584450"/>
              <a:ext cx="33338" cy="63500"/>
            </a:xfrm>
            <a:custGeom>
              <a:avLst/>
              <a:gdLst>
                <a:gd name="T0" fmla="*/ 53 w 61"/>
                <a:gd name="T1" fmla="*/ 112 h 120"/>
                <a:gd name="T2" fmla="*/ 46 w 61"/>
                <a:gd name="T3" fmla="*/ 120 h 120"/>
                <a:gd name="T4" fmla="*/ 29 w 61"/>
                <a:gd name="T5" fmla="*/ 120 h 120"/>
                <a:gd name="T6" fmla="*/ 0 w 61"/>
                <a:gd name="T7" fmla="*/ 92 h 120"/>
                <a:gd name="T8" fmla="*/ 0 w 61"/>
                <a:gd name="T9" fmla="*/ 60 h 120"/>
                <a:gd name="T10" fmla="*/ 61 w 61"/>
                <a:gd name="T11" fmla="*/ 0 h 120"/>
                <a:gd name="T12" fmla="*/ 53 w 61"/>
                <a:gd name="T13" fmla="*/ 11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112"/>
                  </a:moveTo>
                  <a:lnTo>
                    <a:pt x="46" y="120"/>
                  </a:lnTo>
                  <a:lnTo>
                    <a:pt x="29" y="120"/>
                  </a:lnTo>
                  <a:lnTo>
                    <a:pt x="0" y="92"/>
                  </a:lnTo>
                  <a:lnTo>
                    <a:pt x="0" y="60"/>
                  </a:lnTo>
                  <a:lnTo>
                    <a:pt x="61" y="0"/>
                  </a:lnTo>
                  <a:lnTo>
                    <a:pt x="53" y="112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F2E26F5F-4D8F-9704-B65C-31B3D29D7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689225"/>
              <a:ext cx="33338" cy="63500"/>
            </a:xfrm>
            <a:custGeom>
              <a:avLst/>
              <a:gdLst>
                <a:gd name="T0" fmla="*/ 61 w 61"/>
                <a:gd name="T1" fmla="*/ 61 h 120"/>
                <a:gd name="T2" fmla="*/ 59 w 61"/>
                <a:gd name="T3" fmla="*/ 61 h 120"/>
                <a:gd name="T4" fmla="*/ 59 w 61"/>
                <a:gd name="T5" fmla="*/ 28 h 120"/>
                <a:gd name="T6" fmla="*/ 61 w 61"/>
                <a:gd name="T7" fmla="*/ 28 h 120"/>
                <a:gd name="T8" fmla="*/ 32 w 61"/>
                <a:gd name="T9" fmla="*/ 0 h 120"/>
                <a:gd name="T10" fmla="*/ 15 w 61"/>
                <a:gd name="T11" fmla="*/ 0 h 120"/>
                <a:gd name="T12" fmla="*/ 6 w 61"/>
                <a:gd name="T13" fmla="*/ 8 h 120"/>
                <a:gd name="T14" fmla="*/ 0 w 61"/>
                <a:gd name="T15" fmla="*/ 120 h 120"/>
                <a:gd name="T16" fmla="*/ 61 w 61"/>
                <a:gd name="T17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1"/>
                  </a:moveTo>
                  <a:lnTo>
                    <a:pt x="59" y="61"/>
                  </a:lnTo>
                  <a:lnTo>
                    <a:pt x="59" y="28"/>
                  </a:lnTo>
                  <a:lnTo>
                    <a:pt x="61" y="28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6" y="8"/>
                  </a:lnTo>
                  <a:lnTo>
                    <a:pt x="0" y="120"/>
                  </a:lnTo>
                  <a:lnTo>
                    <a:pt x="61" y="61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EF42C38A-2B1C-7116-029F-45741B7F1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689225"/>
              <a:ext cx="33338" cy="63500"/>
            </a:xfrm>
            <a:custGeom>
              <a:avLst/>
              <a:gdLst>
                <a:gd name="T0" fmla="*/ 53 w 61"/>
                <a:gd name="T1" fmla="*/ 8 h 120"/>
                <a:gd name="T2" fmla="*/ 46 w 61"/>
                <a:gd name="T3" fmla="*/ 0 h 120"/>
                <a:gd name="T4" fmla="*/ 29 w 61"/>
                <a:gd name="T5" fmla="*/ 0 h 120"/>
                <a:gd name="T6" fmla="*/ 0 w 61"/>
                <a:gd name="T7" fmla="*/ 29 h 120"/>
                <a:gd name="T8" fmla="*/ 0 w 61"/>
                <a:gd name="T9" fmla="*/ 59 h 120"/>
                <a:gd name="T10" fmla="*/ 61 w 61"/>
                <a:gd name="T11" fmla="*/ 120 h 120"/>
                <a:gd name="T12" fmla="*/ 53 w 61"/>
                <a:gd name="T13" fmla="*/ 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8"/>
                  </a:moveTo>
                  <a:lnTo>
                    <a:pt x="46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59"/>
                  </a:lnTo>
                  <a:lnTo>
                    <a:pt x="61" y="120"/>
                  </a:lnTo>
                  <a:lnTo>
                    <a:pt x="53" y="8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2" name="Skupina 1061">
            <a:extLst>
              <a:ext uri="{FF2B5EF4-FFF2-40B4-BE49-F238E27FC236}">
                <a16:creationId xmlns:a16="http://schemas.microsoft.com/office/drawing/2014/main" id="{A42A0414-D3E2-E604-DBB5-CBD2EE97453E}"/>
              </a:ext>
            </a:extLst>
          </p:cNvPr>
          <p:cNvGrpSpPr/>
          <p:nvPr/>
        </p:nvGrpSpPr>
        <p:grpSpPr>
          <a:xfrm>
            <a:off x="10363200" y="785813"/>
            <a:ext cx="1371600" cy="536575"/>
            <a:chOff x="10363200" y="785813"/>
            <a:chExt cx="1371600" cy="536575"/>
          </a:xfrm>
        </p:grpSpPr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02EE8710-E01C-B596-38DD-969506914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0250" y="879475"/>
              <a:ext cx="844550" cy="401638"/>
            </a:xfrm>
            <a:custGeom>
              <a:avLst/>
              <a:gdLst>
                <a:gd name="T0" fmla="*/ 950 w 1597"/>
                <a:gd name="T1" fmla="*/ 308 h 758"/>
                <a:gd name="T2" fmla="*/ 827 w 1597"/>
                <a:gd name="T3" fmla="*/ 308 h 758"/>
                <a:gd name="T4" fmla="*/ 707 w 1597"/>
                <a:gd name="T5" fmla="*/ 297 h 758"/>
                <a:gd name="T6" fmla="*/ 660 w 1597"/>
                <a:gd name="T7" fmla="*/ 309 h 758"/>
                <a:gd name="T8" fmla="*/ 688 w 1597"/>
                <a:gd name="T9" fmla="*/ 510 h 758"/>
                <a:gd name="T10" fmla="*/ 713 w 1597"/>
                <a:gd name="T11" fmla="*/ 473 h 758"/>
                <a:gd name="T12" fmla="*/ 727 w 1597"/>
                <a:gd name="T13" fmla="*/ 506 h 758"/>
                <a:gd name="T14" fmla="*/ 765 w 1597"/>
                <a:gd name="T15" fmla="*/ 359 h 758"/>
                <a:gd name="T16" fmla="*/ 599 w 1597"/>
                <a:gd name="T17" fmla="*/ 308 h 758"/>
                <a:gd name="T18" fmla="*/ 418 w 1597"/>
                <a:gd name="T19" fmla="*/ 507 h 758"/>
                <a:gd name="T20" fmla="*/ 350 w 1597"/>
                <a:gd name="T21" fmla="*/ 473 h 758"/>
                <a:gd name="T22" fmla="*/ 170 w 1597"/>
                <a:gd name="T23" fmla="*/ 308 h 758"/>
                <a:gd name="T24" fmla="*/ 97 w 1597"/>
                <a:gd name="T25" fmla="*/ 471 h 758"/>
                <a:gd name="T26" fmla="*/ 20 w 1597"/>
                <a:gd name="T27" fmla="*/ 389 h 758"/>
                <a:gd name="T28" fmla="*/ 61 w 1597"/>
                <a:gd name="T29" fmla="*/ 339 h 758"/>
                <a:gd name="T30" fmla="*/ 117 w 1597"/>
                <a:gd name="T31" fmla="*/ 411 h 758"/>
                <a:gd name="T32" fmla="*/ 45 w 1597"/>
                <a:gd name="T33" fmla="*/ 454 h 758"/>
                <a:gd name="T34" fmla="*/ 10 w 1597"/>
                <a:gd name="T35" fmla="*/ 484 h 758"/>
                <a:gd name="T36" fmla="*/ 85 w 1597"/>
                <a:gd name="T37" fmla="*/ 339 h 758"/>
                <a:gd name="T38" fmla="*/ 386 w 1597"/>
                <a:gd name="T39" fmla="*/ 244 h 758"/>
                <a:gd name="T40" fmla="*/ 295 w 1597"/>
                <a:gd name="T41" fmla="*/ 61 h 758"/>
                <a:gd name="T42" fmla="*/ 207 w 1597"/>
                <a:gd name="T43" fmla="*/ 114 h 758"/>
                <a:gd name="T44" fmla="*/ 189 w 1597"/>
                <a:gd name="T45" fmla="*/ 193 h 758"/>
                <a:gd name="T46" fmla="*/ 46 w 1597"/>
                <a:gd name="T47" fmla="*/ 101 h 758"/>
                <a:gd name="T48" fmla="*/ 1387 w 1597"/>
                <a:gd name="T49" fmla="*/ 708 h 758"/>
                <a:gd name="T50" fmla="*/ 1339 w 1597"/>
                <a:gd name="T51" fmla="*/ 718 h 758"/>
                <a:gd name="T52" fmla="*/ 1251 w 1597"/>
                <a:gd name="T53" fmla="*/ 628 h 758"/>
                <a:gd name="T54" fmla="*/ 1295 w 1597"/>
                <a:gd name="T55" fmla="*/ 590 h 758"/>
                <a:gd name="T56" fmla="*/ 1359 w 1597"/>
                <a:gd name="T57" fmla="*/ 661 h 758"/>
                <a:gd name="T58" fmla="*/ 1286 w 1597"/>
                <a:gd name="T59" fmla="*/ 708 h 758"/>
                <a:gd name="T60" fmla="*/ 1244 w 1597"/>
                <a:gd name="T61" fmla="*/ 723 h 758"/>
                <a:gd name="T62" fmla="*/ 1319 w 1597"/>
                <a:gd name="T63" fmla="*/ 586 h 758"/>
                <a:gd name="T64" fmla="*/ 1218 w 1597"/>
                <a:gd name="T65" fmla="*/ 593 h 758"/>
                <a:gd name="T66" fmla="*/ 1174 w 1597"/>
                <a:gd name="T67" fmla="*/ 707 h 758"/>
                <a:gd name="T68" fmla="*/ 1220 w 1597"/>
                <a:gd name="T69" fmla="*/ 701 h 758"/>
                <a:gd name="T70" fmla="*/ 1138 w 1597"/>
                <a:gd name="T71" fmla="*/ 586 h 758"/>
                <a:gd name="T72" fmla="*/ 1097 w 1597"/>
                <a:gd name="T73" fmla="*/ 743 h 758"/>
                <a:gd name="T74" fmla="*/ 903 w 1597"/>
                <a:gd name="T75" fmla="*/ 556 h 758"/>
                <a:gd name="T76" fmla="*/ 860 w 1597"/>
                <a:gd name="T77" fmla="*/ 516 h 758"/>
                <a:gd name="T78" fmla="*/ 765 w 1597"/>
                <a:gd name="T79" fmla="*/ 560 h 758"/>
                <a:gd name="T80" fmla="*/ 804 w 1597"/>
                <a:gd name="T81" fmla="*/ 727 h 758"/>
                <a:gd name="T82" fmla="*/ 822 w 1597"/>
                <a:gd name="T83" fmla="*/ 725 h 758"/>
                <a:gd name="T84" fmla="*/ 854 w 1597"/>
                <a:gd name="T85" fmla="*/ 750 h 758"/>
                <a:gd name="T86" fmla="*/ 880 w 1597"/>
                <a:gd name="T87" fmla="*/ 595 h 758"/>
                <a:gd name="T88" fmla="*/ 814 w 1597"/>
                <a:gd name="T89" fmla="*/ 552 h 758"/>
                <a:gd name="T90" fmla="*/ 661 w 1597"/>
                <a:gd name="T91" fmla="*/ 556 h 758"/>
                <a:gd name="T92" fmla="*/ 523 w 1597"/>
                <a:gd name="T93" fmla="*/ 636 h 758"/>
                <a:gd name="T94" fmla="*/ 536 w 1597"/>
                <a:gd name="T95" fmla="*/ 593 h 758"/>
                <a:gd name="T96" fmla="*/ 590 w 1597"/>
                <a:gd name="T97" fmla="*/ 596 h 758"/>
                <a:gd name="T98" fmla="*/ 454 w 1597"/>
                <a:gd name="T99" fmla="*/ 556 h 758"/>
                <a:gd name="T100" fmla="*/ 301 w 1597"/>
                <a:gd name="T101" fmla="*/ 720 h 758"/>
                <a:gd name="T102" fmla="*/ 216 w 1597"/>
                <a:gd name="T103" fmla="*/ 556 h 758"/>
                <a:gd name="T104" fmla="*/ 282 w 1597"/>
                <a:gd name="T105" fmla="*/ 589 h 758"/>
                <a:gd name="T106" fmla="*/ 89 w 1597"/>
                <a:gd name="T107" fmla="*/ 633 h 758"/>
                <a:gd name="T108" fmla="*/ 76 w 1597"/>
                <a:gd name="T109" fmla="*/ 589 h 758"/>
                <a:gd name="T110" fmla="*/ 143 w 1597"/>
                <a:gd name="T111" fmla="*/ 626 h 758"/>
                <a:gd name="T112" fmla="*/ 147 w 1597"/>
                <a:gd name="T113" fmla="*/ 691 h 758"/>
                <a:gd name="T114" fmla="*/ 82 w 1597"/>
                <a:gd name="T115" fmla="*/ 721 h 758"/>
                <a:gd name="T116" fmla="*/ 86 w 1597"/>
                <a:gd name="T117" fmla="*/ 67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7" h="758">
                  <a:moveTo>
                    <a:pt x="982" y="297"/>
                  </a:moveTo>
                  <a:lnTo>
                    <a:pt x="953" y="297"/>
                  </a:lnTo>
                  <a:lnTo>
                    <a:pt x="976" y="267"/>
                  </a:lnTo>
                  <a:lnTo>
                    <a:pt x="1028" y="267"/>
                  </a:lnTo>
                  <a:lnTo>
                    <a:pt x="982" y="297"/>
                  </a:lnTo>
                  <a:close/>
                  <a:moveTo>
                    <a:pt x="1597" y="754"/>
                  </a:moveTo>
                  <a:lnTo>
                    <a:pt x="1597" y="556"/>
                  </a:lnTo>
                  <a:lnTo>
                    <a:pt x="1551" y="556"/>
                  </a:lnTo>
                  <a:lnTo>
                    <a:pt x="1551" y="556"/>
                  </a:lnTo>
                  <a:lnTo>
                    <a:pt x="1551" y="754"/>
                  </a:lnTo>
                  <a:lnTo>
                    <a:pt x="1597" y="754"/>
                  </a:lnTo>
                  <a:close/>
                  <a:moveTo>
                    <a:pt x="950" y="308"/>
                  </a:moveTo>
                  <a:lnTo>
                    <a:pt x="950" y="308"/>
                  </a:lnTo>
                  <a:lnTo>
                    <a:pt x="998" y="308"/>
                  </a:lnTo>
                  <a:lnTo>
                    <a:pt x="998" y="507"/>
                  </a:lnTo>
                  <a:lnTo>
                    <a:pt x="950" y="507"/>
                  </a:lnTo>
                  <a:lnTo>
                    <a:pt x="950" y="308"/>
                  </a:lnTo>
                  <a:close/>
                  <a:moveTo>
                    <a:pt x="889" y="308"/>
                  </a:moveTo>
                  <a:lnTo>
                    <a:pt x="889" y="308"/>
                  </a:lnTo>
                  <a:lnTo>
                    <a:pt x="932" y="308"/>
                  </a:lnTo>
                  <a:lnTo>
                    <a:pt x="932" y="507"/>
                  </a:lnTo>
                  <a:lnTo>
                    <a:pt x="889" y="507"/>
                  </a:lnTo>
                  <a:lnTo>
                    <a:pt x="889" y="308"/>
                  </a:lnTo>
                  <a:close/>
                  <a:moveTo>
                    <a:pt x="785" y="308"/>
                  </a:moveTo>
                  <a:lnTo>
                    <a:pt x="785" y="308"/>
                  </a:lnTo>
                  <a:lnTo>
                    <a:pt x="827" y="308"/>
                  </a:lnTo>
                  <a:lnTo>
                    <a:pt x="827" y="507"/>
                  </a:lnTo>
                  <a:lnTo>
                    <a:pt x="785" y="507"/>
                  </a:lnTo>
                  <a:lnTo>
                    <a:pt x="785" y="308"/>
                  </a:lnTo>
                  <a:close/>
                  <a:moveTo>
                    <a:pt x="883" y="425"/>
                  </a:moveTo>
                  <a:lnTo>
                    <a:pt x="883" y="425"/>
                  </a:lnTo>
                  <a:lnTo>
                    <a:pt x="883" y="493"/>
                  </a:lnTo>
                  <a:lnTo>
                    <a:pt x="832" y="392"/>
                  </a:lnTo>
                  <a:lnTo>
                    <a:pt x="832" y="323"/>
                  </a:lnTo>
                  <a:lnTo>
                    <a:pt x="883" y="425"/>
                  </a:lnTo>
                  <a:close/>
                  <a:moveTo>
                    <a:pt x="707" y="267"/>
                  </a:moveTo>
                  <a:lnTo>
                    <a:pt x="707" y="267"/>
                  </a:lnTo>
                  <a:lnTo>
                    <a:pt x="745" y="267"/>
                  </a:lnTo>
                  <a:lnTo>
                    <a:pt x="707" y="297"/>
                  </a:lnTo>
                  <a:lnTo>
                    <a:pt x="678" y="297"/>
                  </a:lnTo>
                  <a:lnTo>
                    <a:pt x="641" y="267"/>
                  </a:lnTo>
                  <a:lnTo>
                    <a:pt x="680" y="267"/>
                  </a:lnTo>
                  <a:lnTo>
                    <a:pt x="693" y="280"/>
                  </a:lnTo>
                  <a:lnTo>
                    <a:pt x="707" y="267"/>
                  </a:lnTo>
                  <a:close/>
                  <a:moveTo>
                    <a:pt x="624" y="358"/>
                  </a:moveTo>
                  <a:lnTo>
                    <a:pt x="624" y="358"/>
                  </a:lnTo>
                  <a:lnTo>
                    <a:pt x="625" y="346"/>
                  </a:lnTo>
                  <a:lnTo>
                    <a:pt x="628" y="335"/>
                  </a:lnTo>
                  <a:lnTo>
                    <a:pt x="632" y="326"/>
                  </a:lnTo>
                  <a:lnTo>
                    <a:pt x="639" y="319"/>
                  </a:lnTo>
                  <a:lnTo>
                    <a:pt x="649" y="313"/>
                  </a:lnTo>
                  <a:lnTo>
                    <a:pt x="660" y="309"/>
                  </a:lnTo>
                  <a:lnTo>
                    <a:pt x="673" y="305"/>
                  </a:lnTo>
                  <a:lnTo>
                    <a:pt x="688" y="303"/>
                  </a:lnTo>
                  <a:lnTo>
                    <a:pt x="688" y="336"/>
                  </a:lnTo>
                  <a:lnTo>
                    <a:pt x="681" y="339"/>
                  </a:lnTo>
                  <a:lnTo>
                    <a:pt x="675" y="342"/>
                  </a:lnTo>
                  <a:lnTo>
                    <a:pt x="671" y="348"/>
                  </a:lnTo>
                  <a:lnTo>
                    <a:pt x="670" y="356"/>
                  </a:lnTo>
                  <a:lnTo>
                    <a:pt x="670" y="460"/>
                  </a:lnTo>
                  <a:lnTo>
                    <a:pt x="671" y="467"/>
                  </a:lnTo>
                  <a:lnTo>
                    <a:pt x="675" y="473"/>
                  </a:lnTo>
                  <a:lnTo>
                    <a:pt x="681" y="477"/>
                  </a:lnTo>
                  <a:lnTo>
                    <a:pt x="688" y="478"/>
                  </a:lnTo>
                  <a:lnTo>
                    <a:pt x="688" y="510"/>
                  </a:lnTo>
                  <a:lnTo>
                    <a:pt x="673" y="509"/>
                  </a:lnTo>
                  <a:lnTo>
                    <a:pt x="660" y="506"/>
                  </a:lnTo>
                  <a:lnTo>
                    <a:pt x="648" y="501"/>
                  </a:lnTo>
                  <a:lnTo>
                    <a:pt x="639" y="494"/>
                  </a:lnTo>
                  <a:lnTo>
                    <a:pt x="632" y="487"/>
                  </a:lnTo>
                  <a:lnTo>
                    <a:pt x="628" y="477"/>
                  </a:lnTo>
                  <a:lnTo>
                    <a:pt x="625" y="465"/>
                  </a:lnTo>
                  <a:lnTo>
                    <a:pt x="624" y="453"/>
                  </a:lnTo>
                  <a:lnTo>
                    <a:pt x="624" y="358"/>
                  </a:lnTo>
                  <a:close/>
                  <a:moveTo>
                    <a:pt x="697" y="478"/>
                  </a:moveTo>
                  <a:lnTo>
                    <a:pt x="697" y="478"/>
                  </a:lnTo>
                  <a:lnTo>
                    <a:pt x="707" y="477"/>
                  </a:lnTo>
                  <a:lnTo>
                    <a:pt x="713" y="473"/>
                  </a:lnTo>
                  <a:lnTo>
                    <a:pt x="714" y="470"/>
                  </a:lnTo>
                  <a:lnTo>
                    <a:pt x="717" y="467"/>
                  </a:lnTo>
                  <a:lnTo>
                    <a:pt x="717" y="464"/>
                  </a:lnTo>
                  <a:lnTo>
                    <a:pt x="717" y="460"/>
                  </a:lnTo>
                  <a:lnTo>
                    <a:pt x="717" y="432"/>
                  </a:lnTo>
                  <a:lnTo>
                    <a:pt x="765" y="432"/>
                  </a:lnTo>
                  <a:lnTo>
                    <a:pt x="765" y="453"/>
                  </a:lnTo>
                  <a:lnTo>
                    <a:pt x="765" y="465"/>
                  </a:lnTo>
                  <a:lnTo>
                    <a:pt x="760" y="477"/>
                  </a:lnTo>
                  <a:lnTo>
                    <a:pt x="756" y="487"/>
                  </a:lnTo>
                  <a:lnTo>
                    <a:pt x="749" y="496"/>
                  </a:lnTo>
                  <a:lnTo>
                    <a:pt x="739" y="501"/>
                  </a:lnTo>
                  <a:lnTo>
                    <a:pt x="727" y="506"/>
                  </a:lnTo>
                  <a:lnTo>
                    <a:pt x="713" y="509"/>
                  </a:lnTo>
                  <a:lnTo>
                    <a:pt x="697" y="510"/>
                  </a:lnTo>
                  <a:lnTo>
                    <a:pt x="697" y="478"/>
                  </a:lnTo>
                  <a:close/>
                  <a:moveTo>
                    <a:pt x="697" y="303"/>
                  </a:moveTo>
                  <a:lnTo>
                    <a:pt x="697" y="303"/>
                  </a:lnTo>
                  <a:lnTo>
                    <a:pt x="714" y="305"/>
                  </a:lnTo>
                  <a:lnTo>
                    <a:pt x="727" y="308"/>
                  </a:lnTo>
                  <a:lnTo>
                    <a:pt x="739" y="312"/>
                  </a:lnTo>
                  <a:lnTo>
                    <a:pt x="749" y="318"/>
                  </a:lnTo>
                  <a:lnTo>
                    <a:pt x="756" y="325"/>
                  </a:lnTo>
                  <a:lnTo>
                    <a:pt x="760" y="335"/>
                  </a:lnTo>
                  <a:lnTo>
                    <a:pt x="765" y="346"/>
                  </a:lnTo>
                  <a:lnTo>
                    <a:pt x="765" y="359"/>
                  </a:lnTo>
                  <a:lnTo>
                    <a:pt x="765" y="378"/>
                  </a:lnTo>
                  <a:lnTo>
                    <a:pt x="717" y="378"/>
                  </a:lnTo>
                  <a:lnTo>
                    <a:pt x="717" y="356"/>
                  </a:lnTo>
                  <a:lnTo>
                    <a:pt x="717" y="352"/>
                  </a:lnTo>
                  <a:lnTo>
                    <a:pt x="717" y="348"/>
                  </a:lnTo>
                  <a:lnTo>
                    <a:pt x="714" y="345"/>
                  </a:lnTo>
                  <a:lnTo>
                    <a:pt x="713" y="342"/>
                  </a:lnTo>
                  <a:lnTo>
                    <a:pt x="707" y="338"/>
                  </a:lnTo>
                  <a:lnTo>
                    <a:pt x="697" y="336"/>
                  </a:lnTo>
                  <a:lnTo>
                    <a:pt x="697" y="303"/>
                  </a:lnTo>
                  <a:close/>
                  <a:moveTo>
                    <a:pt x="552" y="308"/>
                  </a:moveTo>
                  <a:lnTo>
                    <a:pt x="552" y="308"/>
                  </a:lnTo>
                  <a:lnTo>
                    <a:pt x="599" y="308"/>
                  </a:lnTo>
                  <a:lnTo>
                    <a:pt x="599" y="507"/>
                  </a:lnTo>
                  <a:lnTo>
                    <a:pt x="552" y="507"/>
                  </a:lnTo>
                  <a:lnTo>
                    <a:pt x="552" y="308"/>
                  </a:lnTo>
                  <a:close/>
                  <a:moveTo>
                    <a:pt x="480" y="308"/>
                  </a:moveTo>
                  <a:lnTo>
                    <a:pt x="480" y="308"/>
                  </a:lnTo>
                  <a:lnTo>
                    <a:pt x="523" y="308"/>
                  </a:lnTo>
                  <a:lnTo>
                    <a:pt x="523" y="507"/>
                  </a:lnTo>
                  <a:lnTo>
                    <a:pt x="480" y="507"/>
                  </a:lnTo>
                  <a:lnTo>
                    <a:pt x="480" y="308"/>
                  </a:lnTo>
                  <a:close/>
                  <a:moveTo>
                    <a:pt x="376" y="308"/>
                  </a:moveTo>
                  <a:lnTo>
                    <a:pt x="376" y="308"/>
                  </a:lnTo>
                  <a:lnTo>
                    <a:pt x="418" y="308"/>
                  </a:lnTo>
                  <a:lnTo>
                    <a:pt x="418" y="507"/>
                  </a:lnTo>
                  <a:lnTo>
                    <a:pt x="376" y="507"/>
                  </a:lnTo>
                  <a:lnTo>
                    <a:pt x="376" y="308"/>
                  </a:lnTo>
                  <a:close/>
                  <a:moveTo>
                    <a:pt x="474" y="425"/>
                  </a:moveTo>
                  <a:lnTo>
                    <a:pt x="474" y="425"/>
                  </a:lnTo>
                  <a:lnTo>
                    <a:pt x="474" y="493"/>
                  </a:lnTo>
                  <a:lnTo>
                    <a:pt x="423" y="392"/>
                  </a:lnTo>
                  <a:lnTo>
                    <a:pt x="423" y="323"/>
                  </a:lnTo>
                  <a:lnTo>
                    <a:pt x="474" y="425"/>
                  </a:lnTo>
                  <a:close/>
                  <a:moveTo>
                    <a:pt x="350" y="507"/>
                  </a:moveTo>
                  <a:lnTo>
                    <a:pt x="350" y="507"/>
                  </a:lnTo>
                  <a:lnTo>
                    <a:pt x="297" y="507"/>
                  </a:lnTo>
                  <a:lnTo>
                    <a:pt x="297" y="473"/>
                  </a:lnTo>
                  <a:lnTo>
                    <a:pt x="350" y="473"/>
                  </a:lnTo>
                  <a:lnTo>
                    <a:pt x="350" y="507"/>
                  </a:lnTo>
                  <a:close/>
                  <a:moveTo>
                    <a:pt x="242" y="308"/>
                  </a:moveTo>
                  <a:lnTo>
                    <a:pt x="242" y="308"/>
                  </a:lnTo>
                  <a:lnTo>
                    <a:pt x="288" y="308"/>
                  </a:lnTo>
                  <a:lnTo>
                    <a:pt x="288" y="507"/>
                  </a:lnTo>
                  <a:lnTo>
                    <a:pt x="242" y="507"/>
                  </a:lnTo>
                  <a:lnTo>
                    <a:pt x="242" y="308"/>
                  </a:lnTo>
                  <a:close/>
                  <a:moveTo>
                    <a:pt x="170" y="308"/>
                  </a:moveTo>
                  <a:lnTo>
                    <a:pt x="170" y="308"/>
                  </a:lnTo>
                  <a:lnTo>
                    <a:pt x="217" y="308"/>
                  </a:lnTo>
                  <a:lnTo>
                    <a:pt x="217" y="507"/>
                  </a:lnTo>
                  <a:lnTo>
                    <a:pt x="170" y="507"/>
                  </a:lnTo>
                  <a:lnTo>
                    <a:pt x="170" y="308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7" y="471"/>
                  </a:lnTo>
                  <a:lnTo>
                    <a:pt x="144" y="481"/>
                  </a:lnTo>
                  <a:lnTo>
                    <a:pt x="138" y="490"/>
                  </a:lnTo>
                  <a:lnTo>
                    <a:pt x="131" y="497"/>
                  </a:lnTo>
                  <a:lnTo>
                    <a:pt x="121" y="503"/>
                  </a:lnTo>
                  <a:lnTo>
                    <a:pt x="109" y="507"/>
                  </a:lnTo>
                  <a:lnTo>
                    <a:pt x="97" y="510"/>
                  </a:lnTo>
                  <a:lnTo>
                    <a:pt x="81" y="510"/>
                  </a:lnTo>
                  <a:lnTo>
                    <a:pt x="81" y="477"/>
                  </a:lnTo>
                  <a:lnTo>
                    <a:pt x="91" y="476"/>
                  </a:lnTo>
                  <a:lnTo>
                    <a:pt x="97" y="471"/>
                  </a:lnTo>
                  <a:lnTo>
                    <a:pt x="99" y="470"/>
                  </a:lnTo>
                  <a:lnTo>
                    <a:pt x="101" y="467"/>
                  </a:lnTo>
                  <a:lnTo>
                    <a:pt x="102" y="464"/>
                  </a:lnTo>
                  <a:lnTo>
                    <a:pt x="102" y="461"/>
                  </a:lnTo>
                  <a:lnTo>
                    <a:pt x="101" y="455"/>
                  </a:lnTo>
                  <a:lnTo>
                    <a:pt x="99" y="451"/>
                  </a:lnTo>
                  <a:lnTo>
                    <a:pt x="95" y="447"/>
                  </a:lnTo>
                  <a:lnTo>
                    <a:pt x="91" y="443"/>
                  </a:lnTo>
                  <a:lnTo>
                    <a:pt x="75" y="430"/>
                  </a:lnTo>
                  <a:lnTo>
                    <a:pt x="59" y="418"/>
                  </a:lnTo>
                  <a:lnTo>
                    <a:pt x="43" y="408"/>
                  </a:lnTo>
                  <a:lnTo>
                    <a:pt x="29" y="398"/>
                  </a:lnTo>
                  <a:lnTo>
                    <a:pt x="20" y="389"/>
                  </a:lnTo>
                  <a:lnTo>
                    <a:pt x="13" y="379"/>
                  </a:lnTo>
                  <a:lnTo>
                    <a:pt x="7" y="368"/>
                  </a:lnTo>
                  <a:lnTo>
                    <a:pt x="4" y="356"/>
                  </a:lnTo>
                  <a:lnTo>
                    <a:pt x="6" y="345"/>
                  </a:lnTo>
                  <a:lnTo>
                    <a:pt x="9" y="333"/>
                  </a:lnTo>
                  <a:lnTo>
                    <a:pt x="13" y="326"/>
                  </a:lnTo>
                  <a:lnTo>
                    <a:pt x="20" y="319"/>
                  </a:lnTo>
                  <a:lnTo>
                    <a:pt x="30" y="313"/>
                  </a:lnTo>
                  <a:lnTo>
                    <a:pt x="40" y="309"/>
                  </a:lnTo>
                  <a:lnTo>
                    <a:pt x="53" y="306"/>
                  </a:lnTo>
                  <a:lnTo>
                    <a:pt x="69" y="305"/>
                  </a:lnTo>
                  <a:lnTo>
                    <a:pt x="69" y="338"/>
                  </a:lnTo>
                  <a:lnTo>
                    <a:pt x="61" y="339"/>
                  </a:lnTo>
                  <a:lnTo>
                    <a:pt x="55" y="342"/>
                  </a:lnTo>
                  <a:lnTo>
                    <a:pt x="52" y="348"/>
                  </a:lnTo>
                  <a:lnTo>
                    <a:pt x="50" y="353"/>
                  </a:lnTo>
                  <a:lnTo>
                    <a:pt x="50" y="358"/>
                  </a:lnTo>
                  <a:lnTo>
                    <a:pt x="50" y="364"/>
                  </a:lnTo>
                  <a:lnTo>
                    <a:pt x="53" y="366"/>
                  </a:lnTo>
                  <a:lnTo>
                    <a:pt x="56" y="369"/>
                  </a:lnTo>
                  <a:lnTo>
                    <a:pt x="73" y="381"/>
                  </a:lnTo>
                  <a:lnTo>
                    <a:pt x="86" y="391"/>
                  </a:lnTo>
                  <a:lnTo>
                    <a:pt x="98" y="398"/>
                  </a:lnTo>
                  <a:lnTo>
                    <a:pt x="107" y="404"/>
                  </a:lnTo>
                  <a:lnTo>
                    <a:pt x="112" y="408"/>
                  </a:lnTo>
                  <a:lnTo>
                    <a:pt x="117" y="411"/>
                  </a:lnTo>
                  <a:lnTo>
                    <a:pt x="120" y="414"/>
                  </a:lnTo>
                  <a:lnTo>
                    <a:pt x="121" y="414"/>
                  </a:lnTo>
                  <a:lnTo>
                    <a:pt x="128" y="420"/>
                  </a:lnTo>
                  <a:lnTo>
                    <a:pt x="133" y="424"/>
                  </a:lnTo>
                  <a:lnTo>
                    <a:pt x="137" y="430"/>
                  </a:lnTo>
                  <a:lnTo>
                    <a:pt x="141" y="435"/>
                  </a:lnTo>
                  <a:lnTo>
                    <a:pt x="144" y="441"/>
                  </a:lnTo>
                  <a:lnTo>
                    <a:pt x="145" y="447"/>
                  </a:lnTo>
                  <a:lnTo>
                    <a:pt x="147" y="454"/>
                  </a:lnTo>
                  <a:lnTo>
                    <a:pt x="148" y="460"/>
                  </a:lnTo>
                  <a:close/>
                  <a:moveTo>
                    <a:pt x="45" y="448"/>
                  </a:moveTo>
                  <a:lnTo>
                    <a:pt x="45" y="448"/>
                  </a:lnTo>
                  <a:lnTo>
                    <a:pt x="45" y="454"/>
                  </a:lnTo>
                  <a:lnTo>
                    <a:pt x="46" y="460"/>
                  </a:lnTo>
                  <a:lnTo>
                    <a:pt x="48" y="464"/>
                  </a:lnTo>
                  <a:lnTo>
                    <a:pt x="50" y="468"/>
                  </a:lnTo>
                  <a:lnTo>
                    <a:pt x="55" y="471"/>
                  </a:lnTo>
                  <a:lnTo>
                    <a:pt x="59" y="474"/>
                  </a:lnTo>
                  <a:lnTo>
                    <a:pt x="63" y="476"/>
                  </a:lnTo>
                  <a:lnTo>
                    <a:pt x="69" y="477"/>
                  </a:lnTo>
                  <a:lnTo>
                    <a:pt x="69" y="510"/>
                  </a:lnTo>
                  <a:lnTo>
                    <a:pt x="53" y="509"/>
                  </a:lnTo>
                  <a:lnTo>
                    <a:pt x="39" y="506"/>
                  </a:lnTo>
                  <a:lnTo>
                    <a:pt x="27" y="500"/>
                  </a:lnTo>
                  <a:lnTo>
                    <a:pt x="17" y="494"/>
                  </a:lnTo>
                  <a:lnTo>
                    <a:pt x="10" y="484"/>
                  </a:lnTo>
                  <a:lnTo>
                    <a:pt x="4" y="474"/>
                  </a:lnTo>
                  <a:lnTo>
                    <a:pt x="1" y="463"/>
                  </a:lnTo>
                  <a:lnTo>
                    <a:pt x="0" y="448"/>
                  </a:lnTo>
                  <a:lnTo>
                    <a:pt x="45" y="448"/>
                  </a:lnTo>
                  <a:close/>
                  <a:moveTo>
                    <a:pt x="99" y="362"/>
                  </a:moveTo>
                  <a:lnTo>
                    <a:pt x="99" y="362"/>
                  </a:lnTo>
                  <a:lnTo>
                    <a:pt x="99" y="356"/>
                  </a:lnTo>
                  <a:lnTo>
                    <a:pt x="99" y="352"/>
                  </a:lnTo>
                  <a:lnTo>
                    <a:pt x="97" y="349"/>
                  </a:lnTo>
                  <a:lnTo>
                    <a:pt x="95" y="345"/>
                  </a:lnTo>
                  <a:lnTo>
                    <a:pt x="92" y="343"/>
                  </a:lnTo>
                  <a:lnTo>
                    <a:pt x="89" y="341"/>
                  </a:lnTo>
                  <a:lnTo>
                    <a:pt x="85" y="339"/>
                  </a:lnTo>
                  <a:lnTo>
                    <a:pt x="81" y="338"/>
                  </a:lnTo>
                  <a:lnTo>
                    <a:pt x="81" y="305"/>
                  </a:lnTo>
                  <a:lnTo>
                    <a:pt x="97" y="306"/>
                  </a:lnTo>
                  <a:lnTo>
                    <a:pt x="109" y="309"/>
                  </a:lnTo>
                  <a:lnTo>
                    <a:pt x="121" y="313"/>
                  </a:lnTo>
                  <a:lnTo>
                    <a:pt x="130" y="320"/>
                  </a:lnTo>
                  <a:lnTo>
                    <a:pt x="137" y="328"/>
                  </a:lnTo>
                  <a:lnTo>
                    <a:pt x="143" y="338"/>
                  </a:lnTo>
                  <a:lnTo>
                    <a:pt x="145" y="349"/>
                  </a:lnTo>
                  <a:lnTo>
                    <a:pt x="147" y="362"/>
                  </a:lnTo>
                  <a:lnTo>
                    <a:pt x="99" y="362"/>
                  </a:lnTo>
                  <a:close/>
                  <a:moveTo>
                    <a:pt x="386" y="244"/>
                  </a:moveTo>
                  <a:lnTo>
                    <a:pt x="386" y="244"/>
                  </a:lnTo>
                  <a:lnTo>
                    <a:pt x="344" y="145"/>
                  </a:lnTo>
                  <a:lnTo>
                    <a:pt x="344" y="76"/>
                  </a:lnTo>
                  <a:lnTo>
                    <a:pt x="386" y="177"/>
                  </a:lnTo>
                  <a:lnTo>
                    <a:pt x="428" y="76"/>
                  </a:lnTo>
                  <a:lnTo>
                    <a:pt x="428" y="145"/>
                  </a:lnTo>
                  <a:lnTo>
                    <a:pt x="386" y="244"/>
                  </a:lnTo>
                  <a:close/>
                  <a:moveTo>
                    <a:pt x="433" y="61"/>
                  </a:moveTo>
                  <a:lnTo>
                    <a:pt x="433" y="61"/>
                  </a:lnTo>
                  <a:lnTo>
                    <a:pt x="477" y="61"/>
                  </a:lnTo>
                  <a:lnTo>
                    <a:pt x="477" y="259"/>
                  </a:lnTo>
                  <a:lnTo>
                    <a:pt x="433" y="259"/>
                  </a:lnTo>
                  <a:lnTo>
                    <a:pt x="433" y="61"/>
                  </a:lnTo>
                  <a:close/>
                  <a:moveTo>
                    <a:pt x="295" y="61"/>
                  </a:moveTo>
                  <a:lnTo>
                    <a:pt x="295" y="61"/>
                  </a:lnTo>
                  <a:lnTo>
                    <a:pt x="338" y="61"/>
                  </a:lnTo>
                  <a:lnTo>
                    <a:pt x="338" y="259"/>
                  </a:lnTo>
                  <a:lnTo>
                    <a:pt x="295" y="259"/>
                  </a:lnTo>
                  <a:lnTo>
                    <a:pt x="295" y="61"/>
                  </a:lnTo>
                  <a:close/>
                  <a:moveTo>
                    <a:pt x="199" y="38"/>
                  </a:moveTo>
                  <a:lnTo>
                    <a:pt x="199" y="38"/>
                  </a:lnTo>
                  <a:lnTo>
                    <a:pt x="228" y="38"/>
                  </a:lnTo>
                  <a:lnTo>
                    <a:pt x="274" y="0"/>
                  </a:lnTo>
                  <a:lnTo>
                    <a:pt x="225" y="0"/>
                  </a:lnTo>
                  <a:lnTo>
                    <a:pt x="199" y="38"/>
                  </a:lnTo>
                  <a:close/>
                  <a:moveTo>
                    <a:pt x="207" y="114"/>
                  </a:moveTo>
                  <a:lnTo>
                    <a:pt x="207" y="114"/>
                  </a:lnTo>
                  <a:lnTo>
                    <a:pt x="189" y="61"/>
                  </a:lnTo>
                  <a:lnTo>
                    <a:pt x="141" y="61"/>
                  </a:lnTo>
                  <a:lnTo>
                    <a:pt x="187" y="171"/>
                  </a:lnTo>
                  <a:lnTo>
                    <a:pt x="207" y="114"/>
                  </a:lnTo>
                  <a:close/>
                  <a:moveTo>
                    <a:pt x="189" y="259"/>
                  </a:moveTo>
                  <a:lnTo>
                    <a:pt x="189" y="259"/>
                  </a:lnTo>
                  <a:lnTo>
                    <a:pt x="235" y="259"/>
                  </a:lnTo>
                  <a:lnTo>
                    <a:pt x="235" y="175"/>
                  </a:lnTo>
                  <a:lnTo>
                    <a:pt x="284" y="61"/>
                  </a:lnTo>
                  <a:lnTo>
                    <a:pt x="236" y="61"/>
                  </a:lnTo>
                  <a:lnTo>
                    <a:pt x="213" y="125"/>
                  </a:lnTo>
                  <a:lnTo>
                    <a:pt x="213" y="125"/>
                  </a:lnTo>
                  <a:lnTo>
                    <a:pt x="189" y="193"/>
                  </a:lnTo>
                  <a:lnTo>
                    <a:pt x="189" y="259"/>
                  </a:lnTo>
                  <a:close/>
                  <a:moveTo>
                    <a:pt x="7" y="61"/>
                  </a:moveTo>
                  <a:lnTo>
                    <a:pt x="7" y="61"/>
                  </a:lnTo>
                  <a:lnTo>
                    <a:pt x="133" y="61"/>
                  </a:lnTo>
                  <a:lnTo>
                    <a:pt x="133" y="95"/>
                  </a:lnTo>
                  <a:lnTo>
                    <a:pt x="7" y="95"/>
                  </a:lnTo>
                  <a:lnTo>
                    <a:pt x="7" y="61"/>
                  </a:lnTo>
                  <a:close/>
                  <a:moveTo>
                    <a:pt x="46" y="101"/>
                  </a:moveTo>
                  <a:lnTo>
                    <a:pt x="46" y="101"/>
                  </a:lnTo>
                  <a:lnTo>
                    <a:pt x="92" y="101"/>
                  </a:lnTo>
                  <a:lnTo>
                    <a:pt x="92" y="259"/>
                  </a:lnTo>
                  <a:lnTo>
                    <a:pt x="46" y="259"/>
                  </a:lnTo>
                  <a:lnTo>
                    <a:pt x="46" y="101"/>
                  </a:lnTo>
                  <a:close/>
                  <a:moveTo>
                    <a:pt x="1407" y="556"/>
                  </a:moveTo>
                  <a:lnTo>
                    <a:pt x="1407" y="556"/>
                  </a:lnTo>
                  <a:lnTo>
                    <a:pt x="1532" y="556"/>
                  </a:lnTo>
                  <a:lnTo>
                    <a:pt x="1532" y="592"/>
                  </a:lnTo>
                  <a:lnTo>
                    <a:pt x="1407" y="592"/>
                  </a:lnTo>
                  <a:lnTo>
                    <a:pt x="1407" y="556"/>
                  </a:lnTo>
                  <a:close/>
                  <a:moveTo>
                    <a:pt x="1447" y="598"/>
                  </a:moveTo>
                  <a:lnTo>
                    <a:pt x="1447" y="598"/>
                  </a:lnTo>
                  <a:lnTo>
                    <a:pt x="1492" y="598"/>
                  </a:lnTo>
                  <a:lnTo>
                    <a:pt x="1492" y="754"/>
                  </a:lnTo>
                  <a:lnTo>
                    <a:pt x="1447" y="754"/>
                  </a:lnTo>
                  <a:lnTo>
                    <a:pt x="1447" y="598"/>
                  </a:lnTo>
                  <a:close/>
                  <a:moveTo>
                    <a:pt x="1387" y="708"/>
                  </a:moveTo>
                  <a:lnTo>
                    <a:pt x="1387" y="708"/>
                  </a:lnTo>
                  <a:lnTo>
                    <a:pt x="1385" y="720"/>
                  </a:lnTo>
                  <a:lnTo>
                    <a:pt x="1382" y="730"/>
                  </a:lnTo>
                  <a:lnTo>
                    <a:pt x="1378" y="738"/>
                  </a:lnTo>
                  <a:lnTo>
                    <a:pt x="1371" y="746"/>
                  </a:lnTo>
                  <a:lnTo>
                    <a:pt x="1361" y="751"/>
                  </a:lnTo>
                  <a:lnTo>
                    <a:pt x="1349" y="756"/>
                  </a:lnTo>
                  <a:lnTo>
                    <a:pt x="1335" y="757"/>
                  </a:lnTo>
                  <a:lnTo>
                    <a:pt x="1319" y="758"/>
                  </a:lnTo>
                  <a:lnTo>
                    <a:pt x="1319" y="724"/>
                  </a:lnTo>
                  <a:lnTo>
                    <a:pt x="1329" y="723"/>
                  </a:lnTo>
                  <a:lnTo>
                    <a:pt x="1336" y="720"/>
                  </a:lnTo>
                  <a:lnTo>
                    <a:pt x="1339" y="718"/>
                  </a:lnTo>
                  <a:lnTo>
                    <a:pt x="1341" y="715"/>
                  </a:lnTo>
                  <a:lnTo>
                    <a:pt x="1342" y="712"/>
                  </a:lnTo>
                  <a:lnTo>
                    <a:pt x="1342" y="708"/>
                  </a:lnTo>
                  <a:lnTo>
                    <a:pt x="1341" y="704"/>
                  </a:lnTo>
                  <a:lnTo>
                    <a:pt x="1338" y="700"/>
                  </a:lnTo>
                  <a:lnTo>
                    <a:pt x="1335" y="695"/>
                  </a:lnTo>
                  <a:lnTo>
                    <a:pt x="1331" y="691"/>
                  </a:lnTo>
                  <a:lnTo>
                    <a:pt x="1315" y="678"/>
                  </a:lnTo>
                  <a:lnTo>
                    <a:pt x="1299" y="667"/>
                  </a:lnTo>
                  <a:lnTo>
                    <a:pt x="1283" y="656"/>
                  </a:lnTo>
                  <a:lnTo>
                    <a:pt x="1269" y="646"/>
                  </a:lnTo>
                  <a:lnTo>
                    <a:pt x="1259" y="638"/>
                  </a:lnTo>
                  <a:lnTo>
                    <a:pt x="1251" y="628"/>
                  </a:lnTo>
                  <a:lnTo>
                    <a:pt x="1247" y="616"/>
                  </a:lnTo>
                  <a:lnTo>
                    <a:pt x="1244" y="603"/>
                  </a:lnTo>
                  <a:lnTo>
                    <a:pt x="1244" y="592"/>
                  </a:lnTo>
                  <a:lnTo>
                    <a:pt x="1249" y="582"/>
                  </a:lnTo>
                  <a:lnTo>
                    <a:pt x="1253" y="573"/>
                  </a:lnTo>
                  <a:lnTo>
                    <a:pt x="1260" y="566"/>
                  </a:lnTo>
                  <a:lnTo>
                    <a:pt x="1269" y="560"/>
                  </a:lnTo>
                  <a:lnTo>
                    <a:pt x="1280" y="557"/>
                  </a:lnTo>
                  <a:lnTo>
                    <a:pt x="1293" y="555"/>
                  </a:lnTo>
                  <a:lnTo>
                    <a:pt x="1309" y="553"/>
                  </a:lnTo>
                  <a:lnTo>
                    <a:pt x="1309" y="586"/>
                  </a:lnTo>
                  <a:lnTo>
                    <a:pt x="1300" y="588"/>
                  </a:lnTo>
                  <a:lnTo>
                    <a:pt x="1295" y="590"/>
                  </a:lnTo>
                  <a:lnTo>
                    <a:pt x="1290" y="595"/>
                  </a:lnTo>
                  <a:lnTo>
                    <a:pt x="1289" y="602"/>
                  </a:lnTo>
                  <a:lnTo>
                    <a:pt x="1289" y="606"/>
                  </a:lnTo>
                  <a:lnTo>
                    <a:pt x="1290" y="611"/>
                  </a:lnTo>
                  <a:lnTo>
                    <a:pt x="1293" y="615"/>
                  </a:lnTo>
                  <a:lnTo>
                    <a:pt x="1296" y="618"/>
                  </a:lnTo>
                  <a:lnTo>
                    <a:pt x="1312" y="629"/>
                  </a:lnTo>
                  <a:lnTo>
                    <a:pt x="1326" y="638"/>
                  </a:lnTo>
                  <a:lnTo>
                    <a:pt x="1338" y="646"/>
                  </a:lnTo>
                  <a:lnTo>
                    <a:pt x="1345" y="652"/>
                  </a:lnTo>
                  <a:lnTo>
                    <a:pt x="1352" y="656"/>
                  </a:lnTo>
                  <a:lnTo>
                    <a:pt x="1357" y="659"/>
                  </a:lnTo>
                  <a:lnTo>
                    <a:pt x="1359" y="661"/>
                  </a:lnTo>
                  <a:lnTo>
                    <a:pt x="1361" y="662"/>
                  </a:lnTo>
                  <a:lnTo>
                    <a:pt x="1367" y="667"/>
                  </a:lnTo>
                  <a:lnTo>
                    <a:pt x="1372" y="672"/>
                  </a:lnTo>
                  <a:lnTo>
                    <a:pt x="1377" y="678"/>
                  </a:lnTo>
                  <a:lnTo>
                    <a:pt x="1381" y="684"/>
                  </a:lnTo>
                  <a:lnTo>
                    <a:pt x="1384" y="690"/>
                  </a:lnTo>
                  <a:lnTo>
                    <a:pt x="1385" y="695"/>
                  </a:lnTo>
                  <a:lnTo>
                    <a:pt x="1387" y="701"/>
                  </a:lnTo>
                  <a:lnTo>
                    <a:pt x="1387" y="708"/>
                  </a:lnTo>
                  <a:close/>
                  <a:moveTo>
                    <a:pt x="1283" y="695"/>
                  </a:moveTo>
                  <a:lnTo>
                    <a:pt x="1283" y="695"/>
                  </a:lnTo>
                  <a:lnTo>
                    <a:pt x="1285" y="702"/>
                  </a:lnTo>
                  <a:lnTo>
                    <a:pt x="1286" y="708"/>
                  </a:lnTo>
                  <a:lnTo>
                    <a:pt x="1287" y="712"/>
                  </a:lnTo>
                  <a:lnTo>
                    <a:pt x="1290" y="717"/>
                  </a:lnTo>
                  <a:lnTo>
                    <a:pt x="1293" y="720"/>
                  </a:lnTo>
                  <a:lnTo>
                    <a:pt x="1297" y="721"/>
                  </a:lnTo>
                  <a:lnTo>
                    <a:pt x="1303" y="724"/>
                  </a:lnTo>
                  <a:lnTo>
                    <a:pt x="1309" y="724"/>
                  </a:lnTo>
                  <a:lnTo>
                    <a:pt x="1309" y="758"/>
                  </a:lnTo>
                  <a:lnTo>
                    <a:pt x="1293" y="757"/>
                  </a:lnTo>
                  <a:lnTo>
                    <a:pt x="1279" y="754"/>
                  </a:lnTo>
                  <a:lnTo>
                    <a:pt x="1266" y="748"/>
                  </a:lnTo>
                  <a:lnTo>
                    <a:pt x="1257" y="741"/>
                  </a:lnTo>
                  <a:lnTo>
                    <a:pt x="1249" y="733"/>
                  </a:lnTo>
                  <a:lnTo>
                    <a:pt x="1244" y="723"/>
                  </a:lnTo>
                  <a:lnTo>
                    <a:pt x="1240" y="710"/>
                  </a:lnTo>
                  <a:lnTo>
                    <a:pt x="1240" y="695"/>
                  </a:lnTo>
                  <a:lnTo>
                    <a:pt x="1283" y="695"/>
                  </a:lnTo>
                  <a:close/>
                  <a:moveTo>
                    <a:pt x="1339" y="611"/>
                  </a:moveTo>
                  <a:lnTo>
                    <a:pt x="1339" y="611"/>
                  </a:lnTo>
                  <a:lnTo>
                    <a:pt x="1339" y="605"/>
                  </a:lnTo>
                  <a:lnTo>
                    <a:pt x="1338" y="600"/>
                  </a:lnTo>
                  <a:lnTo>
                    <a:pt x="1336" y="598"/>
                  </a:lnTo>
                  <a:lnTo>
                    <a:pt x="1335" y="593"/>
                  </a:lnTo>
                  <a:lnTo>
                    <a:pt x="1332" y="590"/>
                  </a:lnTo>
                  <a:lnTo>
                    <a:pt x="1328" y="589"/>
                  </a:lnTo>
                  <a:lnTo>
                    <a:pt x="1325" y="588"/>
                  </a:lnTo>
                  <a:lnTo>
                    <a:pt x="1319" y="586"/>
                  </a:lnTo>
                  <a:lnTo>
                    <a:pt x="1319" y="553"/>
                  </a:lnTo>
                  <a:lnTo>
                    <a:pt x="1335" y="555"/>
                  </a:lnTo>
                  <a:lnTo>
                    <a:pt x="1349" y="557"/>
                  </a:lnTo>
                  <a:lnTo>
                    <a:pt x="1359" y="562"/>
                  </a:lnTo>
                  <a:lnTo>
                    <a:pt x="1369" y="569"/>
                  </a:lnTo>
                  <a:lnTo>
                    <a:pt x="1377" y="576"/>
                  </a:lnTo>
                  <a:lnTo>
                    <a:pt x="1381" y="586"/>
                  </a:lnTo>
                  <a:lnTo>
                    <a:pt x="1385" y="598"/>
                  </a:lnTo>
                  <a:lnTo>
                    <a:pt x="1385" y="611"/>
                  </a:lnTo>
                  <a:lnTo>
                    <a:pt x="1339" y="611"/>
                  </a:lnTo>
                  <a:close/>
                  <a:moveTo>
                    <a:pt x="1220" y="606"/>
                  </a:moveTo>
                  <a:lnTo>
                    <a:pt x="1220" y="606"/>
                  </a:lnTo>
                  <a:lnTo>
                    <a:pt x="1218" y="593"/>
                  </a:lnTo>
                  <a:lnTo>
                    <a:pt x="1215" y="583"/>
                  </a:lnTo>
                  <a:lnTo>
                    <a:pt x="1211" y="575"/>
                  </a:lnTo>
                  <a:lnTo>
                    <a:pt x="1204" y="567"/>
                  </a:lnTo>
                  <a:lnTo>
                    <a:pt x="1195" y="560"/>
                  </a:lnTo>
                  <a:lnTo>
                    <a:pt x="1184" y="556"/>
                  </a:lnTo>
                  <a:lnTo>
                    <a:pt x="1171" y="553"/>
                  </a:lnTo>
                  <a:lnTo>
                    <a:pt x="1155" y="552"/>
                  </a:lnTo>
                  <a:lnTo>
                    <a:pt x="1155" y="585"/>
                  </a:lnTo>
                  <a:lnTo>
                    <a:pt x="1164" y="586"/>
                  </a:lnTo>
                  <a:lnTo>
                    <a:pt x="1169" y="590"/>
                  </a:lnTo>
                  <a:lnTo>
                    <a:pt x="1172" y="596"/>
                  </a:lnTo>
                  <a:lnTo>
                    <a:pt x="1174" y="605"/>
                  </a:lnTo>
                  <a:lnTo>
                    <a:pt x="1174" y="707"/>
                  </a:lnTo>
                  <a:lnTo>
                    <a:pt x="1172" y="715"/>
                  </a:lnTo>
                  <a:lnTo>
                    <a:pt x="1169" y="721"/>
                  </a:lnTo>
                  <a:lnTo>
                    <a:pt x="1164" y="724"/>
                  </a:lnTo>
                  <a:lnTo>
                    <a:pt x="1155" y="727"/>
                  </a:lnTo>
                  <a:lnTo>
                    <a:pt x="1155" y="758"/>
                  </a:lnTo>
                  <a:lnTo>
                    <a:pt x="1171" y="757"/>
                  </a:lnTo>
                  <a:lnTo>
                    <a:pt x="1184" y="754"/>
                  </a:lnTo>
                  <a:lnTo>
                    <a:pt x="1195" y="750"/>
                  </a:lnTo>
                  <a:lnTo>
                    <a:pt x="1204" y="743"/>
                  </a:lnTo>
                  <a:lnTo>
                    <a:pt x="1211" y="734"/>
                  </a:lnTo>
                  <a:lnTo>
                    <a:pt x="1215" y="725"/>
                  </a:lnTo>
                  <a:lnTo>
                    <a:pt x="1218" y="714"/>
                  </a:lnTo>
                  <a:lnTo>
                    <a:pt x="1220" y="701"/>
                  </a:lnTo>
                  <a:lnTo>
                    <a:pt x="1220" y="606"/>
                  </a:lnTo>
                  <a:close/>
                  <a:moveTo>
                    <a:pt x="1081" y="606"/>
                  </a:moveTo>
                  <a:lnTo>
                    <a:pt x="1081" y="606"/>
                  </a:lnTo>
                  <a:lnTo>
                    <a:pt x="1081" y="593"/>
                  </a:lnTo>
                  <a:lnTo>
                    <a:pt x="1084" y="583"/>
                  </a:lnTo>
                  <a:lnTo>
                    <a:pt x="1090" y="575"/>
                  </a:lnTo>
                  <a:lnTo>
                    <a:pt x="1097" y="567"/>
                  </a:lnTo>
                  <a:lnTo>
                    <a:pt x="1106" y="560"/>
                  </a:lnTo>
                  <a:lnTo>
                    <a:pt x="1117" y="556"/>
                  </a:lnTo>
                  <a:lnTo>
                    <a:pt x="1130" y="553"/>
                  </a:lnTo>
                  <a:lnTo>
                    <a:pt x="1146" y="552"/>
                  </a:lnTo>
                  <a:lnTo>
                    <a:pt x="1146" y="585"/>
                  </a:lnTo>
                  <a:lnTo>
                    <a:pt x="1138" y="586"/>
                  </a:lnTo>
                  <a:lnTo>
                    <a:pt x="1132" y="590"/>
                  </a:lnTo>
                  <a:lnTo>
                    <a:pt x="1129" y="596"/>
                  </a:lnTo>
                  <a:lnTo>
                    <a:pt x="1128" y="605"/>
                  </a:lnTo>
                  <a:lnTo>
                    <a:pt x="1128" y="707"/>
                  </a:lnTo>
                  <a:lnTo>
                    <a:pt x="1129" y="715"/>
                  </a:lnTo>
                  <a:lnTo>
                    <a:pt x="1132" y="721"/>
                  </a:lnTo>
                  <a:lnTo>
                    <a:pt x="1138" y="724"/>
                  </a:lnTo>
                  <a:lnTo>
                    <a:pt x="1146" y="727"/>
                  </a:lnTo>
                  <a:lnTo>
                    <a:pt x="1146" y="758"/>
                  </a:lnTo>
                  <a:lnTo>
                    <a:pt x="1130" y="757"/>
                  </a:lnTo>
                  <a:lnTo>
                    <a:pt x="1117" y="754"/>
                  </a:lnTo>
                  <a:lnTo>
                    <a:pt x="1106" y="750"/>
                  </a:lnTo>
                  <a:lnTo>
                    <a:pt x="1097" y="743"/>
                  </a:lnTo>
                  <a:lnTo>
                    <a:pt x="1090" y="734"/>
                  </a:lnTo>
                  <a:lnTo>
                    <a:pt x="1084" y="725"/>
                  </a:lnTo>
                  <a:lnTo>
                    <a:pt x="1081" y="714"/>
                  </a:lnTo>
                  <a:lnTo>
                    <a:pt x="1081" y="701"/>
                  </a:lnTo>
                  <a:lnTo>
                    <a:pt x="1081" y="606"/>
                  </a:lnTo>
                  <a:close/>
                  <a:moveTo>
                    <a:pt x="1007" y="556"/>
                  </a:moveTo>
                  <a:lnTo>
                    <a:pt x="1007" y="556"/>
                  </a:lnTo>
                  <a:lnTo>
                    <a:pt x="1050" y="556"/>
                  </a:lnTo>
                  <a:lnTo>
                    <a:pt x="1050" y="754"/>
                  </a:lnTo>
                  <a:lnTo>
                    <a:pt x="1007" y="754"/>
                  </a:lnTo>
                  <a:lnTo>
                    <a:pt x="1007" y="556"/>
                  </a:lnTo>
                  <a:close/>
                  <a:moveTo>
                    <a:pt x="903" y="556"/>
                  </a:moveTo>
                  <a:lnTo>
                    <a:pt x="903" y="556"/>
                  </a:lnTo>
                  <a:lnTo>
                    <a:pt x="946" y="556"/>
                  </a:lnTo>
                  <a:lnTo>
                    <a:pt x="946" y="754"/>
                  </a:lnTo>
                  <a:lnTo>
                    <a:pt x="903" y="754"/>
                  </a:lnTo>
                  <a:lnTo>
                    <a:pt x="903" y="556"/>
                  </a:lnTo>
                  <a:close/>
                  <a:moveTo>
                    <a:pt x="1001" y="674"/>
                  </a:moveTo>
                  <a:lnTo>
                    <a:pt x="1001" y="674"/>
                  </a:lnTo>
                  <a:lnTo>
                    <a:pt x="1001" y="741"/>
                  </a:lnTo>
                  <a:lnTo>
                    <a:pt x="952" y="641"/>
                  </a:lnTo>
                  <a:lnTo>
                    <a:pt x="952" y="572"/>
                  </a:lnTo>
                  <a:lnTo>
                    <a:pt x="1001" y="674"/>
                  </a:lnTo>
                  <a:close/>
                  <a:moveTo>
                    <a:pt x="822" y="516"/>
                  </a:moveTo>
                  <a:lnTo>
                    <a:pt x="822" y="516"/>
                  </a:lnTo>
                  <a:lnTo>
                    <a:pt x="860" y="516"/>
                  </a:lnTo>
                  <a:lnTo>
                    <a:pt x="822" y="546"/>
                  </a:lnTo>
                  <a:lnTo>
                    <a:pt x="795" y="546"/>
                  </a:lnTo>
                  <a:lnTo>
                    <a:pt x="757" y="516"/>
                  </a:lnTo>
                  <a:lnTo>
                    <a:pt x="795" y="516"/>
                  </a:lnTo>
                  <a:lnTo>
                    <a:pt x="808" y="529"/>
                  </a:lnTo>
                  <a:lnTo>
                    <a:pt x="822" y="516"/>
                  </a:lnTo>
                  <a:close/>
                  <a:moveTo>
                    <a:pt x="739" y="606"/>
                  </a:moveTo>
                  <a:lnTo>
                    <a:pt x="739" y="606"/>
                  </a:lnTo>
                  <a:lnTo>
                    <a:pt x="740" y="593"/>
                  </a:lnTo>
                  <a:lnTo>
                    <a:pt x="743" y="583"/>
                  </a:lnTo>
                  <a:lnTo>
                    <a:pt x="747" y="575"/>
                  </a:lnTo>
                  <a:lnTo>
                    <a:pt x="755" y="567"/>
                  </a:lnTo>
                  <a:lnTo>
                    <a:pt x="765" y="560"/>
                  </a:lnTo>
                  <a:lnTo>
                    <a:pt x="775" y="556"/>
                  </a:lnTo>
                  <a:lnTo>
                    <a:pt x="789" y="553"/>
                  </a:lnTo>
                  <a:lnTo>
                    <a:pt x="804" y="552"/>
                  </a:lnTo>
                  <a:lnTo>
                    <a:pt x="804" y="585"/>
                  </a:lnTo>
                  <a:lnTo>
                    <a:pt x="796" y="586"/>
                  </a:lnTo>
                  <a:lnTo>
                    <a:pt x="791" y="590"/>
                  </a:lnTo>
                  <a:lnTo>
                    <a:pt x="786" y="596"/>
                  </a:lnTo>
                  <a:lnTo>
                    <a:pt x="786" y="605"/>
                  </a:lnTo>
                  <a:lnTo>
                    <a:pt x="786" y="707"/>
                  </a:lnTo>
                  <a:lnTo>
                    <a:pt x="786" y="715"/>
                  </a:lnTo>
                  <a:lnTo>
                    <a:pt x="791" y="721"/>
                  </a:lnTo>
                  <a:lnTo>
                    <a:pt x="796" y="724"/>
                  </a:lnTo>
                  <a:lnTo>
                    <a:pt x="804" y="727"/>
                  </a:lnTo>
                  <a:lnTo>
                    <a:pt x="804" y="758"/>
                  </a:lnTo>
                  <a:lnTo>
                    <a:pt x="789" y="757"/>
                  </a:lnTo>
                  <a:lnTo>
                    <a:pt x="775" y="754"/>
                  </a:lnTo>
                  <a:lnTo>
                    <a:pt x="765" y="750"/>
                  </a:lnTo>
                  <a:lnTo>
                    <a:pt x="755" y="743"/>
                  </a:lnTo>
                  <a:lnTo>
                    <a:pt x="747" y="734"/>
                  </a:lnTo>
                  <a:lnTo>
                    <a:pt x="743" y="725"/>
                  </a:lnTo>
                  <a:lnTo>
                    <a:pt x="740" y="714"/>
                  </a:lnTo>
                  <a:lnTo>
                    <a:pt x="739" y="701"/>
                  </a:lnTo>
                  <a:lnTo>
                    <a:pt x="739" y="606"/>
                  </a:lnTo>
                  <a:close/>
                  <a:moveTo>
                    <a:pt x="814" y="727"/>
                  </a:moveTo>
                  <a:lnTo>
                    <a:pt x="814" y="727"/>
                  </a:lnTo>
                  <a:lnTo>
                    <a:pt x="822" y="725"/>
                  </a:lnTo>
                  <a:lnTo>
                    <a:pt x="828" y="721"/>
                  </a:lnTo>
                  <a:lnTo>
                    <a:pt x="831" y="718"/>
                  </a:lnTo>
                  <a:lnTo>
                    <a:pt x="832" y="715"/>
                  </a:lnTo>
                  <a:lnTo>
                    <a:pt x="832" y="711"/>
                  </a:lnTo>
                  <a:lnTo>
                    <a:pt x="834" y="707"/>
                  </a:lnTo>
                  <a:lnTo>
                    <a:pt x="834" y="681"/>
                  </a:lnTo>
                  <a:lnTo>
                    <a:pt x="880" y="681"/>
                  </a:lnTo>
                  <a:lnTo>
                    <a:pt x="880" y="701"/>
                  </a:lnTo>
                  <a:lnTo>
                    <a:pt x="880" y="714"/>
                  </a:lnTo>
                  <a:lnTo>
                    <a:pt x="876" y="725"/>
                  </a:lnTo>
                  <a:lnTo>
                    <a:pt x="871" y="735"/>
                  </a:lnTo>
                  <a:lnTo>
                    <a:pt x="864" y="744"/>
                  </a:lnTo>
                  <a:lnTo>
                    <a:pt x="854" y="750"/>
                  </a:lnTo>
                  <a:lnTo>
                    <a:pt x="842" y="754"/>
                  </a:lnTo>
                  <a:lnTo>
                    <a:pt x="829" y="757"/>
                  </a:lnTo>
                  <a:lnTo>
                    <a:pt x="814" y="758"/>
                  </a:lnTo>
                  <a:lnTo>
                    <a:pt x="814" y="727"/>
                  </a:lnTo>
                  <a:close/>
                  <a:moveTo>
                    <a:pt x="814" y="552"/>
                  </a:moveTo>
                  <a:lnTo>
                    <a:pt x="814" y="552"/>
                  </a:lnTo>
                  <a:lnTo>
                    <a:pt x="829" y="553"/>
                  </a:lnTo>
                  <a:lnTo>
                    <a:pt x="842" y="556"/>
                  </a:lnTo>
                  <a:lnTo>
                    <a:pt x="854" y="560"/>
                  </a:lnTo>
                  <a:lnTo>
                    <a:pt x="864" y="566"/>
                  </a:lnTo>
                  <a:lnTo>
                    <a:pt x="871" y="573"/>
                  </a:lnTo>
                  <a:lnTo>
                    <a:pt x="877" y="583"/>
                  </a:lnTo>
                  <a:lnTo>
                    <a:pt x="880" y="595"/>
                  </a:lnTo>
                  <a:lnTo>
                    <a:pt x="880" y="606"/>
                  </a:lnTo>
                  <a:lnTo>
                    <a:pt x="880" y="625"/>
                  </a:lnTo>
                  <a:lnTo>
                    <a:pt x="834" y="625"/>
                  </a:lnTo>
                  <a:lnTo>
                    <a:pt x="834" y="605"/>
                  </a:lnTo>
                  <a:lnTo>
                    <a:pt x="832" y="600"/>
                  </a:lnTo>
                  <a:lnTo>
                    <a:pt x="832" y="596"/>
                  </a:lnTo>
                  <a:lnTo>
                    <a:pt x="831" y="593"/>
                  </a:lnTo>
                  <a:lnTo>
                    <a:pt x="828" y="590"/>
                  </a:lnTo>
                  <a:lnTo>
                    <a:pt x="825" y="588"/>
                  </a:lnTo>
                  <a:lnTo>
                    <a:pt x="822" y="586"/>
                  </a:lnTo>
                  <a:lnTo>
                    <a:pt x="818" y="585"/>
                  </a:lnTo>
                  <a:lnTo>
                    <a:pt x="814" y="585"/>
                  </a:lnTo>
                  <a:lnTo>
                    <a:pt x="814" y="552"/>
                  </a:lnTo>
                  <a:close/>
                  <a:moveTo>
                    <a:pt x="608" y="556"/>
                  </a:moveTo>
                  <a:lnTo>
                    <a:pt x="608" y="556"/>
                  </a:lnTo>
                  <a:lnTo>
                    <a:pt x="654" y="556"/>
                  </a:lnTo>
                  <a:lnTo>
                    <a:pt x="654" y="754"/>
                  </a:lnTo>
                  <a:lnTo>
                    <a:pt x="608" y="754"/>
                  </a:lnTo>
                  <a:lnTo>
                    <a:pt x="608" y="556"/>
                  </a:lnTo>
                  <a:close/>
                  <a:moveTo>
                    <a:pt x="720" y="754"/>
                  </a:moveTo>
                  <a:lnTo>
                    <a:pt x="720" y="754"/>
                  </a:lnTo>
                  <a:lnTo>
                    <a:pt x="661" y="754"/>
                  </a:lnTo>
                  <a:lnTo>
                    <a:pt x="661" y="720"/>
                  </a:lnTo>
                  <a:lnTo>
                    <a:pt x="720" y="720"/>
                  </a:lnTo>
                  <a:lnTo>
                    <a:pt x="720" y="754"/>
                  </a:lnTo>
                  <a:close/>
                  <a:moveTo>
                    <a:pt x="661" y="556"/>
                  </a:moveTo>
                  <a:lnTo>
                    <a:pt x="661" y="556"/>
                  </a:lnTo>
                  <a:lnTo>
                    <a:pt x="720" y="556"/>
                  </a:lnTo>
                  <a:lnTo>
                    <a:pt x="720" y="589"/>
                  </a:lnTo>
                  <a:lnTo>
                    <a:pt x="661" y="589"/>
                  </a:lnTo>
                  <a:lnTo>
                    <a:pt x="661" y="556"/>
                  </a:lnTo>
                  <a:close/>
                  <a:moveTo>
                    <a:pt x="661" y="635"/>
                  </a:moveTo>
                  <a:lnTo>
                    <a:pt x="661" y="635"/>
                  </a:lnTo>
                  <a:lnTo>
                    <a:pt x="717" y="635"/>
                  </a:lnTo>
                  <a:lnTo>
                    <a:pt x="717" y="668"/>
                  </a:lnTo>
                  <a:lnTo>
                    <a:pt x="661" y="668"/>
                  </a:lnTo>
                  <a:lnTo>
                    <a:pt x="661" y="635"/>
                  </a:lnTo>
                  <a:close/>
                  <a:moveTo>
                    <a:pt x="523" y="636"/>
                  </a:moveTo>
                  <a:lnTo>
                    <a:pt x="523" y="636"/>
                  </a:lnTo>
                  <a:lnTo>
                    <a:pt x="529" y="636"/>
                  </a:lnTo>
                  <a:lnTo>
                    <a:pt x="533" y="635"/>
                  </a:lnTo>
                  <a:lnTo>
                    <a:pt x="536" y="633"/>
                  </a:lnTo>
                  <a:lnTo>
                    <a:pt x="539" y="631"/>
                  </a:lnTo>
                  <a:lnTo>
                    <a:pt x="541" y="628"/>
                  </a:lnTo>
                  <a:lnTo>
                    <a:pt x="543" y="623"/>
                  </a:lnTo>
                  <a:lnTo>
                    <a:pt x="544" y="618"/>
                  </a:lnTo>
                  <a:lnTo>
                    <a:pt x="544" y="613"/>
                  </a:lnTo>
                  <a:lnTo>
                    <a:pt x="544" y="608"/>
                  </a:lnTo>
                  <a:lnTo>
                    <a:pt x="543" y="602"/>
                  </a:lnTo>
                  <a:lnTo>
                    <a:pt x="541" y="599"/>
                  </a:lnTo>
                  <a:lnTo>
                    <a:pt x="539" y="595"/>
                  </a:lnTo>
                  <a:lnTo>
                    <a:pt x="536" y="593"/>
                  </a:lnTo>
                  <a:lnTo>
                    <a:pt x="533" y="590"/>
                  </a:lnTo>
                  <a:lnTo>
                    <a:pt x="529" y="590"/>
                  </a:lnTo>
                  <a:lnTo>
                    <a:pt x="523" y="589"/>
                  </a:lnTo>
                  <a:lnTo>
                    <a:pt x="507" y="589"/>
                  </a:lnTo>
                  <a:lnTo>
                    <a:pt x="507" y="556"/>
                  </a:lnTo>
                  <a:lnTo>
                    <a:pt x="521" y="556"/>
                  </a:lnTo>
                  <a:lnTo>
                    <a:pt x="539" y="557"/>
                  </a:lnTo>
                  <a:lnTo>
                    <a:pt x="552" y="560"/>
                  </a:lnTo>
                  <a:lnTo>
                    <a:pt x="565" y="563"/>
                  </a:lnTo>
                  <a:lnTo>
                    <a:pt x="575" y="569"/>
                  </a:lnTo>
                  <a:lnTo>
                    <a:pt x="582" y="577"/>
                  </a:lnTo>
                  <a:lnTo>
                    <a:pt x="588" y="586"/>
                  </a:lnTo>
                  <a:lnTo>
                    <a:pt x="590" y="596"/>
                  </a:lnTo>
                  <a:lnTo>
                    <a:pt x="592" y="609"/>
                  </a:lnTo>
                  <a:lnTo>
                    <a:pt x="590" y="623"/>
                  </a:lnTo>
                  <a:lnTo>
                    <a:pt x="588" y="636"/>
                  </a:lnTo>
                  <a:lnTo>
                    <a:pt x="582" y="646"/>
                  </a:lnTo>
                  <a:lnTo>
                    <a:pt x="575" y="655"/>
                  </a:lnTo>
                  <a:lnTo>
                    <a:pt x="565" y="661"/>
                  </a:lnTo>
                  <a:lnTo>
                    <a:pt x="553" y="667"/>
                  </a:lnTo>
                  <a:lnTo>
                    <a:pt x="539" y="669"/>
                  </a:lnTo>
                  <a:lnTo>
                    <a:pt x="523" y="669"/>
                  </a:lnTo>
                  <a:lnTo>
                    <a:pt x="507" y="669"/>
                  </a:lnTo>
                  <a:lnTo>
                    <a:pt x="507" y="636"/>
                  </a:lnTo>
                  <a:lnTo>
                    <a:pt x="523" y="636"/>
                  </a:lnTo>
                  <a:close/>
                  <a:moveTo>
                    <a:pt x="454" y="556"/>
                  </a:moveTo>
                  <a:lnTo>
                    <a:pt x="454" y="556"/>
                  </a:lnTo>
                  <a:lnTo>
                    <a:pt x="500" y="556"/>
                  </a:lnTo>
                  <a:lnTo>
                    <a:pt x="500" y="754"/>
                  </a:lnTo>
                  <a:lnTo>
                    <a:pt x="454" y="754"/>
                  </a:lnTo>
                  <a:lnTo>
                    <a:pt x="454" y="556"/>
                  </a:lnTo>
                  <a:close/>
                  <a:moveTo>
                    <a:pt x="357" y="712"/>
                  </a:moveTo>
                  <a:lnTo>
                    <a:pt x="357" y="712"/>
                  </a:lnTo>
                  <a:lnTo>
                    <a:pt x="307" y="712"/>
                  </a:lnTo>
                  <a:lnTo>
                    <a:pt x="377" y="598"/>
                  </a:lnTo>
                  <a:lnTo>
                    <a:pt x="428" y="598"/>
                  </a:lnTo>
                  <a:lnTo>
                    <a:pt x="357" y="712"/>
                  </a:lnTo>
                  <a:close/>
                  <a:moveTo>
                    <a:pt x="301" y="720"/>
                  </a:moveTo>
                  <a:lnTo>
                    <a:pt x="301" y="720"/>
                  </a:lnTo>
                  <a:lnTo>
                    <a:pt x="433" y="720"/>
                  </a:lnTo>
                  <a:lnTo>
                    <a:pt x="433" y="754"/>
                  </a:lnTo>
                  <a:lnTo>
                    <a:pt x="301" y="754"/>
                  </a:lnTo>
                  <a:lnTo>
                    <a:pt x="301" y="720"/>
                  </a:lnTo>
                  <a:close/>
                  <a:moveTo>
                    <a:pt x="308" y="556"/>
                  </a:moveTo>
                  <a:lnTo>
                    <a:pt x="308" y="556"/>
                  </a:lnTo>
                  <a:lnTo>
                    <a:pt x="433" y="556"/>
                  </a:lnTo>
                  <a:lnTo>
                    <a:pt x="433" y="592"/>
                  </a:lnTo>
                  <a:lnTo>
                    <a:pt x="308" y="592"/>
                  </a:lnTo>
                  <a:lnTo>
                    <a:pt x="308" y="556"/>
                  </a:lnTo>
                  <a:close/>
                  <a:moveTo>
                    <a:pt x="170" y="556"/>
                  </a:moveTo>
                  <a:lnTo>
                    <a:pt x="170" y="556"/>
                  </a:lnTo>
                  <a:lnTo>
                    <a:pt x="216" y="556"/>
                  </a:lnTo>
                  <a:lnTo>
                    <a:pt x="216" y="754"/>
                  </a:lnTo>
                  <a:lnTo>
                    <a:pt x="170" y="754"/>
                  </a:lnTo>
                  <a:lnTo>
                    <a:pt x="170" y="556"/>
                  </a:lnTo>
                  <a:close/>
                  <a:moveTo>
                    <a:pt x="282" y="754"/>
                  </a:moveTo>
                  <a:lnTo>
                    <a:pt x="282" y="754"/>
                  </a:lnTo>
                  <a:lnTo>
                    <a:pt x="223" y="754"/>
                  </a:lnTo>
                  <a:lnTo>
                    <a:pt x="223" y="720"/>
                  </a:lnTo>
                  <a:lnTo>
                    <a:pt x="282" y="720"/>
                  </a:lnTo>
                  <a:lnTo>
                    <a:pt x="282" y="754"/>
                  </a:lnTo>
                  <a:close/>
                  <a:moveTo>
                    <a:pt x="223" y="556"/>
                  </a:moveTo>
                  <a:lnTo>
                    <a:pt x="223" y="556"/>
                  </a:lnTo>
                  <a:lnTo>
                    <a:pt x="282" y="556"/>
                  </a:lnTo>
                  <a:lnTo>
                    <a:pt x="282" y="589"/>
                  </a:lnTo>
                  <a:lnTo>
                    <a:pt x="223" y="589"/>
                  </a:lnTo>
                  <a:lnTo>
                    <a:pt x="223" y="556"/>
                  </a:lnTo>
                  <a:close/>
                  <a:moveTo>
                    <a:pt x="223" y="635"/>
                  </a:moveTo>
                  <a:lnTo>
                    <a:pt x="223" y="635"/>
                  </a:lnTo>
                  <a:lnTo>
                    <a:pt x="279" y="635"/>
                  </a:lnTo>
                  <a:lnTo>
                    <a:pt x="279" y="668"/>
                  </a:lnTo>
                  <a:lnTo>
                    <a:pt x="223" y="668"/>
                  </a:lnTo>
                  <a:lnTo>
                    <a:pt x="223" y="635"/>
                  </a:lnTo>
                  <a:close/>
                  <a:moveTo>
                    <a:pt x="76" y="636"/>
                  </a:moveTo>
                  <a:lnTo>
                    <a:pt x="76" y="636"/>
                  </a:lnTo>
                  <a:lnTo>
                    <a:pt x="81" y="636"/>
                  </a:lnTo>
                  <a:lnTo>
                    <a:pt x="85" y="635"/>
                  </a:lnTo>
                  <a:lnTo>
                    <a:pt x="89" y="633"/>
                  </a:lnTo>
                  <a:lnTo>
                    <a:pt x="92" y="631"/>
                  </a:lnTo>
                  <a:lnTo>
                    <a:pt x="95" y="628"/>
                  </a:lnTo>
                  <a:lnTo>
                    <a:pt x="97" y="623"/>
                  </a:lnTo>
                  <a:lnTo>
                    <a:pt x="97" y="618"/>
                  </a:lnTo>
                  <a:lnTo>
                    <a:pt x="98" y="613"/>
                  </a:lnTo>
                  <a:lnTo>
                    <a:pt x="97" y="608"/>
                  </a:lnTo>
                  <a:lnTo>
                    <a:pt x="97" y="602"/>
                  </a:lnTo>
                  <a:lnTo>
                    <a:pt x="95" y="599"/>
                  </a:lnTo>
                  <a:lnTo>
                    <a:pt x="92" y="595"/>
                  </a:lnTo>
                  <a:lnTo>
                    <a:pt x="89" y="593"/>
                  </a:lnTo>
                  <a:lnTo>
                    <a:pt x="85" y="590"/>
                  </a:lnTo>
                  <a:lnTo>
                    <a:pt x="81" y="590"/>
                  </a:lnTo>
                  <a:lnTo>
                    <a:pt x="76" y="589"/>
                  </a:lnTo>
                  <a:lnTo>
                    <a:pt x="61" y="589"/>
                  </a:lnTo>
                  <a:lnTo>
                    <a:pt x="61" y="556"/>
                  </a:lnTo>
                  <a:lnTo>
                    <a:pt x="75" y="556"/>
                  </a:lnTo>
                  <a:lnTo>
                    <a:pt x="91" y="557"/>
                  </a:lnTo>
                  <a:lnTo>
                    <a:pt x="105" y="560"/>
                  </a:lnTo>
                  <a:lnTo>
                    <a:pt x="117" y="563"/>
                  </a:lnTo>
                  <a:lnTo>
                    <a:pt x="127" y="569"/>
                  </a:lnTo>
                  <a:lnTo>
                    <a:pt x="134" y="577"/>
                  </a:lnTo>
                  <a:lnTo>
                    <a:pt x="140" y="586"/>
                  </a:lnTo>
                  <a:lnTo>
                    <a:pt x="143" y="596"/>
                  </a:lnTo>
                  <a:lnTo>
                    <a:pt x="144" y="609"/>
                  </a:lnTo>
                  <a:lnTo>
                    <a:pt x="144" y="618"/>
                  </a:lnTo>
                  <a:lnTo>
                    <a:pt x="143" y="626"/>
                  </a:lnTo>
                  <a:lnTo>
                    <a:pt x="141" y="633"/>
                  </a:lnTo>
                  <a:lnTo>
                    <a:pt x="138" y="639"/>
                  </a:lnTo>
                  <a:lnTo>
                    <a:pt x="134" y="645"/>
                  </a:lnTo>
                  <a:lnTo>
                    <a:pt x="130" y="648"/>
                  </a:lnTo>
                  <a:lnTo>
                    <a:pt x="124" y="651"/>
                  </a:lnTo>
                  <a:lnTo>
                    <a:pt x="118" y="654"/>
                  </a:lnTo>
                  <a:lnTo>
                    <a:pt x="124" y="655"/>
                  </a:lnTo>
                  <a:lnTo>
                    <a:pt x="130" y="659"/>
                  </a:lnTo>
                  <a:lnTo>
                    <a:pt x="135" y="664"/>
                  </a:lnTo>
                  <a:lnTo>
                    <a:pt x="140" y="668"/>
                  </a:lnTo>
                  <a:lnTo>
                    <a:pt x="143" y="675"/>
                  </a:lnTo>
                  <a:lnTo>
                    <a:pt x="145" y="682"/>
                  </a:lnTo>
                  <a:lnTo>
                    <a:pt x="147" y="691"/>
                  </a:lnTo>
                  <a:lnTo>
                    <a:pt x="147" y="701"/>
                  </a:lnTo>
                  <a:lnTo>
                    <a:pt x="147" y="712"/>
                  </a:lnTo>
                  <a:lnTo>
                    <a:pt x="143" y="724"/>
                  </a:lnTo>
                  <a:lnTo>
                    <a:pt x="137" y="734"/>
                  </a:lnTo>
                  <a:lnTo>
                    <a:pt x="130" y="741"/>
                  </a:lnTo>
                  <a:lnTo>
                    <a:pt x="120" y="747"/>
                  </a:lnTo>
                  <a:lnTo>
                    <a:pt x="108" y="751"/>
                  </a:lnTo>
                  <a:lnTo>
                    <a:pt x="94" y="754"/>
                  </a:lnTo>
                  <a:lnTo>
                    <a:pt x="78" y="754"/>
                  </a:lnTo>
                  <a:lnTo>
                    <a:pt x="61" y="754"/>
                  </a:lnTo>
                  <a:lnTo>
                    <a:pt x="61" y="721"/>
                  </a:lnTo>
                  <a:lnTo>
                    <a:pt x="78" y="721"/>
                  </a:lnTo>
                  <a:lnTo>
                    <a:pt x="82" y="721"/>
                  </a:lnTo>
                  <a:lnTo>
                    <a:pt x="88" y="720"/>
                  </a:lnTo>
                  <a:lnTo>
                    <a:pt x="91" y="718"/>
                  </a:lnTo>
                  <a:lnTo>
                    <a:pt x="95" y="715"/>
                  </a:lnTo>
                  <a:lnTo>
                    <a:pt x="98" y="712"/>
                  </a:lnTo>
                  <a:lnTo>
                    <a:pt x="99" y="708"/>
                  </a:lnTo>
                  <a:lnTo>
                    <a:pt x="101" y="702"/>
                  </a:lnTo>
                  <a:lnTo>
                    <a:pt x="101" y="697"/>
                  </a:lnTo>
                  <a:lnTo>
                    <a:pt x="101" y="690"/>
                  </a:lnTo>
                  <a:lnTo>
                    <a:pt x="99" y="685"/>
                  </a:lnTo>
                  <a:lnTo>
                    <a:pt x="97" y="681"/>
                  </a:lnTo>
                  <a:lnTo>
                    <a:pt x="95" y="677"/>
                  </a:lnTo>
                  <a:lnTo>
                    <a:pt x="91" y="674"/>
                  </a:lnTo>
                  <a:lnTo>
                    <a:pt x="86" y="671"/>
                  </a:lnTo>
                  <a:lnTo>
                    <a:pt x="82" y="671"/>
                  </a:lnTo>
                  <a:lnTo>
                    <a:pt x="76" y="669"/>
                  </a:lnTo>
                  <a:lnTo>
                    <a:pt x="61" y="669"/>
                  </a:lnTo>
                  <a:lnTo>
                    <a:pt x="61" y="636"/>
                  </a:lnTo>
                  <a:lnTo>
                    <a:pt x="76" y="636"/>
                  </a:lnTo>
                  <a:close/>
                  <a:moveTo>
                    <a:pt x="7" y="556"/>
                  </a:moveTo>
                  <a:lnTo>
                    <a:pt x="7" y="556"/>
                  </a:lnTo>
                  <a:lnTo>
                    <a:pt x="52" y="556"/>
                  </a:lnTo>
                  <a:lnTo>
                    <a:pt x="52" y="754"/>
                  </a:lnTo>
                  <a:lnTo>
                    <a:pt x="7" y="754"/>
                  </a:lnTo>
                  <a:lnTo>
                    <a:pt x="7" y="5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4" name="Freeform 29">
              <a:extLst>
                <a:ext uri="{FF2B5EF4-FFF2-40B4-BE49-F238E27FC236}">
                  <a16:creationId xmlns:a16="http://schemas.microsoft.com/office/drawing/2014/main" id="{27E21B7F-47E2-3E15-2280-8081C73CD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3200" y="785813"/>
              <a:ext cx="506413" cy="536575"/>
            </a:xfrm>
            <a:custGeom>
              <a:avLst/>
              <a:gdLst>
                <a:gd name="T0" fmla="*/ 799 w 958"/>
                <a:gd name="T1" fmla="*/ 809 h 1013"/>
                <a:gd name="T2" fmla="*/ 829 w 958"/>
                <a:gd name="T3" fmla="*/ 561 h 1013"/>
                <a:gd name="T4" fmla="*/ 952 w 958"/>
                <a:gd name="T5" fmla="*/ 261 h 1013"/>
                <a:gd name="T6" fmla="*/ 876 w 958"/>
                <a:gd name="T7" fmla="*/ 347 h 1013"/>
                <a:gd name="T8" fmla="*/ 854 w 958"/>
                <a:gd name="T9" fmla="*/ 438 h 1013"/>
                <a:gd name="T10" fmla="*/ 804 w 958"/>
                <a:gd name="T11" fmla="*/ 468 h 1013"/>
                <a:gd name="T12" fmla="*/ 769 w 958"/>
                <a:gd name="T13" fmla="*/ 541 h 1013"/>
                <a:gd name="T14" fmla="*/ 685 w 958"/>
                <a:gd name="T15" fmla="*/ 501 h 1013"/>
                <a:gd name="T16" fmla="*/ 647 w 958"/>
                <a:gd name="T17" fmla="*/ 489 h 1013"/>
                <a:gd name="T18" fmla="*/ 622 w 958"/>
                <a:gd name="T19" fmla="*/ 481 h 1013"/>
                <a:gd name="T20" fmla="*/ 541 w 958"/>
                <a:gd name="T21" fmla="*/ 494 h 1013"/>
                <a:gd name="T22" fmla="*/ 487 w 958"/>
                <a:gd name="T23" fmla="*/ 473 h 1013"/>
                <a:gd name="T24" fmla="*/ 354 w 958"/>
                <a:gd name="T25" fmla="*/ 317 h 1013"/>
                <a:gd name="T26" fmla="*/ 311 w 958"/>
                <a:gd name="T27" fmla="*/ 120 h 1013"/>
                <a:gd name="T28" fmla="*/ 255 w 958"/>
                <a:gd name="T29" fmla="*/ 165 h 1013"/>
                <a:gd name="T30" fmla="*/ 271 w 958"/>
                <a:gd name="T31" fmla="*/ 277 h 1013"/>
                <a:gd name="T32" fmla="*/ 300 w 958"/>
                <a:gd name="T33" fmla="*/ 359 h 1013"/>
                <a:gd name="T34" fmla="*/ 374 w 958"/>
                <a:gd name="T35" fmla="*/ 455 h 1013"/>
                <a:gd name="T36" fmla="*/ 395 w 958"/>
                <a:gd name="T37" fmla="*/ 517 h 1013"/>
                <a:gd name="T38" fmla="*/ 393 w 958"/>
                <a:gd name="T39" fmla="*/ 584 h 1013"/>
                <a:gd name="T40" fmla="*/ 419 w 958"/>
                <a:gd name="T41" fmla="*/ 639 h 1013"/>
                <a:gd name="T42" fmla="*/ 570 w 958"/>
                <a:gd name="T43" fmla="*/ 666 h 1013"/>
                <a:gd name="T44" fmla="*/ 543 w 958"/>
                <a:gd name="T45" fmla="*/ 741 h 1013"/>
                <a:gd name="T46" fmla="*/ 439 w 958"/>
                <a:gd name="T47" fmla="*/ 751 h 1013"/>
                <a:gd name="T48" fmla="*/ 408 w 958"/>
                <a:gd name="T49" fmla="*/ 735 h 1013"/>
                <a:gd name="T50" fmla="*/ 318 w 958"/>
                <a:gd name="T51" fmla="*/ 769 h 1013"/>
                <a:gd name="T52" fmla="*/ 239 w 958"/>
                <a:gd name="T53" fmla="*/ 812 h 1013"/>
                <a:gd name="T54" fmla="*/ 380 w 958"/>
                <a:gd name="T55" fmla="*/ 947 h 1013"/>
                <a:gd name="T56" fmla="*/ 527 w 958"/>
                <a:gd name="T57" fmla="*/ 1003 h 1013"/>
                <a:gd name="T58" fmla="*/ 605 w 958"/>
                <a:gd name="T59" fmla="*/ 805 h 1013"/>
                <a:gd name="T60" fmla="*/ 618 w 958"/>
                <a:gd name="T61" fmla="*/ 748 h 1013"/>
                <a:gd name="T62" fmla="*/ 531 w 958"/>
                <a:gd name="T63" fmla="*/ 802 h 1013"/>
                <a:gd name="T64" fmla="*/ 220 w 958"/>
                <a:gd name="T65" fmla="*/ 731 h 1013"/>
                <a:gd name="T66" fmla="*/ 141 w 958"/>
                <a:gd name="T67" fmla="*/ 649 h 1013"/>
                <a:gd name="T68" fmla="*/ 39 w 958"/>
                <a:gd name="T69" fmla="*/ 604 h 1013"/>
                <a:gd name="T70" fmla="*/ 82 w 958"/>
                <a:gd name="T71" fmla="*/ 703 h 1013"/>
                <a:gd name="T72" fmla="*/ 212 w 958"/>
                <a:gd name="T73" fmla="*/ 797 h 1013"/>
                <a:gd name="T74" fmla="*/ 400 w 958"/>
                <a:gd name="T75" fmla="*/ 739 h 1013"/>
                <a:gd name="T76" fmla="*/ 399 w 958"/>
                <a:gd name="T77" fmla="*/ 718 h 1013"/>
                <a:gd name="T78" fmla="*/ 452 w 958"/>
                <a:gd name="T79" fmla="*/ 735 h 1013"/>
                <a:gd name="T80" fmla="*/ 435 w 958"/>
                <a:gd name="T81" fmla="*/ 621 h 1013"/>
                <a:gd name="T82" fmla="*/ 42 w 958"/>
                <a:gd name="T83" fmla="*/ 616 h 1013"/>
                <a:gd name="T84" fmla="*/ 793 w 958"/>
                <a:gd name="T85" fmla="*/ 564 h 1013"/>
                <a:gd name="T86" fmla="*/ 694 w 958"/>
                <a:gd name="T87" fmla="*/ 430 h 1013"/>
                <a:gd name="T88" fmla="*/ 755 w 958"/>
                <a:gd name="T89" fmla="*/ 93 h 1013"/>
                <a:gd name="T90" fmla="*/ 680 w 958"/>
                <a:gd name="T91" fmla="*/ 149 h 1013"/>
                <a:gd name="T92" fmla="*/ 664 w 958"/>
                <a:gd name="T93" fmla="*/ 278 h 1013"/>
                <a:gd name="T94" fmla="*/ 638 w 958"/>
                <a:gd name="T95" fmla="*/ 387 h 1013"/>
                <a:gd name="T96" fmla="*/ 644 w 958"/>
                <a:gd name="T97" fmla="*/ 462 h 1013"/>
                <a:gd name="T98" fmla="*/ 559 w 958"/>
                <a:gd name="T99" fmla="*/ 453 h 1013"/>
                <a:gd name="T100" fmla="*/ 559 w 958"/>
                <a:gd name="T101" fmla="*/ 291 h 1013"/>
                <a:gd name="T102" fmla="*/ 550 w 958"/>
                <a:gd name="T103" fmla="*/ 145 h 1013"/>
                <a:gd name="T104" fmla="*/ 485 w 958"/>
                <a:gd name="T105" fmla="*/ 8 h 1013"/>
                <a:gd name="T106" fmla="*/ 475 w 958"/>
                <a:gd name="T107" fmla="*/ 189 h 1013"/>
                <a:gd name="T108" fmla="*/ 485 w 958"/>
                <a:gd name="T109" fmla="*/ 251 h 1013"/>
                <a:gd name="T110" fmla="*/ 478 w 958"/>
                <a:gd name="T111" fmla="*/ 351 h 1013"/>
                <a:gd name="T112" fmla="*/ 850 w 958"/>
                <a:gd name="T113" fmla="*/ 389 h 1013"/>
                <a:gd name="T114" fmla="*/ 677 w 958"/>
                <a:gd name="T115" fmla="*/ 321 h 1013"/>
                <a:gd name="T116" fmla="*/ 275 w 958"/>
                <a:gd name="T117" fmla="*/ 140 h 1013"/>
                <a:gd name="T118" fmla="*/ 713 w 958"/>
                <a:gd name="T119" fmla="*/ 116 h 1013"/>
                <a:gd name="T120" fmla="*/ 710 w 958"/>
                <a:gd name="T121" fmla="*/ 93 h 1013"/>
                <a:gd name="T122" fmla="*/ 498 w 958"/>
                <a:gd name="T123" fmla="*/ 47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8" h="1013">
                  <a:moveTo>
                    <a:pt x="628" y="1013"/>
                  </a:moveTo>
                  <a:lnTo>
                    <a:pt x="647" y="1013"/>
                  </a:lnTo>
                  <a:lnTo>
                    <a:pt x="662" y="1011"/>
                  </a:lnTo>
                  <a:lnTo>
                    <a:pt x="664" y="1008"/>
                  </a:lnTo>
                  <a:lnTo>
                    <a:pt x="665" y="1006"/>
                  </a:lnTo>
                  <a:lnTo>
                    <a:pt x="678" y="1003"/>
                  </a:lnTo>
                  <a:lnTo>
                    <a:pt x="691" y="999"/>
                  </a:lnTo>
                  <a:lnTo>
                    <a:pt x="697" y="996"/>
                  </a:lnTo>
                  <a:lnTo>
                    <a:pt x="703" y="992"/>
                  </a:lnTo>
                  <a:lnTo>
                    <a:pt x="708" y="989"/>
                  </a:lnTo>
                  <a:lnTo>
                    <a:pt x="711" y="983"/>
                  </a:lnTo>
                  <a:lnTo>
                    <a:pt x="719" y="979"/>
                  </a:lnTo>
                  <a:lnTo>
                    <a:pt x="724" y="976"/>
                  </a:lnTo>
                  <a:lnTo>
                    <a:pt x="733" y="967"/>
                  </a:lnTo>
                  <a:lnTo>
                    <a:pt x="740" y="956"/>
                  </a:lnTo>
                  <a:lnTo>
                    <a:pt x="747" y="946"/>
                  </a:lnTo>
                  <a:lnTo>
                    <a:pt x="753" y="933"/>
                  </a:lnTo>
                  <a:lnTo>
                    <a:pt x="765" y="917"/>
                  </a:lnTo>
                  <a:lnTo>
                    <a:pt x="775" y="899"/>
                  </a:lnTo>
                  <a:lnTo>
                    <a:pt x="782" y="881"/>
                  </a:lnTo>
                  <a:lnTo>
                    <a:pt x="791" y="863"/>
                  </a:lnTo>
                  <a:lnTo>
                    <a:pt x="792" y="850"/>
                  </a:lnTo>
                  <a:lnTo>
                    <a:pt x="795" y="837"/>
                  </a:lnTo>
                  <a:lnTo>
                    <a:pt x="796" y="824"/>
                  </a:lnTo>
                  <a:lnTo>
                    <a:pt x="799" y="809"/>
                  </a:lnTo>
                  <a:lnTo>
                    <a:pt x="802" y="797"/>
                  </a:lnTo>
                  <a:lnTo>
                    <a:pt x="802" y="782"/>
                  </a:lnTo>
                  <a:lnTo>
                    <a:pt x="806" y="761"/>
                  </a:lnTo>
                  <a:lnTo>
                    <a:pt x="809" y="738"/>
                  </a:lnTo>
                  <a:lnTo>
                    <a:pt x="811" y="715"/>
                  </a:lnTo>
                  <a:lnTo>
                    <a:pt x="812" y="692"/>
                  </a:lnTo>
                  <a:lnTo>
                    <a:pt x="814" y="689"/>
                  </a:lnTo>
                  <a:lnTo>
                    <a:pt x="815" y="683"/>
                  </a:lnTo>
                  <a:lnTo>
                    <a:pt x="816" y="667"/>
                  </a:lnTo>
                  <a:lnTo>
                    <a:pt x="816" y="653"/>
                  </a:lnTo>
                  <a:lnTo>
                    <a:pt x="818" y="637"/>
                  </a:lnTo>
                  <a:lnTo>
                    <a:pt x="818" y="621"/>
                  </a:lnTo>
                  <a:lnTo>
                    <a:pt x="818" y="619"/>
                  </a:lnTo>
                  <a:lnTo>
                    <a:pt x="819" y="616"/>
                  </a:lnTo>
                  <a:lnTo>
                    <a:pt x="819" y="607"/>
                  </a:lnTo>
                  <a:lnTo>
                    <a:pt x="819" y="598"/>
                  </a:lnTo>
                  <a:lnTo>
                    <a:pt x="814" y="588"/>
                  </a:lnTo>
                  <a:lnTo>
                    <a:pt x="808" y="577"/>
                  </a:lnTo>
                  <a:lnTo>
                    <a:pt x="811" y="575"/>
                  </a:lnTo>
                  <a:lnTo>
                    <a:pt x="812" y="575"/>
                  </a:lnTo>
                  <a:lnTo>
                    <a:pt x="812" y="573"/>
                  </a:lnTo>
                  <a:lnTo>
                    <a:pt x="811" y="571"/>
                  </a:lnTo>
                  <a:lnTo>
                    <a:pt x="818" y="570"/>
                  </a:lnTo>
                  <a:lnTo>
                    <a:pt x="824" y="565"/>
                  </a:lnTo>
                  <a:lnTo>
                    <a:pt x="829" y="561"/>
                  </a:lnTo>
                  <a:lnTo>
                    <a:pt x="835" y="557"/>
                  </a:lnTo>
                  <a:lnTo>
                    <a:pt x="835" y="555"/>
                  </a:lnTo>
                  <a:lnTo>
                    <a:pt x="838" y="551"/>
                  </a:lnTo>
                  <a:lnTo>
                    <a:pt x="844" y="545"/>
                  </a:lnTo>
                  <a:lnTo>
                    <a:pt x="850" y="537"/>
                  </a:lnTo>
                  <a:lnTo>
                    <a:pt x="855" y="527"/>
                  </a:lnTo>
                  <a:lnTo>
                    <a:pt x="867" y="505"/>
                  </a:lnTo>
                  <a:lnTo>
                    <a:pt x="876" y="489"/>
                  </a:lnTo>
                  <a:lnTo>
                    <a:pt x="878" y="482"/>
                  </a:lnTo>
                  <a:lnTo>
                    <a:pt x="880" y="475"/>
                  </a:lnTo>
                  <a:lnTo>
                    <a:pt x="886" y="468"/>
                  </a:lnTo>
                  <a:lnTo>
                    <a:pt x="894" y="458"/>
                  </a:lnTo>
                  <a:lnTo>
                    <a:pt x="904" y="438"/>
                  </a:lnTo>
                  <a:lnTo>
                    <a:pt x="913" y="417"/>
                  </a:lnTo>
                  <a:lnTo>
                    <a:pt x="922" y="396"/>
                  </a:lnTo>
                  <a:lnTo>
                    <a:pt x="927" y="374"/>
                  </a:lnTo>
                  <a:lnTo>
                    <a:pt x="936" y="361"/>
                  </a:lnTo>
                  <a:lnTo>
                    <a:pt x="940" y="347"/>
                  </a:lnTo>
                  <a:lnTo>
                    <a:pt x="942" y="341"/>
                  </a:lnTo>
                  <a:lnTo>
                    <a:pt x="943" y="340"/>
                  </a:lnTo>
                  <a:lnTo>
                    <a:pt x="949" y="323"/>
                  </a:lnTo>
                  <a:lnTo>
                    <a:pt x="953" y="305"/>
                  </a:lnTo>
                  <a:lnTo>
                    <a:pt x="958" y="290"/>
                  </a:lnTo>
                  <a:lnTo>
                    <a:pt x="958" y="271"/>
                  </a:lnTo>
                  <a:lnTo>
                    <a:pt x="952" y="261"/>
                  </a:lnTo>
                  <a:lnTo>
                    <a:pt x="945" y="252"/>
                  </a:lnTo>
                  <a:lnTo>
                    <a:pt x="936" y="247"/>
                  </a:lnTo>
                  <a:lnTo>
                    <a:pt x="924" y="241"/>
                  </a:lnTo>
                  <a:lnTo>
                    <a:pt x="917" y="242"/>
                  </a:lnTo>
                  <a:lnTo>
                    <a:pt x="912" y="242"/>
                  </a:lnTo>
                  <a:lnTo>
                    <a:pt x="903" y="248"/>
                  </a:lnTo>
                  <a:lnTo>
                    <a:pt x="896" y="252"/>
                  </a:lnTo>
                  <a:lnTo>
                    <a:pt x="890" y="264"/>
                  </a:lnTo>
                  <a:lnTo>
                    <a:pt x="884" y="274"/>
                  </a:lnTo>
                  <a:lnTo>
                    <a:pt x="881" y="285"/>
                  </a:lnTo>
                  <a:lnTo>
                    <a:pt x="880" y="298"/>
                  </a:lnTo>
                  <a:lnTo>
                    <a:pt x="877" y="305"/>
                  </a:lnTo>
                  <a:lnTo>
                    <a:pt x="876" y="311"/>
                  </a:lnTo>
                  <a:lnTo>
                    <a:pt x="874" y="317"/>
                  </a:lnTo>
                  <a:lnTo>
                    <a:pt x="874" y="321"/>
                  </a:lnTo>
                  <a:lnTo>
                    <a:pt x="873" y="327"/>
                  </a:lnTo>
                  <a:lnTo>
                    <a:pt x="871" y="333"/>
                  </a:lnTo>
                  <a:lnTo>
                    <a:pt x="873" y="336"/>
                  </a:lnTo>
                  <a:lnTo>
                    <a:pt x="874" y="338"/>
                  </a:lnTo>
                  <a:lnTo>
                    <a:pt x="873" y="340"/>
                  </a:lnTo>
                  <a:lnTo>
                    <a:pt x="870" y="340"/>
                  </a:lnTo>
                  <a:lnTo>
                    <a:pt x="871" y="343"/>
                  </a:lnTo>
                  <a:lnTo>
                    <a:pt x="873" y="346"/>
                  </a:lnTo>
                  <a:lnTo>
                    <a:pt x="874" y="346"/>
                  </a:lnTo>
                  <a:lnTo>
                    <a:pt x="876" y="347"/>
                  </a:lnTo>
                  <a:lnTo>
                    <a:pt x="876" y="350"/>
                  </a:lnTo>
                  <a:lnTo>
                    <a:pt x="873" y="350"/>
                  </a:lnTo>
                  <a:lnTo>
                    <a:pt x="870" y="351"/>
                  </a:lnTo>
                  <a:lnTo>
                    <a:pt x="877" y="357"/>
                  </a:lnTo>
                  <a:lnTo>
                    <a:pt x="884" y="363"/>
                  </a:lnTo>
                  <a:lnTo>
                    <a:pt x="884" y="364"/>
                  </a:lnTo>
                  <a:lnTo>
                    <a:pt x="877" y="363"/>
                  </a:lnTo>
                  <a:lnTo>
                    <a:pt x="871" y="364"/>
                  </a:lnTo>
                  <a:lnTo>
                    <a:pt x="867" y="366"/>
                  </a:lnTo>
                  <a:lnTo>
                    <a:pt x="863" y="372"/>
                  </a:lnTo>
                  <a:lnTo>
                    <a:pt x="858" y="374"/>
                  </a:lnTo>
                  <a:lnTo>
                    <a:pt x="857" y="377"/>
                  </a:lnTo>
                  <a:lnTo>
                    <a:pt x="854" y="380"/>
                  </a:lnTo>
                  <a:lnTo>
                    <a:pt x="854" y="384"/>
                  </a:lnTo>
                  <a:lnTo>
                    <a:pt x="851" y="392"/>
                  </a:lnTo>
                  <a:lnTo>
                    <a:pt x="848" y="399"/>
                  </a:lnTo>
                  <a:lnTo>
                    <a:pt x="845" y="400"/>
                  </a:lnTo>
                  <a:lnTo>
                    <a:pt x="847" y="403"/>
                  </a:lnTo>
                  <a:lnTo>
                    <a:pt x="847" y="405"/>
                  </a:lnTo>
                  <a:lnTo>
                    <a:pt x="841" y="412"/>
                  </a:lnTo>
                  <a:lnTo>
                    <a:pt x="838" y="420"/>
                  </a:lnTo>
                  <a:lnTo>
                    <a:pt x="840" y="423"/>
                  </a:lnTo>
                  <a:lnTo>
                    <a:pt x="841" y="426"/>
                  </a:lnTo>
                  <a:lnTo>
                    <a:pt x="848" y="430"/>
                  </a:lnTo>
                  <a:lnTo>
                    <a:pt x="854" y="438"/>
                  </a:lnTo>
                  <a:lnTo>
                    <a:pt x="848" y="436"/>
                  </a:lnTo>
                  <a:lnTo>
                    <a:pt x="844" y="436"/>
                  </a:lnTo>
                  <a:lnTo>
                    <a:pt x="844" y="438"/>
                  </a:lnTo>
                  <a:lnTo>
                    <a:pt x="834" y="440"/>
                  </a:lnTo>
                  <a:lnTo>
                    <a:pt x="825" y="443"/>
                  </a:lnTo>
                  <a:lnTo>
                    <a:pt x="825" y="448"/>
                  </a:lnTo>
                  <a:lnTo>
                    <a:pt x="827" y="450"/>
                  </a:lnTo>
                  <a:lnTo>
                    <a:pt x="829" y="450"/>
                  </a:lnTo>
                  <a:lnTo>
                    <a:pt x="831" y="449"/>
                  </a:lnTo>
                  <a:lnTo>
                    <a:pt x="832" y="452"/>
                  </a:lnTo>
                  <a:lnTo>
                    <a:pt x="832" y="453"/>
                  </a:lnTo>
                  <a:lnTo>
                    <a:pt x="835" y="455"/>
                  </a:lnTo>
                  <a:lnTo>
                    <a:pt x="838" y="456"/>
                  </a:lnTo>
                  <a:lnTo>
                    <a:pt x="838" y="458"/>
                  </a:lnTo>
                  <a:lnTo>
                    <a:pt x="831" y="456"/>
                  </a:lnTo>
                  <a:lnTo>
                    <a:pt x="827" y="453"/>
                  </a:lnTo>
                  <a:lnTo>
                    <a:pt x="821" y="453"/>
                  </a:lnTo>
                  <a:lnTo>
                    <a:pt x="815" y="456"/>
                  </a:lnTo>
                  <a:lnTo>
                    <a:pt x="811" y="459"/>
                  </a:lnTo>
                  <a:lnTo>
                    <a:pt x="808" y="462"/>
                  </a:lnTo>
                  <a:lnTo>
                    <a:pt x="805" y="462"/>
                  </a:lnTo>
                  <a:lnTo>
                    <a:pt x="805" y="465"/>
                  </a:lnTo>
                  <a:lnTo>
                    <a:pt x="802" y="465"/>
                  </a:lnTo>
                  <a:lnTo>
                    <a:pt x="802" y="468"/>
                  </a:lnTo>
                  <a:lnTo>
                    <a:pt x="804" y="468"/>
                  </a:lnTo>
                  <a:lnTo>
                    <a:pt x="802" y="471"/>
                  </a:lnTo>
                  <a:lnTo>
                    <a:pt x="801" y="475"/>
                  </a:lnTo>
                  <a:lnTo>
                    <a:pt x="799" y="475"/>
                  </a:lnTo>
                  <a:lnTo>
                    <a:pt x="799" y="472"/>
                  </a:lnTo>
                  <a:lnTo>
                    <a:pt x="791" y="482"/>
                  </a:lnTo>
                  <a:lnTo>
                    <a:pt x="782" y="492"/>
                  </a:lnTo>
                  <a:lnTo>
                    <a:pt x="779" y="504"/>
                  </a:lnTo>
                  <a:lnTo>
                    <a:pt x="775" y="515"/>
                  </a:lnTo>
                  <a:lnTo>
                    <a:pt x="773" y="517"/>
                  </a:lnTo>
                  <a:lnTo>
                    <a:pt x="770" y="518"/>
                  </a:lnTo>
                  <a:lnTo>
                    <a:pt x="770" y="519"/>
                  </a:lnTo>
                  <a:lnTo>
                    <a:pt x="770" y="522"/>
                  </a:lnTo>
                  <a:lnTo>
                    <a:pt x="773" y="522"/>
                  </a:lnTo>
                  <a:lnTo>
                    <a:pt x="775" y="527"/>
                  </a:lnTo>
                  <a:lnTo>
                    <a:pt x="773" y="527"/>
                  </a:lnTo>
                  <a:lnTo>
                    <a:pt x="770" y="527"/>
                  </a:lnTo>
                  <a:lnTo>
                    <a:pt x="770" y="529"/>
                  </a:lnTo>
                  <a:lnTo>
                    <a:pt x="770" y="532"/>
                  </a:lnTo>
                  <a:lnTo>
                    <a:pt x="768" y="532"/>
                  </a:lnTo>
                  <a:lnTo>
                    <a:pt x="763" y="531"/>
                  </a:lnTo>
                  <a:lnTo>
                    <a:pt x="757" y="531"/>
                  </a:lnTo>
                  <a:lnTo>
                    <a:pt x="757" y="532"/>
                  </a:lnTo>
                  <a:lnTo>
                    <a:pt x="762" y="535"/>
                  </a:lnTo>
                  <a:lnTo>
                    <a:pt x="765" y="540"/>
                  </a:lnTo>
                  <a:lnTo>
                    <a:pt x="769" y="541"/>
                  </a:lnTo>
                  <a:lnTo>
                    <a:pt x="770" y="544"/>
                  </a:lnTo>
                  <a:lnTo>
                    <a:pt x="769" y="544"/>
                  </a:lnTo>
                  <a:lnTo>
                    <a:pt x="766" y="544"/>
                  </a:lnTo>
                  <a:lnTo>
                    <a:pt x="768" y="547"/>
                  </a:lnTo>
                  <a:lnTo>
                    <a:pt x="769" y="550"/>
                  </a:lnTo>
                  <a:lnTo>
                    <a:pt x="763" y="547"/>
                  </a:lnTo>
                  <a:lnTo>
                    <a:pt x="759" y="544"/>
                  </a:lnTo>
                  <a:lnTo>
                    <a:pt x="755" y="544"/>
                  </a:lnTo>
                  <a:lnTo>
                    <a:pt x="750" y="544"/>
                  </a:lnTo>
                  <a:lnTo>
                    <a:pt x="749" y="540"/>
                  </a:lnTo>
                  <a:lnTo>
                    <a:pt x="749" y="535"/>
                  </a:lnTo>
                  <a:lnTo>
                    <a:pt x="732" y="525"/>
                  </a:lnTo>
                  <a:lnTo>
                    <a:pt x="713" y="517"/>
                  </a:lnTo>
                  <a:lnTo>
                    <a:pt x="708" y="517"/>
                  </a:lnTo>
                  <a:lnTo>
                    <a:pt x="706" y="517"/>
                  </a:lnTo>
                  <a:lnTo>
                    <a:pt x="701" y="514"/>
                  </a:lnTo>
                  <a:lnTo>
                    <a:pt x="697" y="514"/>
                  </a:lnTo>
                  <a:lnTo>
                    <a:pt x="697" y="512"/>
                  </a:lnTo>
                  <a:lnTo>
                    <a:pt x="697" y="509"/>
                  </a:lnTo>
                  <a:lnTo>
                    <a:pt x="694" y="509"/>
                  </a:lnTo>
                  <a:lnTo>
                    <a:pt x="694" y="508"/>
                  </a:lnTo>
                  <a:lnTo>
                    <a:pt x="694" y="505"/>
                  </a:lnTo>
                  <a:lnTo>
                    <a:pt x="690" y="504"/>
                  </a:lnTo>
                  <a:lnTo>
                    <a:pt x="685" y="502"/>
                  </a:lnTo>
                  <a:lnTo>
                    <a:pt x="685" y="501"/>
                  </a:lnTo>
                  <a:lnTo>
                    <a:pt x="678" y="502"/>
                  </a:lnTo>
                  <a:lnTo>
                    <a:pt x="674" y="504"/>
                  </a:lnTo>
                  <a:lnTo>
                    <a:pt x="674" y="501"/>
                  </a:lnTo>
                  <a:lnTo>
                    <a:pt x="672" y="498"/>
                  </a:lnTo>
                  <a:lnTo>
                    <a:pt x="677" y="496"/>
                  </a:lnTo>
                  <a:lnTo>
                    <a:pt x="678" y="496"/>
                  </a:lnTo>
                  <a:lnTo>
                    <a:pt x="675" y="495"/>
                  </a:lnTo>
                  <a:lnTo>
                    <a:pt x="672" y="495"/>
                  </a:lnTo>
                  <a:lnTo>
                    <a:pt x="674" y="492"/>
                  </a:lnTo>
                  <a:lnTo>
                    <a:pt x="674" y="489"/>
                  </a:lnTo>
                  <a:lnTo>
                    <a:pt x="672" y="486"/>
                  </a:lnTo>
                  <a:lnTo>
                    <a:pt x="671" y="484"/>
                  </a:lnTo>
                  <a:lnTo>
                    <a:pt x="670" y="481"/>
                  </a:lnTo>
                  <a:lnTo>
                    <a:pt x="667" y="479"/>
                  </a:lnTo>
                  <a:lnTo>
                    <a:pt x="664" y="478"/>
                  </a:lnTo>
                  <a:lnTo>
                    <a:pt x="661" y="479"/>
                  </a:lnTo>
                  <a:lnTo>
                    <a:pt x="661" y="486"/>
                  </a:lnTo>
                  <a:lnTo>
                    <a:pt x="661" y="495"/>
                  </a:lnTo>
                  <a:lnTo>
                    <a:pt x="660" y="496"/>
                  </a:lnTo>
                  <a:lnTo>
                    <a:pt x="657" y="498"/>
                  </a:lnTo>
                  <a:lnTo>
                    <a:pt x="658" y="496"/>
                  </a:lnTo>
                  <a:lnTo>
                    <a:pt x="658" y="494"/>
                  </a:lnTo>
                  <a:lnTo>
                    <a:pt x="652" y="494"/>
                  </a:lnTo>
                  <a:lnTo>
                    <a:pt x="647" y="494"/>
                  </a:lnTo>
                  <a:lnTo>
                    <a:pt x="647" y="489"/>
                  </a:lnTo>
                  <a:lnTo>
                    <a:pt x="649" y="486"/>
                  </a:lnTo>
                  <a:lnTo>
                    <a:pt x="647" y="486"/>
                  </a:lnTo>
                  <a:lnTo>
                    <a:pt x="647" y="485"/>
                  </a:lnTo>
                  <a:lnTo>
                    <a:pt x="647" y="484"/>
                  </a:lnTo>
                  <a:lnTo>
                    <a:pt x="642" y="482"/>
                  </a:lnTo>
                  <a:lnTo>
                    <a:pt x="635" y="482"/>
                  </a:lnTo>
                  <a:lnTo>
                    <a:pt x="635" y="479"/>
                  </a:lnTo>
                  <a:lnTo>
                    <a:pt x="635" y="478"/>
                  </a:lnTo>
                  <a:lnTo>
                    <a:pt x="636" y="478"/>
                  </a:lnTo>
                  <a:lnTo>
                    <a:pt x="639" y="478"/>
                  </a:lnTo>
                  <a:lnTo>
                    <a:pt x="642" y="473"/>
                  </a:lnTo>
                  <a:lnTo>
                    <a:pt x="647" y="472"/>
                  </a:lnTo>
                  <a:lnTo>
                    <a:pt x="647" y="469"/>
                  </a:lnTo>
                  <a:lnTo>
                    <a:pt x="638" y="469"/>
                  </a:lnTo>
                  <a:lnTo>
                    <a:pt x="631" y="471"/>
                  </a:lnTo>
                  <a:lnTo>
                    <a:pt x="631" y="473"/>
                  </a:lnTo>
                  <a:lnTo>
                    <a:pt x="632" y="475"/>
                  </a:lnTo>
                  <a:lnTo>
                    <a:pt x="634" y="475"/>
                  </a:lnTo>
                  <a:lnTo>
                    <a:pt x="635" y="478"/>
                  </a:lnTo>
                  <a:lnTo>
                    <a:pt x="631" y="479"/>
                  </a:lnTo>
                  <a:lnTo>
                    <a:pt x="625" y="481"/>
                  </a:lnTo>
                  <a:lnTo>
                    <a:pt x="625" y="482"/>
                  </a:lnTo>
                  <a:lnTo>
                    <a:pt x="624" y="485"/>
                  </a:lnTo>
                  <a:lnTo>
                    <a:pt x="622" y="485"/>
                  </a:lnTo>
                  <a:lnTo>
                    <a:pt x="622" y="481"/>
                  </a:lnTo>
                  <a:lnTo>
                    <a:pt x="621" y="478"/>
                  </a:lnTo>
                  <a:lnTo>
                    <a:pt x="618" y="478"/>
                  </a:lnTo>
                  <a:lnTo>
                    <a:pt x="615" y="478"/>
                  </a:lnTo>
                  <a:lnTo>
                    <a:pt x="615" y="479"/>
                  </a:lnTo>
                  <a:lnTo>
                    <a:pt x="615" y="482"/>
                  </a:lnTo>
                  <a:lnTo>
                    <a:pt x="611" y="482"/>
                  </a:lnTo>
                  <a:lnTo>
                    <a:pt x="603" y="481"/>
                  </a:lnTo>
                  <a:lnTo>
                    <a:pt x="598" y="478"/>
                  </a:lnTo>
                  <a:lnTo>
                    <a:pt x="595" y="473"/>
                  </a:lnTo>
                  <a:lnTo>
                    <a:pt x="592" y="475"/>
                  </a:lnTo>
                  <a:lnTo>
                    <a:pt x="593" y="476"/>
                  </a:lnTo>
                  <a:lnTo>
                    <a:pt x="583" y="478"/>
                  </a:lnTo>
                  <a:lnTo>
                    <a:pt x="573" y="478"/>
                  </a:lnTo>
                  <a:lnTo>
                    <a:pt x="572" y="481"/>
                  </a:lnTo>
                  <a:lnTo>
                    <a:pt x="570" y="485"/>
                  </a:lnTo>
                  <a:lnTo>
                    <a:pt x="567" y="488"/>
                  </a:lnTo>
                  <a:lnTo>
                    <a:pt x="564" y="489"/>
                  </a:lnTo>
                  <a:lnTo>
                    <a:pt x="564" y="486"/>
                  </a:lnTo>
                  <a:lnTo>
                    <a:pt x="562" y="486"/>
                  </a:lnTo>
                  <a:lnTo>
                    <a:pt x="560" y="488"/>
                  </a:lnTo>
                  <a:lnTo>
                    <a:pt x="557" y="492"/>
                  </a:lnTo>
                  <a:lnTo>
                    <a:pt x="553" y="494"/>
                  </a:lnTo>
                  <a:lnTo>
                    <a:pt x="547" y="495"/>
                  </a:lnTo>
                  <a:lnTo>
                    <a:pt x="541" y="496"/>
                  </a:lnTo>
                  <a:lnTo>
                    <a:pt x="541" y="494"/>
                  </a:lnTo>
                  <a:lnTo>
                    <a:pt x="540" y="495"/>
                  </a:lnTo>
                  <a:lnTo>
                    <a:pt x="539" y="496"/>
                  </a:lnTo>
                  <a:lnTo>
                    <a:pt x="537" y="499"/>
                  </a:lnTo>
                  <a:lnTo>
                    <a:pt x="528" y="498"/>
                  </a:lnTo>
                  <a:lnTo>
                    <a:pt x="520" y="498"/>
                  </a:lnTo>
                  <a:lnTo>
                    <a:pt x="520" y="494"/>
                  </a:lnTo>
                  <a:lnTo>
                    <a:pt x="518" y="491"/>
                  </a:lnTo>
                  <a:lnTo>
                    <a:pt x="526" y="494"/>
                  </a:lnTo>
                  <a:lnTo>
                    <a:pt x="527" y="494"/>
                  </a:lnTo>
                  <a:lnTo>
                    <a:pt x="527" y="491"/>
                  </a:lnTo>
                  <a:lnTo>
                    <a:pt x="524" y="491"/>
                  </a:lnTo>
                  <a:lnTo>
                    <a:pt x="524" y="489"/>
                  </a:lnTo>
                  <a:lnTo>
                    <a:pt x="521" y="488"/>
                  </a:lnTo>
                  <a:lnTo>
                    <a:pt x="518" y="488"/>
                  </a:lnTo>
                  <a:lnTo>
                    <a:pt x="518" y="489"/>
                  </a:lnTo>
                  <a:lnTo>
                    <a:pt x="517" y="492"/>
                  </a:lnTo>
                  <a:lnTo>
                    <a:pt x="514" y="488"/>
                  </a:lnTo>
                  <a:lnTo>
                    <a:pt x="514" y="481"/>
                  </a:lnTo>
                  <a:lnTo>
                    <a:pt x="511" y="481"/>
                  </a:lnTo>
                  <a:lnTo>
                    <a:pt x="510" y="481"/>
                  </a:lnTo>
                  <a:lnTo>
                    <a:pt x="508" y="484"/>
                  </a:lnTo>
                  <a:lnTo>
                    <a:pt x="505" y="484"/>
                  </a:lnTo>
                  <a:lnTo>
                    <a:pt x="498" y="479"/>
                  </a:lnTo>
                  <a:lnTo>
                    <a:pt x="492" y="475"/>
                  </a:lnTo>
                  <a:lnTo>
                    <a:pt x="487" y="473"/>
                  </a:lnTo>
                  <a:lnTo>
                    <a:pt x="478" y="472"/>
                  </a:lnTo>
                  <a:lnTo>
                    <a:pt x="475" y="469"/>
                  </a:lnTo>
                  <a:lnTo>
                    <a:pt x="472" y="469"/>
                  </a:lnTo>
                  <a:lnTo>
                    <a:pt x="471" y="465"/>
                  </a:lnTo>
                  <a:lnTo>
                    <a:pt x="467" y="462"/>
                  </a:lnTo>
                  <a:lnTo>
                    <a:pt x="461" y="462"/>
                  </a:lnTo>
                  <a:lnTo>
                    <a:pt x="455" y="461"/>
                  </a:lnTo>
                  <a:lnTo>
                    <a:pt x="449" y="458"/>
                  </a:lnTo>
                  <a:lnTo>
                    <a:pt x="444" y="455"/>
                  </a:lnTo>
                  <a:lnTo>
                    <a:pt x="438" y="450"/>
                  </a:lnTo>
                  <a:lnTo>
                    <a:pt x="432" y="446"/>
                  </a:lnTo>
                  <a:lnTo>
                    <a:pt x="429" y="442"/>
                  </a:lnTo>
                  <a:lnTo>
                    <a:pt x="425" y="436"/>
                  </a:lnTo>
                  <a:lnTo>
                    <a:pt x="420" y="432"/>
                  </a:lnTo>
                  <a:lnTo>
                    <a:pt x="418" y="426"/>
                  </a:lnTo>
                  <a:lnTo>
                    <a:pt x="412" y="417"/>
                  </a:lnTo>
                  <a:lnTo>
                    <a:pt x="405" y="405"/>
                  </a:lnTo>
                  <a:lnTo>
                    <a:pt x="397" y="386"/>
                  </a:lnTo>
                  <a:lnTo>
                    <a:pt x="390" y="367"/>
                  </a:lnTo>
                  <a:lnTo>
                    <a:pt x="383" y="349"/>
                  </a:lnTo>
                  <a:lnTo>
                    <a:pt x="376" y="330"/>
                  </a:lnTo>
                  <a:lnTo>
                    <a:pt x="370" y="323"/>
                  </a:lnTo>
                  <a:lnTo>
                    <a:pt x="366" y="320"/>
                  </a:lnTo>
                  <a:lnTo>
                    <a:pt x="361" y="320"/>
                  </a:lnTo>
                  <a:lnTo>
                    <a:pt x="354" y="317"/>
                  </a:lnTo>
                  <a:lnTo>
                    <a:pt x="354" y="316"/>
                  </a:lnTo>
                  <a:lnTo>
                    <a:pt x="354" y="313"/>
                  </a:lnTo>
                  <a:lnTo>
                    <a:pt x="351" y="311"/>
                  </a:lnTo>
                  <a:lnTo>
                    <a:pt x="351" y="310"/>
                  </a:lnTo>
                  <a:lnTo>
                    <a:pt x="357" y="307"/>
                  </a:lnTo>
                  <a:lnTo>
                    <a:pt x="360" y="303"/>
                  </a:lnTo>
                  <a:lnTo>
                    <a:pt x="360" y="298"/>
                  </a:lnTo>
                  <a:lnTo>
                    <a:pt x="360" y="293"/>
                  </a:lnTo>
                  <a:lnTo>
                    <a:pt x="354" y="277"/>
                  </a:lnTo>
                  <a:lnTo>
                    <a:pt x="347" y="261"/>
                  </a:lnTo>
                  <a:lnTo>
                    <a:pt x="341" y="244"/>
                  </a:lnTo>
                  <a:lnTo>
                    <a:pt x="337" y="228"/>
                  </a:lnTo>
                  <a:lnTo>
                    <a:pt x="334" y="221"/>
                  </a:lnTo>
                  <a:lnTo>
                    <a:pt x="331" y="212"/>
                  </a:lnTo>
                  <a:lnTo>
                    <a:pt x="327" y="205"/>
                  </a:lnTo>
                  <a:lnTo>
                    <a:pt x="323" y="199"/>
                  </a:lnTo>
                  <a:lnTo>
                    <a:pt x="323" y="198"/>
                  </a:lnTo>
                  <a:lnTo>
                    <a:pt x="323" y="195"/>
                  </a:lnTo>
                  <a:lnTo>
                    <a:pt x="325" y="191"/>
                  </a:lnTo>
                  <a:lnTo>
                    <a:pt x="325" y="183"/>
                  </a:lnTo>
                  <a:lnTo>
                    <a:pt x="325" y="176"/>
                  </a:lnTo>
                  <a:lnTo>
                    <a:pt x="324" y="168"/>
                  </a:lnTo>
                  <a:lnTo>
                    <a:pt x="321" y="150"/>
                  </a:lnTo>
                  <a:lnTo>
                    <a:pt x="318" y="137"/>
                  </a:lnTo>
                  <a:lnTo>
                    <a:pt x="311" y="120"/>
                  </a:lnTo>
                  <a:lnTo>
                    <a:pt x="304" y="107"/>
                  </a:lnTo>
                  <a:lnTo>
                    <a:pt x="300" y="102"/>
                  </a:lnTo>
                  <a:lnTo>
                    <a:pt x="294" y="97"/>
                  </a:lnTo>
                  <a:lnTo>
                    <a:pt x="287" y="93"/>
                  </a:lnTo>
                  <a:lnTo>
                    <a:pt x="276" y="90"/>
                  </a:lnTo>
                  <a:lnTo>
                    <a:pt x="272" y="91"/>
                  </a:lnTo>
                  <a:lnTo>
                    <a:pt x="265" y="94"/>
                  </a:lnTo>
                  <a:lnTo>
                    <a:pt x="258" y="99"/>
                  </a:lnTo>
                  <a:lnTo>
                    <a:pt x="255" y="103"/>
                  </a:lnTo>
                  <a:lnTo>
                    <a:pt x="253" y="103"/>
                  </a:lnTo>
                  <a:lnTo>
                    <a:pt x="253" y="110"/>
                  </a:lnTo>
                  <a:lnTo>
                    <a:pt x="253" y="117"/>
                  </a:lnTo>
                  <a:lnTo>
                    <a:pt x="252" y="117"/>
                  </a:lnTo>
                  <a:lnTo>
                    <a:pt x="249" y="116"/>
                  </a:lnTo>
                  <a:lnTo>
                    <a:pt x="248" y="119"/>
                  </a:lnTo>
                  <a:lnTo>
                    <a:pt x="246" y="120"/>
                  </a:lnTo>
                  <a:lnTo>
                    <a:pt x="246" y="125"/>
                  </a:lnTo>
                  <a:lnTo>
                    <a:pt x="248" y="129"/>
                  </a:lnTo>
                  <a:lnTo>
                    <a:pt x="251" y="133"/>
                  </a:lnTo>
                  <a:lnTo>
                    <a:pt x="253" y="135"/>
                  </a:lnTo>
                  <a:lnTo>
                    <a:pt x="253" y="137"/>
                  </a:lnTo>
                  <a:lnTo>
                    <a:pt x="251" y="142"/>
                  </a:lnTo>
                  <a:lnTo>
                    <a:pt x="252" y="152"/>
                  </a:lnTo>
                  <a:lnTo>
                    <a:pt x="252" y="160"/>
                  </a:lnTo>
                  <a:lnTo>
                    <a:pt x="255" y="165"/>
                  </a:lnTo>
                  <a:lnTo>
                    <a:pt x="256" y="169"/>
                  </a:lnTo>
                  <a:lnTo>
                    <a:pt x="255" y="169"/>
                  </a:lnTo>
                  <a:lnTo>
                    <a:pt x="255" y="168"/>
                  </a:lnTo>
                  <a:lnTo>
                    <a:pt x="253" y="168"/>
                  </a:lnTo>
                  <a:lnTo>
                    <a:pt x="251" y="168"/>
                  </a:lnTo>
                  <a:lnTo>
                    <a:pt x="252" y="170"/>
                  </a:lnTo>
                  <a:lnTo>
                    <a:pt x="253" y="173"/>
                  </a:lnTo>
                  <a:lnTo>
                    <a:pt x="252" y="178"/>
                  </a:lnTo>
                  <a:lnTo>
                    <a:pt x="251" y="183"/>
                  </a:lnTo>
                  <a:lnTo>
                    <a:pt x="252" y="188"/>
                  </a:lnTo>
                  <a:lnTo>
                    <a:pt x="255" y="192"/>
                  </a:lnTo>
                  <a:lnTo>
                    <a:pt x="256" y="202"/>
                  </a:lnTo>
                  <a:lnTo>
                    <a:pt x="259" y="214"/>
                  </a:lnTo>
                  <a:lnTo>
                    <a:pt x="264" y="215"/>
                  </a:lnTo>
                  <a:lnTo>
                    <a:pt x="269" y="218"/>
                  </a:lnTo>
                  <a:lnTo>
                    <a:pt x="269" y="228"/>
                  </a:lnTo>
                  <a:lnTo>
                    <a:pt x="272" y="238"/>
                  </a:lnTo>
                  <a:lnTo>
                    <a:pt x="271" y="238"/>
                  </a:lnTo>
                  <a:lnTo>
                    <a:pt x="271" y="241"/>
                  </a:lnTo>
                  <a:lnTo>
                    <a:pt x="271" y="244"/>
                  </a:lnTo>
                  <a:lnTo>
                    <a:pt x="269" y="244"/>
                  </a:lnTo>
                  <a:lnTo>
                    <a:pt x="269" y="252"/>
                  </a:lnTo>
                  <a:lnTo>
                    <a:pt x="268" y="261"/>
                  </a:lnTo>
                  <a:lnTo>
                    <a:pt x="268" y="270"/>
                  </a:lnTo>
                  <a:lnTo>
                    <a:pt x="271" y="277"/>
                  </a:lnTo>
                  <a:lnTo>
                    <a:pt x="271" y="288"/>
                  </a:lnTo>
                  <a:lnTo>
                    <a:pt x="274" y="300"/>
                  </a:lnTo>
                  <a:lnTo>
                    <a:pt x="275" y="300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76" y="304"/>
                  </a:lnTo>
                  <a:lnTo>
                    <a:pt x="278" y="311"/>
                  </a:lnTo>
                  <a:lnTo>
                    <a:pt x="281" y="320"/>
                  </a:lnTo>
                  <a:lnTo>
                    <a:pt x="284" y="320"/>
                  </a:lnTo>
                  <a:lnTo>
                    <a:pt x="287" y="321"/>
                  </a:lnTo>
                  <a:lnTo>
                    <a:pt x="285" y="324"/>
                  </a:lnTo>
                  <a:lnTo>
                    <a:pt x="282" y="327"/>
                  </a:lnTo>
                  <a:lnTo>
                    <a:pt x="282" y="330"/>
                  </a:lnTo>
                  <a:lnTo>
                    <a:pt x="284" y="333"/>
                  </a:lnTo>
                  <a:lnTo>
                    <a:pt x="285" y="336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41"/>
                  </a:lnTo>
                  <a:lnTo>
                    <a:pt x="292" y="343"/>
                  </a:lnTo>
                  <a:lnTo>
                    <a:pt x="295" y="343"/>
                  </a:lnTo>
                  <a:lnTo>
                    <a:pt x="295" y="346"/>
                  </a:lnTo>
                  <a:lnTo>
                    <a:pt x="295" y="349"/>
                  </a:lnTo>
                  <a:lnTo>
                    <a:pt x="297" y="351"/>
                  </a:lnTo>
                  <a:lnTo>
                    <a:pt x="300" y="353"/>
                  </a:lnTo>
                  <a:lnTo>
                    <a:pt x="300" y="359"/>
                  </a:lnTo>
                  <a:lnTo>
                    <a:pt x="300" y="363"/>
                  </a:lnTo>
                  <a:lnTo>
                    <a:pt x="301" y="369"/>
                  </a:lnTo>
                  <a:lnTo>
                    <a:pt x="305" y="373"/>
                  </a:lnTo>
                  <a:lnTo>
                    <a:pt x="308" y="377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2" y="382"/>
                  </a:lnTo>
                  <a:lnTo>
                    <a:pt x="311" y="383"/>
                  </a:lnTo>
                  <a:lnTo>
                    <a:pt x="311" y="386"/>
                  </a:lnTo>
                  <a:lnTo>
                    <a:pt x="314" y="386"/>
                  </a:lnTo>
                  <a:lnTo>
                    <a:pt x="315" y="386"/>
                  </a:lnTo>
                  <a:lnTo>
                    <a:pt x="314" y="390"/>
                  </a:lnTo>
                  <a:lnTo>
                    <a:pt x="312" y="394"/>
                  </a:lnTo>
                  <a:lnTo>
                    <a:pt x="312" y="400"/>
                  </a:lnTo>
                  <a:lnTo>
                    <a:pt x="314" y="406"/>
                  </a:lnTo>
                  <a:lnTo>
                    <a:pt x="317" y="412"/>
                  </a:lnTo>
                  <a:lnTo>
                    <a:pt x="325" y="422"/>
                  </a:lnTo>
                  <a:lnTo>
                    <a:pt x="333" y="430"/>
                  </a:lnTo>
                  <a:lnTo>
                    <a:pt x="337" y="433"/>
                  </a:lnTo>
                  <a:lnTo>
                    <a:pt x="340" y="436"/>
                  </a:lnTo>
                  <a:lnTo>
                    <a:pt x="344" y="438"/>
                  </a:lnTo>
                  <a:lnTo>
                    <a:pt x="348" y="438"/>
                  </a:lnTo>
                  <a:lnTo>
                    <a:pt x="354" y="445"/>
                  </a:lnTo>
                  <a:lnTo>
                    <a:pt x="360" y="452"/>
                  </a:lnTo>
                  <a:lnTo>
                    <a:pt x="374" y="455"/>
                  </a:lnTo>
                  <a:lnTo>
                    <a:pt x="389" y="458"/>
                  </a:lnTo>
                  <a:lnTo>
                    <a:pt x="396" y="458"/>
                  </a:lnTo>
                  <a:lnTo>
                    <a:pt x="402" y="458"/>
                  </a:lnTo>
                  <a:lnTo>
                    <a:pt x="403" y="458"/>
                  </a:lnTo>
                  <a:lnTo>
                    <a:pt x="406" y="461"/>
                  </a:lnTo>
                  <a:lnTo>
                    <a:pt x="408" y="462"/>
                  </a:lnTo>
                  <a:lnTo>
                    <a:pt x="408" y="466"/>
                  </a:lnTo>
                  <a:lnTo>
                    <a:pt x="415" y="466"/>
                  </a:lnTo>
                  <a:lnTo>
                    <a:pt x="419" y="469"/>
                  </a:lnTo>
                  <a:lnTo>
                    <a:pt x="420" y="471"/>
                  </a:lnTo>
                  <a:lnTo>
                    <a:pt x="422" y="472"/>
                  </a:lnTo>
                  <a:lnTo>
                    <a:pt x="422" y="475"/>
                  </a:lnTo>
                  <a:lnTo>
                    <a:pt x="422" y="479"/>
                  </a:lnTo>
                  <a:lnTo>
                    <a:pt x="423" y="479"/>
                  </a:lnTo>
                  <a:lnTo>
                    <a:pt x="423" y="481"/>
                  </a:lnTo>
                  <a:lnTo>
                    <a:pt x="418" y="482"/>
                  </a:lnTo>
                  <a:lnTo>
                    <a:pt x="413" y="485"/>
                  </a:lnTo>
                  <a:lnTo>
                    <a:pt x="412" y="489"/>
                  </a:lnTo>
                  <a:lnTo>
                    <a:pt x="409" y="495"/>
                  </a:lnTo>
                  <a:lnTo>
                    <a:pt x="406" y="496"/>
                  </a:lnTo>
                  <a:lnTo>
                    <a:pt x="402" y="499"/>
                  </a:lnTo>
                  <a:lnTo>
                    <a:pt x="402" y="504"/>
                  </a:lnTo>
                  <a:lnTo>
                    <a:pt x="400" y="508"/>
                  </a:lnTo>
                  <a:lnTo>
                    <a:pt x="397" y="512"/>
                  </a:lnTo>
                  <a:lnTo>
                    <a:pt x="395" y="517"/>
                  </a:lnTo>
                  <a:lnTo>
                    <a:pt x="395" y="524"/>
                  </a:lnTo>
                  <a:lnTo>
                    <a:pt x="396" y="532"/>
                  </a:lnTo>
                  <a:lnTo>
                    <a:pt x="399" y="532"/>
                  </a:lnTo>
                  <a:lnTo>
                    <a:pt x="400" y="534"/>
                  </a:lnTo>
                  <a:lnTo>
                    <a:pt x="403" y="538"/>
                  </a:lnTo>
                  <a:lnTo>
                    <a:pt x="406" y="542"/>
                  </a:lnTo>
                  <a:lnTo>
                    <a:pt x="408" y="552"/>
                  </a:lnTo>
                  <a:lnTo>
                    <a:pt x="408" y="560"/>
                  </a:lnTo>
                  <a:lnTo>
                    <a:pt x="415" y="564"/>
                  </a:lnTo>
                  <a:lnTo>
                    <a:pt x="422" y="567"/>
                  </a:lnTo>
                  <a:lnTo>
                    <a:pt x="423" y="568"/>
                  </a:lnTo>
                  <a:lnTo>
                    <a:pt x="425" y="571"/>
                  </a:lnTo>
                  <a:lnTo>
                    <a:pt x="432" y="573"/>
                  </a:lnTo>
                  <a:lnTo>
                    <a:pt x="438" y="573"/>
                  </a:lnTo>
                  <a:lnTo>
                    <a:pt x="438" y="574"/>
                  </a:lnTo>
                  <a:lnTo>
                    <a:pt x="438" y="575"/>
                  </a:lnTo>
                  <a:lnTo>
                    <a:pt x="444" y="575"/>
                  </a:lnTo>
                  <a:lnTo>
                    <a:pt x="449" y="574"/>
                  </a:lnTo>
                  <a:lnTo>
                    <a:pt x="451" y="577"/>
                  </a:lnTo>
                  <a:lnTo>
                    <a:pt x="452" y="580"/>
                  </a:lnTo>
                  <a:lnTo>
                    <a:pt x="438" y="580"/>
                  </a:lnTo>
                  <a:lnTo>
                    <a:pt x="423" y="581"/>
                  </a:lnTo>
                  <a:lnTo>
                    <a:pt x="409" y="581"/>
                  </a:lnTo>
                  <a:lnTo>
                    <a:pt x="393" y="583"/>
                  </a:lnTo>
                  <a:lnTo>
                    <a:pt x="393" y="584"/>
                  </a:lnTo>
                  <a:lnTo>
                    <a:pt x="393" y="587"/>
                  </a:lnTo>
                  <a:lnTo>
                    <a:pt x="397" y="587"/>
                  </a:lnTo>
                  <a:lnTo>
                    <a:pt x="400" y="587"/>
                  </a:lnTo>
                  <a:lnTo>
                    <a:pt x="402" y="591"/>
                  </a:lnTo>
                  <a:lnTo>
                    <a:pt x="403" y="596"/>
                  </a:lnTo>
                  <a:lnTo>
                    <a:pt x="405" y="598"/>
                  </a:lnTo>
                  <a:lnTo>
                    <a:pt x="408" y="600"/>
                  </a:lnTo>
                  <a:lnTo>
                    <a:pt x="415" y="603"/>
                  </a:lnTo>
                  <a:lnTo>
                    <a:pt x="425" y="603"/>
                  </a:lnTo>
                  <a:lnTo>
                    <a:pt x="425" y="607"/>
                  </a:lnTo>
                  <a:lnTo>
                    <a:pt x="422" y="611"/>
                  </a:lnTo>
                  <a:lnTo>
                    <a:pt x="422" y="616"/>
                  </a:lnTo>
                  <a:lnTo>
                    <a:pt x="419" y="617"/>
                  </a:lnTo>
                  <a:lnTo>
                    <a:pt x="416" y="619"/>
                  </a:lnTo>
                  <a:lnTo>
                    <a:pt x="416" y="621"/>
                  </a:lnTo>
                  <a:lnTo>
                    <a:pt x="420" y="620"/>
                  </a:lnTo>
                  <a:lnTo>
                    <a:pt x="425" y="620"/>
                  </a:lnTo>
                  <a:lnTo>
                    <a:pt x="426" y="623"/>
                  </a:lnTo>
                  <a:lnTo>
                    <a:pt x="419" y="624"/>
                  </a:lnTo>
                  <a:lnTo>
                    <a:pt x="415" y="629"/>
                  </a:lnTo>
                  <a:lnTo>
                    <a:pt x="413" y="630"/>
                  </a:lnTo>
                  <a:lnTo>
                    <a:pt x="413" y="633"/>
                  </a:lnTo>
                  <a:lnTo>
                    <a:pt x="413" y="636"/>
                  </a:lnTo>
                  <a:lnTo>
                    <a:pt x="413" y="640"/>
                  </a:lnTo>
                  <a:lnTo>
                    <a:pt x="419" y="639"/>
                  </a:lnTo>
                  <a:lnTo>
                    <a:pt x="425" y="637"/>
                  </a:lnTo>
                  <a:lnTo>
                    <a:pt x="423" y="644"/>
                  </a:lnTo>
                  <a:lnTo>
                    <a:pt x="420" y="650"/>
                  </a:lnTo>
                  <a:lnTo>
                    <a:pt x="423" y="653"/>
                  </a:lnTo>
                  <a:lnTo>
                    <a:pt x="426" y="656"/>
                  </a:lnTo>
                  <a:lnTo>
                    <a:pt x="432" y="653"/>
                  </a:lnTo>
                  <a:lnTo>
                    <a:pt x="438" y="649"/>
                  </a:lnTo>
                  <a:lnTo>
                    <a:pt x="444" y="643"/>
                  </a:lnTo>
                  <a:lnTo>
                    <a:pt x="445" y="637"/>
                  </a:lnTo>
                  <a:lnTo>
                    <a:pt x="442" y="636"/>
                  </a:lnTo>
                  <a:lnTo>
                    <a:pt x="439" y="633"/>
                  </a:lnTo>
                  <a:lnTo>
                    <a:pt x="439" y="630"/>
                  </a:lnTo>
                  <a:lnTo>
                    <a:pt x="439" y="626"/>
                  </a:lnTo>
                  <a:lnTo>
                    <a:pt x="448" y="624"/>
                  </a:lnTo>
                  <a:lnTo>
                    <a:pt x="458" y="623"/>
                  </a:lnTo>
                  <a:lnTo>
                    <a:pt x="468" y="623"/>
                  </a:lnTo>
                  <a:lnTo>
                    <a:pt x="477" y="626"/>
                  </a:lnTo>
                  <a:lnTo>
                    <a:pt x="491" y="629"/>
                  </a:lnTo>
                  <a:lnTo>
                    <a:pt x="504" y="634"/>
                  </a:lnTo>
                  <a:lnTo>
                    <a:pt x="517" y="640"/>
                  </a:lnTo>
                  <a:lnTo>
                    <a:pt x="530" y="646"/>
                  </a:lnTo>
                  <a:lnTo>
                    <a:pt x="546" y="653"/>
                  </a:lnTo>
                  <a:lnTo>
                    <a:pt x="563" y="659"/>
                  </a:lnTo>
                  <a:lnTo>
                    <a:pt x="567" y="663"/>
                  </a:lnTo>
                  <a:lnTo>
                    <a:pt x="570" y="666"/>
                  </a:lnTo>
                  <a:lnTo>
                    <a:pt x="575" y="669"/>
                  </a:lnTo>
                  <a:lnTo>
                    <a:pt x="579" y="672"/>
                  </a:lnTo>
                  <a:lnTo>
                    <a:pt x="582" y="675"/>
                  </a:lnTo>
                  <a:lnTo>
                    <a:pt x="583" y="683"/>
                  </a:lnTo>
                  <a:lnTo>
                    <a:pt x="588" y="686"/>
                  </a:lnTo>
                  <a:lnTo>
                    <a:pt x="593" y="690"/>
                  </a:lnTo>
                  <a:lnTo>
                    <a:pt x="598" y="696"/>
                  </a:lnTo>
                  <a:lnTo>
                    <a:pt x="599" y="700"/>
                  </a:lnTo>
                  <a:lnTo>
                    <a:pt x="592" y="703"/>
                  </a:lnTo>
                  <a:lnTo>
                    <a:pt x="586" y="708"/>
                  </a:lnTo>
                  <a:lnTo>
                    <a:pt x="580" y="708"/>
                  </a:lnTo>
                  <a:lnTo>
                    <a:pt x="577" y="710"/>
                  </a:lnTo>
                  <a:lnTo>
                    <a:pt x="573" y="713"/>
                  </a:lnTo>
                  <a:lnTo>
                    <a:pt x="572" y="719"/>
                  </a:lnTo>
                  <a:lnTo>
                    <a:pt x="564" y="719"/>
                  </a:lnTo>
                  <a:lnTo>
                    <a:pt x="560" y="722"/>
                  </a:lnTo>
                  <a:lnTo>
                    <a:pt x="554" y="726"/>
                  </a:lnTo>
                  <a:lnTo>
                    <a:pt x="550" y="731"/>
                  </a:lnTo>
                  <a:lnTo>
                    <a:pt x="550" y="732"/>
                  </a:lnTo>
                  <a:lnTo>
                    <a:pt x="553" y="733"/>
                  </a:lnTo>
                  <a:lnTo>
                    <a:pt x="557" y="733"/>
                  </a:lnTo>
                  <a:lnTo>
                    <a:pt x="554" y="736"/>
                  </a:lnTo>
                  <a:lnTo>
                    <a:pt x="552" y="739"/>
                  </a:lnTo>
                  <a:lnTo>
                    <a:pt x="547" y="739"/>
                  </a:lnTo>
                  <a:lnTo>
                    <a:pt x="543" y="741"/>
                  </a:lnTo>
                  <a:lnTo>
                    <a:pt x="543" y="743"/>
                  </a:lnTo>
                  <a:lnTo>
                    <a:pt x="544" y="746"/>
                  </a:lnTo>
                  <a:lnTo>
                    <a:pt x="540" y="751"/>
                  </a:lnTo>
                  <a:lnTo>
                    <a:pt x="534" y="755"/>
                  </a:lnTo>
                  <a:lnTo>
                    <a:pt x="531" y="759"/>
                  </a:lnTo>
                  <a:lnTo>
                    <a:pt x="531" y="765"/>
                  </a:lnTo>
                  <a:lnTo>
                    <a:pt x="528" y="765"/>
                  </a:lnTo>
                  <a:lnTo>
                    <a:pt x="527" y="766"/>
                  </a:lnTo>
                  <a:lnTo>
                    <a:pt x="526" y="764"/>
                  </a:lnTo>
                  <a:lnTo>
                    <a:pt x="524" y="761"/>
                  </a:lnTo>
                  <a:lnTo>
                    <a:pt x="521" y="761"/>
                  </a:lnTo>
                  <a:lnTo>
                    <a:pt x="518" y="761"/>
                  </a:lnTo>
                  <a:lnTo>
                    <a:pt x="518" y="764"/>
                  </a:lnTo>
                  <a:lnTo>
                    <a:pt x="518" y="768"/>
                  </a:lnTo>
                  <a:lnTo>
                    <a:pt x="513" y="765"/>
                  </a:lnTo>
                  <a:lnTo>
                    <a:pt x="507" y="758"/>
                  </a:lnTo>
                  <a:lnTo>
                    <a:pt x="500" y="755"/>
                  </a:lnTo>
                  <a:lnTo>
                    <a:pt x="491" y="755"/>
                  </a:lnTo>
                  <a:lnTo>
                    <a:pt x="484" y="755"/>
                  </a:lnTo>
                  <a:lnTo>
                    <a:pt x="475" y="756"/>
                  </a:lnTo>
                  <a:lnTo>
                    <a:pt x="467" y="755"/>
                  </a:lnTo>
                  <a:lnTo>
                    <a:pt x="456" y="753"/>
                  </a:lnTo>
                  <a:lnTo>
                    <a:pt x="452" y="752"/>
                  </a:lnTo>
                  <a:lnTo>
                    <a:pt x="446" y="751"/>
                  </a:lnTo>
                  <a:lnTo>
                    <a:pt x="439" y="751"/>
                  </a:lnTo>
                  <a:lnTo>
                    <a:pt x="435" y="751"/>
                  </a:lnTo>
                  <a:lnTo>
                    <a:pt x="429" y="755"/>
                  </a:lnTo>
                  <a:lnTo>
                    <a:pt x="422" y="755"/>
                  </a:lnTo>
                  <a:lnTo>
                    <a:pt x="415" y="755"/>
                  </a:lnTo>
                  <a:lnTo>
                    <a:pt x="409" y="755"/>
                  </a:lnTo>
                  <a:lnTo>
                    <a:pt x="409" y="752"/>
                  </a:lnTo>
                  <a:lnTo>
                    <a:pt x="419" y="751"/>
                  </a:lnTo>
                  <a:lnTo>
                    <a:pt x="429" y="746"/>
                  </a:lnTo>
                  <a:lnTo>
                    <a:pt x="428" y="745"/>
                  </a:lnTo>
                  <a:lnTo>
                    <a:pt x="410" y="749"/>
                  </a:lnTo>
                  <a:lnTo>
                    <a:pt x="393" y="752"/>
                  </a:lnTo>
                  <a:lnTo>
                    <a:pt x="393" y="751"/>
                  </a:lnTo>
                  <a:lnTo>
                    <a:pt x="400" y="748"/>
                  </a:lnTo>
                  <a:lnTo>
                    <a:pt x="408" y="745"/>
                  </a:lnTo>
                  <a:lnTo>
                    <a:pt x="425" y="742"/>
                  </a:lnTo>
                  <a:lnTo>
                    <a:pt x="441" y="736"/>
                  </a:lnTo>
                  <a:lnTo>
                    <a:pt x="431" y="738"/>
                  </a:lnTo>
                  <a:lnTo>
                    <a:pt x="419" y="738"/>
                  </a:lnTo>
                  <a:lnTo>
                    <a:pt x="423" y="735"/>
                  </a:lnTo>
                  <a:lnTo>
                    <a:pt x="428" y="733"/>
                  </a:lnTo>
                  <a:lnTo>
                    <a:pt x="428" y="732"/>
                  </a:lnTo>
                  <a:lnTo>
                    <a:pt x="420" y="731"/>
                  </a:lnTo>
                  <a:lnTo>
                    <a:pt x="413" y="732"/>
                  </a:lnTo>
                  <a:lnTo>
                    <a:pt x="413" y="733"/>
                  </a:lnTo>
                  <a:lnTo>
                    <a:pt x="408" y="735"/>
                  </a:lnTo>
                  <a:lnTo>
                    <a:pt x="403" y="736"/>
                  </a:lnTo>
                  <a:lnTo>
                    <a:pt x="412" y="732"/>
                  </a:lnTo>
                  <a:lnTo>
                    <a:pt x="419" y="728"/>
                  </a:lnTo>
                  <a:lnTo>
                    <a:pt x="418" y="726"/>
                  </a:lnTo>
                  <a:lnTo>
                    <a:pt x="415" y="726"/>
                  </a:lnTo>
                  <a:lnTo>
                    <a:pt x="410" y="728"/>
                  </a:lnTo>
                  <a:lnTo>
                    <a:pt x="406" y="729"/>
                  </a:lnTo>
                  <a:lnTo>
                    <a:pt x="405" y="732"/>
                  </a:lnTo>
                  <a:lnTo>
                    <a:pt x="392" y="733"/>
                  </a:lnTo>
                  <a:lnTo>
                    <a:pt x="380" y="735"/>
                  </a:lnTo>
                  <a:lnTo>
                    <a:pt x="372" y="736"/>
                  </a:lnTo>
                  <a:lnTo>
                    <a:pt x="357" y="739"/>
                  </a:lnTo>
                  <a:lnTo>
                    <a:pt x="344" y="743"/>
                  </a:lnTo>
                  <a:lnTo>
                    <a:pt x="334" y="748"/>
                  </a:lnTo>
                  <a:lnTo>
                    <a:pt x="336" y="751"/>
                  </a:lnTo>
                  <a:lnTo>
                    <a:pt x="333" y="751"/>
                  </a:lnTo>
                  <a:lnTo>
                    <a:pt x="331" y="752"/>
                  </a:lnTo>
                  <a:lnTo>
                    <a:pt x="331" y="755"/>
                  </a:lnTo>
                  <a:lnTo>
                    <a:pt x="331" y="758"/>
                  </a:lnTo>
                  <a:lnTo>
                    <a:pt x="327" y="758"/>
                  </a:lnTo>
                  <a:lnTo>
                    <a:pt x="323" y="759"/>
                  </a:lnTo>
                  <a:lnTo>
                    <a:pt x="318" y="762"/>
                  </a:lnTo>
                  <a:lnTo>
                    <a:pt x="315" y="765"/>
                  </a:lnTo>
                  <a:lnTo>
                    <a:pt x="317" y="766"/>
                  </a:lnTo>
                  <a:lnTo>
                    <a:pt x="318" y="769"/>
                  </a:lnTo>
                  <a:lnTo>
                    <a:pt x="311" y="772"/>
                  </a:lnTo>
                  <a:lnTo>
                    <a:pt x="304" y="775"/>
                  </a:lnTo>
                  <a:lnTo>
                    <a:pt x="298" y="787"/>
                  </a:lnTo>
                  <a:lnTo>
                    <a:pt x="292" y="798"/>
                  </a:lnTo>
                  <a:lnTo>
                    <a:pt x="289" y="799"/>
                  </a:lnTo>
                  <a:lnTo>
                    <a:pt x="289" y="797"/>
                  </a:lnTo>
                  <a:lnTo>
                    <a:pt x="289" y="794"/>
                  </a:lnTo>
                  <a:lnTo>
                    <a:pt x="284" y="797"/>
                  </a:lnTo>
                  <a:lnTo>
                    <a:pt x="282" y="801"/>
                  </a:lnTo>
                  <a:lnTo>
                    <a:pt x="278" y="799"/>
                  </a:lnTo>
                  <a:lnTo>
                    <a:pt x="275" y="799"/>
                  </a:lnTo>
                  <a:lnTo>
                    <a:pt x="276" y="795"/>
                  </a:lnTo>
                  <a:lnTo>
                    <a:pt x="276" y="789"/>
                  </a:lnTo>
                  <a:lnTo>
                    <a:pt x="274" y="791"/>
                  </a:lnTo>
                  <a:lnTo>
                    <a:pt x="272" y="794"/>
                  </a:lnTo>
                  <a:lnTo>
                    <a:pt x="271" y="797"/>
                  </a:lnTo>
                  <a:lnTo>
                    <a:pt x="268" y="799"/>
                  </a:lnTo>
                  <a:lnTo>
                    <a:pt x="265" y="799"/>
                  </a:lnTo>
                  <a:lnTo>
                    <a:pt x="259" y="802"/>
                  </a:lnTo>
                  <a:lnTo>
                    <a:pt x="256" y="805"/>
                  </a:lnTo>
                  <a:lnTo>
                    <a:pt x="252" y="805"/>
                  </a:lnTo>
                  <a:lnTo>
                    <a:pt x="248" y="805"/>
                  </a:lnTo>
                  <a:lnTo>
                    <a:pt x="245" y="807"/>
                  </a:lnTo>
                  <a:lnTo>
                    <a:pt x="242" y="811"/>
                  </a:lnTo>
                  <a:lnTo>
                    <a:pt x="239" y="812"/>
                  </a:lnTo>
                  <a:lnTo>
                    <a:pt x="238" y="814"/>
                  </a:lnTo>
                  <a:lnTo>
                    <a:pt x="238" y="817"/>
                  </a:lnTo>
                  <a:lnTo>
                    <a:pt x="238" y="820"/>
                  </a:lnTo>
                  <a:lnTo>
                    <a:pt x="242" y="825"/>
                  </a:lnTo>
                  <a:lnTo>
                    <a:pt x="248" y="831"/>
                  </a:lnTo>
                  <a:lnTo>
                    <a:pt x="255" y="838"/>
                  </a:lnTo>
                  <a:lnTo>
                    <a:pt x="264" y="843"/>
                  </a:lnTo>
                  <a:lnTo>
                    <a:pt x="268" y="844"/>
                  </a:lnTo>
                  <a:lnTo>
                    <a:pt x="272" y="844"/>
                  </a:lnTo>
                  <a:lnTo>
                    <a:pt x="275" y="844"/>
                  </a:lnTo>
                  <a:lnTo>
                    <a:pt x="279" y="843"/>
                  </a:lnTo>
                  <a:lnTo>
                    <a:pt x="276" y="848"/>
                  </a:lnTo>
                  <a:lnTo>
                    <a:pt x="276" y="855"/>
                  </a:lnTo>
                  <a:lnTo>
                    <a:pt x="278" y="861"/>
                  </a:lnTo>
                  <a:lnTo>
                    <a:pt x="279" y="867"/>
                  </a:lnTo>
                  <a:lnTo>
                    <a:pt x="285" y="878"/>
                  </a:lnTo>
                  <a:lnTo>
                    <a:pt x="292" y="888"/>
                  </a:lnTo>
                  <a:lnTo>
                    <a:pt x="302" y="894"/>
                  </a:lnTo>
                  <a:lnTo>
                    <a:pt x="311" y="900"/>
                  </a:lnTo>
                  <a:lnTo>
                    <a:pt x="324" y="911"/>
                  </a:lnTo>
                  <a:lnTo>
                    <a:pt x="338" y="922"/>
                  </a:lnTo>
                  <a:lnTo>
                    <a:pt x="353" y="933"/>
                  </a:lnTo>
                  <a:lnTo>
                    <a:pt x="369" y="940"/>
                  </a:lnTo>
                  <a:lnTo>
                    <a:pt x="373" y="944"/>
                  </a:lnTo>
                  <a:lnTo>
                    <a:pt x="380" y="947"/>
                  </a:lnTo>
                  <a:lnTo>
                    <a:pt x="387" y="949"/>
                  </a:lnTo>
                  <a:lnTo>
                    <a:pt x="393" y="949"/>
                  </a:lnTo>
                  <a:lnTo>
                    <a:pt x="400" y="955"/>
                  </a:lnTo>
                  <a:lnTo>
                    <a:pt x="410" y="956"/>
                  </a:lnTo>
                  <a:lnTo>
                    <a:pt x="419" y="957"/>
                  </a:lnTo>
                  <a:lnTo>
                    <a:pt x="429" y="959"/>
                  </a:lnTo>
                  <a:lnTo>
                    <a:pt x="433" y="965"/>
                  </a:lnTo>
                  <a:lnTo>
                    <a:pt x="441" y="967"/>
                  </a:lnTo>
                  <a:lnTo>
                    <a:pt x="442" y="970"/>
                  </a:lnTo>
                  <a:lnTo>
                    <a:pt x="442" y="972"/>
                  </a:lnTo>
                  <a:lnTo>
                    <a:pt x="454" y="972"/>
                  </a:lnTo>
                  <a:lnTo>
                    <a:pt x="465" y="969"/>
                  </a:lnTo>
                  <a:lnTo>
                    <a:pt x="472" y="975"/>
                  </a:lnTo>
                  <a:lnTo>
                    <a:pt x="481" y="978"/>
                  </a:lnTo>
                  <a:lnTo>
                    <a:pt x="490" y="982"/>
                  </a:lnTo>
                  <a:lnTo>
                    <a:pt x="495" y="986"/>
                  </a:lnTo>
                  <a:lnTo>
                    <a:pt x="503" y="988"/>
                  </a:lnTo>
                  <a:lnTo>
                    <a:pt x="513" y="988"/>
                  </a:lnTo>
                  <a:lnTo>
                    <a:pt x="511" y="990"/>
                  </a:lnTo>
                  <a:lnTo>
                    <a:pt x="511" y="993"/>
                  </a:lnTo>
                  <a:lnTo>
                    <a:pt x="511" y="995"/>
                  </a:lnTo>
                  <a:lnTo>
                    <a:pt x="513" y="996"/>
                  </a:lnTo>
                  <a:lnTo>
                    <a:pt x="517" y="998"/>
                  </a:lnTo>
                  <a:lnTo>
                    <a:pt x="523" y="999"/>
                  </a:lnTo>
                  <a:lnTo>
                    <a:pt x="527" y="1003"/>
                  </a:lnTo>
                  <a:lnTo>
                    <a:pt x="533" y="1006"/>
                  </a:lnTo>
                  <a:lnTo>
                    <a:pt x="549" y="1006"/>
                  </a:lnTo>
                  <a:lnTo>
                    <a:pt x="564" y="1008"/>
                  </a:lnTo>
                  <a:lnTo>
                    <a:pt x="580" y="1009"/>
                  </a:lnTo>
                  <a:lnTo>
                    <a:pt x="596" y="1009"/>
                  </a:lnTo>
                  <a:lnTo>
                    <a:pt x="603" y="1012"/>
                  </a:lnTo>
                  <a:lnTo>
                    <a:pt x="612" y="1013"/>
                  </a:lnTo>
                  <a:lnTo>
                    <a:pt x="619" y="1013"/>
                  </a:lnTo>
                  <a:lnTo>
                    <a:pt x="628" y="1013"/>
                  </a:lnTo>
                  <a:close/>
                  <a:moveTo>
                    <a:pt x="567" y="848"/>
                  </a:moveTo>
                  <a:lnTo>
                    <a:pt x="567" y="848"/>
                  </a:lnTo>
                  <a:lnTo>
                    <a:pt x="570" y="844"/>
                  </a:lnTo>
                  <a:lnTo>
                    <a:pt x="572" y="838"/>
                  </a:lnTo>
                  <a:lnTo>
                    <a:pt x="569" y="838"/>
                  </a:lnTo>
                  <a:lnTo>
                    <a:pt x="567" y="841"/>
                  </a:lnTo>
                  <a:lnTo>
                    <a:pt x="566" y="844"/>
                  </a:lnTo>
                  <a:lnTo>
                    <a:pt x="566" y="848"/>
                  </a:lnTo>
                  <a:lnTo>
                    <a:pt x="567" y="848"/>
                  </a:lnTo>
                  <a:close/>
                  <a:moveTo>
                    <a:pt x="575" y="834"/>
                  </a:moveTo>
                  <a:lnTo>
                    <a:pt x="575" y="834"/>
                  </a:lnTo>
                  <a:lnTo>
                    <a:pt x="575" y="831"/>
                  </a:lnTo>
                  <a:lnTo>
                    <a:pt x="585" y="825"/>
                  </a:lnTo>
                  <a:lnTo>
                    <a:pt x="596" y="815"/>
                  </a:lnTo>
                  <a:lnTo>
                    <a:pt x="600" y="809"/>
                  </a:lnTo>
                  <a:lnTo>
                    <a:pt x="605" y="805"/>
                  </a:lnTo>
                  <a:lnTo>
                    <a:pt x="605" y="802"/>
                  </a:lnTo>
                  <a:lnTo>
                    <a:pt x="605" y="799"/>
                  </a:lnTo>
                  <a:lnTo>
                    <a:pt x="605" y="797"/>
                  </a:lnTo>
                  <a:lnTo>
                    <a:pt x="603" y="794"/>
                  </a:lnTo>
                  <a:lnTo>
                    <a:pt x="606" y="791"/>
                  </a:lnTo>
                  <a:lnTo>
                    <a:pt x="611" y="789"/>
                  </a:lnTo>
                  <a:lnTo>
                    <a:pt x="618" y="775"/>
                  </a:lnTo>
                  <a:lnTo>
                    <a:pt x="626" y="761"/>
                  </a:lnTo>
                  <a:lnTo>
                    <a:pt x="631" y="755"/>
                  </a:lnTo>
                  <a:lnTo>
                    <a:pt x="636" y="748"/>
                  </a:lnTo>
                  <a:lnTo>
                    <a:pt x="642" y="743"/>
                  </a:lnTo>
                  <a:lnTo>
                    <a:pt x="649" y="738"/>
                  </a:lnTo>
                  <a:lnTo>
                    <a:pt x="652" y="726"/>
                  </a:lnTo>
                  <a:lnTo>
                    <a:pt x="655" y="715"/>
                  </a:lnTo>
                  <a:lnTo>
                    <a:pt x="661" y="705"/>
                  </a:lnTo>
                  <a:lnTo>
                    <a:pt x="668" y="695"/>
                  </a:lnTo>
                  <a:lnTo>
                    <a:pt x="670" y="690"/>
                  </a:lnTo>
                  <a:lnTo>
                    <a:pt x="670" y="689"/>
                  </a:lnTo>
                  <a:lnTo>
                    <a:pt x="655" y="706"/>
                  </a:lnTo>
                  <a:lnTo>
                    <a:pt x="644" y="722"/>
                  </a:lnTo>
                  <a:lnTo>
                    <a:pt x="636" y="723"/>
                  </a:lnTo>
                  <a:lnTo>
                    <a:pt x="632" y="726"/>
                  </a:lnTo>
                  <a:lnTo>
                    <a:pt x="629" y="731"/>
                  </a:lnTo>
                  <a:lnTo>
                    <a:pt x="626" y="739"/>
                  </a:lnTo>
                  <a:lnTo>
                    <a:pt x="618" y="748"/>
                  </a:lnTo>
                  <a:lnTo>
                    <a:pt x="611" y="758"/>
                  </a:lnTo>
                  <a:lnTo>
                    <a:pt x="606" y="766"/>
                  </a:lnTo>
                  <a:lnTo>
                    <a:pt x="599" y="772"/>
                  </a:lnTo>
                  <a:lnTo>
                    <a:pt x="598" y="776"/>
                  </a:lnTo>
                  <a:lnTo>
                    <a:pt x="596" y="779"/>
                  </a:lnTo>
                  <a:lnTo>
                    <a:pt x="593" y="781"/>
                  </a:lnTo>
                  <a:lnTo>
                    <a:pt x="589" y="782"/>
                  </a:lnTo>
                  <a:lnTo>
                    <a:pt x="589" y="785"/>
                  </a:lnTo>
                  <a:lnTo>
                    <a:pt x="592" y="788"/>
                  </a:lnTo>
                  <a:lnTo>
                    <a:pt x="593" y="792"/>
                  </a:lnTo>
                  <a:lnTo>
                    <a:pt x="592" y="797"/>
                  </a:lnTo>
                  <a:lnTo>
                    <a:pt x="590" y="802"/>
                  </a:lnTo>
                  <a:lnTo>
                    <a:pt x="585" y="808"/>
                  </a:lnTo>
                  <a:lnTo>
                    <a:pt x="579" y="818"/>
                  </a:lnTo>
                  <a:lnTo>
                    <a:pt x="573" y="827"/>
                  </a:lnTo>
                  <a:lnTo>
                    <a:pt x="572" y="834"/>
                  </a:lnTo>
                  <a:lnTo>
                    <a:pt x="575" y="834"/>
                  </a:lnTo>
                  <a:close/>
                  <a:moveTo>
                    <a:pt x="531" y="802"/>
                  </a:moveTo>
                  <a:lnTo>
                    <a:pt x="531" y="802"/>
                  </a:lnTo>
                  <a:lnTo>
                    <a:pt x="531" y="801"/>
                  </a:lnTo>
                  <a:lnTo>
                    <a:pt x="531" y="799"/>
                  </a:lnTo>
                  <a:lnTo>
                    <a:pt x="531" y="799"/>
                  </a:lnTo>
                  <a:lnTo>
                    <a:pt x="528" y="799"/>
                  </a:lnTo>
                  <a:lnTo>
                    <a:pt x="530" y="801"/>
                  </a:lnTo>
                  <a:lnTo>
                    <a:pt x="531" y="802"/>
                  </a:lnTo>
                  <a:close/>
                  <a:moveTo>
                    <a:pt x="229" y="808"/>
                  </a:moveTo>
                  <a:lnTo>
                    <a:pt x="229" y="808"/>
                  </a:lnTo>
                  <a:lnTo>
                    <a:pt x="233" y="804"/>
                  </a:lnTo>
                  <a:lnTo>
                    <a:pt x="233" y="797"/>
                  </a:lnTo>
                  <a:lnTo>
                    <a:pt x="236" y="795"/>
                  </a:lnTo>
                  <a:lnTo>
                    <a:pt x="236" y="788"/>
                  </a:lnTo>
                  <a:lnTo>
                    <a:pt x="235" y="782"/>
                  </a:lnTo>
                  <a:lnTo>
                    <a:pt x="238" y="779"/>
                  </a:lnTo>
                  <a:lnTo>
                    <a:pt x="239" y="775"/>
                  </a:lnTo>
                  <a:lnTo>
                    <a:pt x="238" y="772"/>
                  </a:lnTo>
                  <a:lnTo>
                    <a:pt x="238" y="768"/>
                  </a:lnTo>
                  <a:lnTo>
                    <a:pt x="240" y="764"/>
                  </a:lnTo>
                  <a:lnTo>
                    <a:pt x="240" y="759"/>
                  </a:lnTo>
                  <a:lnTo>
                    <a:pt x="235" y="756"/>
                  </a:lnTo>
                  <a:lnTo>
                    <a:pt x="230" y="753"/>
                  </a:lnTo>
                  <a:lnTo>
                    <a:pt x="233" y="752"/>
                  </a:lnTo>
                  <a:lnTo>
                    <a:pt x="230" y="749"/>
                  </a:lnTo>
                  <a:lnTo>
                    <a:pt x="220" y="743"/>
                  </a:lnTo>
                  <a:lnTo>
                    <a:pt x="220" y="742"/>
                  </a:lnTo>
                  <a:lnTo>
                    <a:pt x="219" y="739"/>
                  </a:lnTo>
                  <a:lnTo>
                    <a:pt x="222" y="738"/>
                  </a:lnTo>
                  <a:lnTo>
                    <a:pt x="223" y="736"/>
                  </a:lnTo>
                  <a:lnTo>
                    <a:pt x="223" y="735"/>
                  </a:lnTo>
                  <a:lnTo>
                    <a:pt x="220" y="732"/>
                  </a:lnTo>
                  <a:lnTo>
                    <a:pt x="220" y="731"/>
                  </a:lnTo>
                  <a:lnTo>
                    <a:pt x="219" y="729"/>
                  </a:lnTo>
                  <a:lnTo>
                    <a:pt x="222" y="728"/>
                  </a:lnTo>
                  <a:lnTo>
                    <a:pt x="222" y="725"/>
                  </a:lnTo>
                  <a:lnTo>
                    <a:pt x="219" y="722"/>
                  </a:lnTo>
                  <a:lnTo>
                    <a:pt x="217" y="719"/>
                  </a:lnTo>
                  <a:lnTo>
                    <a:pt x="212" y="715"/>
                  </a:lnTo>
                  <a:lnTo>
                    <a:pt x="207" y="710"/>
                  </a:lnTo>
                  <a:lnTo>
                    <a:pt x="207" y="706"/>
                  </a:lnTo>
                  <a:lnTo>
                    <a:pt x="206" y="702"/>
                  </a:lnTo>
                  <a:lnTo>
                    <a:pt x="203" y="699"/>
                  </a:lnTo>
                  <a:lnTo>
                    <a:pt x="199" y="697"/>
                  </a:lnTo>
                  <a:lnTo>
                    <a:pt x="194" y="693"/>
                  </a:lnTo>
                  <a:lnTo>
                    <a:pt x="181" y="683"/>
                  </a:lnTo>
                  <a:lnTo>
                    <a:pt x="179" y="683"/>
                  </a:lnTo>
                  <a:lnTo>
                    <a:pt x="174" y="685"/>
                  </a:lnTo>
                  <a:lnTo>
                    <a:pt x="164" y="680"/>
                  </a:lnTo>
                  <a:lnTo>
                    <a:pt x="156" y="676"/>
                  </a:lnTo>
                  <a:lnTo>
                    <a:pt x="153" y="675"/>
                  </a:lnTo>
                  <a:lnTo>
                    <a:pt x="150" y="676"/>
                  </a:lnTo>
                  <a:lnTo>
                    <a:pt x="150" y="669"/>
                  </a:lnTo>
                  <a:lnTo>
                    <a:pt x="151" y="660"/>
                  </a:lnTo>
                  <a:lnTo>
                    <a:pt x="145" y="660"/>
                  </a:lnTo>
                  <a:lnTo>
                    <a:pt x="141" y="657"/>
                  </a:lnTo>
                  <a:lnTo>
                    <a:pt x="141" y="653"/>
                  </a:lnTo>
                  <a:lnTo>
                    <a:pt x="141" y="649"/>
                  </a:lnTo>
                  <a:lnTo>
                    <a:pt x="132" y="640"/>
                  </a:lnTo>
                  <a:lnTo>
                    <a:pt x="130" y="637"/>
                  </a:lnTo>
                  <a:lnTo>
                    <a:pt x="120" y="637"/>
                  </a:lnTo>
                  <a:lnTo>
                    <a:pt x="111" y="636"/>
                  </a:lnTo>
                  <a:lnTo>
                    <a:pt x="111" y="633"/>
                  </a:lnTo>
                  <a:lnTo>
                    <a:pt x="111" y="630"/>
                  </a:lnTo>
                  <a:lnTo>
                    <a:pt x="109" y="630"/>
                  </a:lnTo>
                  <a:lnTo>
                    <a:pt x="107" y="630"/>
                  </a:lnTo>
                  <a:lnTo>
                    <a:pt x="107" y="633"/>
                  </a:lnTo>
                  <a:lnTo>
                    <a:pt x="104" y="633"/>
                  </a:lnTo>
                  <a:lnTo>
                    <a:pt x="104" y="630"/>
                  </a:lnTo>
                  <a:lnTo>
                    <a:pt x="104" y="629"/>
                  </a:lnTo>
                  <a:lnTo>
                    <a:pt x="94" y="624"/>
                  </a:lnTo>
                  <a:lnTo>
                    <a:pt x="82" y="621"/>
                  </a:lnTo>
                  <a:lnTo>
                    <a:pt x="81" y="623"/>
                  </a:lnTo>
                  <a:lnTo>
                    <a:pt x="76" y="616"/>
                  </a:lnTo>
                  <a:lnTo>
                    <a:pt x="73" y="610"/>
                  </a:lnTo>
                  <a:lnTo>
                    <a:pt x="71" y="610"/>
                  </a:lnTo>
                  <a:lnTo>
                    <a:pt x="68" y="607"/>
                  </a:lnTo>
                  <a:lnTo>
                    <a:pt x="65" y="606"/>
                  </a:lnTo>
                  <a:lnTo>
                    <a:pt x="62" y="604"/>
                  </a:lnTo>
                  <a:lnTo>
                    <a:pt x="58" y="603"/>
                  </a:lnTo>
                  <a:lnTo>
                    <a:pt x="50" y="601"/>
                  </a:lnTo>
                  <a:lnTo>
                    <a:pt x="43" y="601"/>
                  </a:lnTo>
                  <a:lnTo>
                    <a:pt x="39" y="604"/>
                  </a:lnTo>
                  <a:lnTo>
                    <a:pt x="33" y="604"/>
                  </a:lnTo>
                  <a:lnTo>
                    <a:pt x="27" y="604"/>
                  </a:lnTo>
                  <a:lnTo>
                    <a:pt x="23" y="604"/>
                  </a:lnTo>
                  <a:lnTo>
                    <a:pt x="22" y="608"/>
                  </a:lnTo>
                  <a:lnTo>
                    <a:pt x="20" y="613"/>
                  </a:lnTo>
                  <a:lnTo>
                    <a:pt x="17" y="611"/>
                  </a:lnTo>
                  <a:lnTo>
                    <a:pt x="14" y="611"/>
                  </a:lnTo>
                  <a:lnTo>
                    <a:pt x="16" y="614"/>
                  </a:lnTo>
                  <a:lnTo>
                    <a:pt x="17" y="616"/>
                  </a:lnTo>
                  <a:lnTo>
                    <a:pt x="14" y="617"/>
                  </a:lnTo>
                  <a:lnTo>
                    <a:pt x="14" y="619"/>
                  </a:lnTo>
                  <a:lnTo>
                    <a:pt x="14" y="621"/>
                  </a:lnTo>
                  <a:lnTo>
                    <a:pt x="7" y="621"/>
                  </a:lnTo>
                  <a:lnTo>
                    <a:pt x="0" y="621"/>
                  </a:lnTo>
                  <a:lnTo>
                    <a:pt x="0" y="624"/>
                  </a:lnTo>
                  <a:lnTo>
                    <a:pt x="0" y="627"/>
                  </a:lnTo>
                  <a:lnTo>
                    <a:pt x="1" y="630"/>
                  </a:lnTo>
                  <a:lnTo>
                    <a:pt x="4" y="634"/>
                  </a:lnTo>
                  <a:lnTo>
                    <a:pt x="9" y="640"/>
                  </a:lnTo>
                  <a:lnTo>
                    <a:pt x="16" y="647"/>
                  </a:lnTo>
                  <a:lnTo>
                    <a:pt x="32" y="660"/>
                  </a:lnTo>
                  <a:lnTo>
                    <a:pt x="40" y="670"/>
                  </a:lnTo>
                  <a:lnTo>
                    <a:pt x="55" y="680"/>
                  </a:lnTo>
                  <a:lnTo>
                    <a:pt x="68" y="692"/>
                  </a:lnTo>
                  <a:lnTo>
                    <a:pt x="82" y="703"/>
                  </a:lnTo>
                  <a:lnTo>
                    <a:pt x="95" y="715"/>
                  </a:lnTo>
                  <a:lnTo>
                    <a:pt x="99" y="715"/>
                  </a:lnTo>
                  <a:lnTo>
                    <a:pt x="104" y="718"/>
                  </a:lnTo>
                  <a:lnTo>
                    <a:pt x="107" y="719"/>
                  </a:lnTo>
                  <a:lnTo>
                    <a:pt x="109" y="723"/>
                  </a:lnTo>
                  <a:lnTo>
                    <a:pt x="122" y="732"/>
                  </a:lnTo>
                  <a:lnTo>
                    <a:pt x="134" y="741"/>
                  </a:lnTo>
                  <a:lnTo>
                    <a:pt x="153" y="751"/>
                  </a:lnTo>
                  <a:lnTo>
                    <a:pt x="171" y="762"/>
                  </a:lnTo>
                  <a:lnTo>
                    <a:pt x="180" y="768"/>
                  </a:lnTo>
                  <a:lnTo>
                    <a:pt x="189" y="774"/>
                  </a:lnTo>
                  <a:lnTo>
                    <a:pt x="193" y="774"/>
                  </a:lnTo>
                  <a:lnTo>
                    <a:pt x="197" y="774"/>
                  </a:lnTo>
                  <a:lnTo>
                    <a:pt x="199" y="776"/>
                  </a:lnTo>
                  <a:lnTo>
                    <a:pt x="202" y="781"/>
                  </a:lnTo>
                  <a:lnTo>
                    <a:pt x="206" y="782"/>
                  </a:lnTo>
                  <a:lnTo>
                    <a:pt x="210" y="785"/>
                  </a:lnTo>
                  <a:lnTo>
                    <a:pt x="209" y="787"/>
                  </a:lnTo>
                  <a:lnTo>
                    <a:pt x="207" y="785"/>
                  </a:lnTo>
                  <a:lnTo>
                    <a:pt x="203" y="785"/>
                  </a:lnTo>
                  <a:lnTo>
                    <a:pt x="203" y="788"/>
                  </a:lnTo>
                  <a:lnTo>
                    <a:pt x="206" y="788"/>
                  </a:lnTo>
                  <a:lnTo>
                    <a:pt x="207" y="789"/>
                  </a:lnTo>
                  <a:lnTo>
                    <a:pt x="210" y="789"/>
                  </a:lnTo>
                  <a:lnTo>
                    <a:pt x="212" y="797"/>
                  </a:lnTo>
                  <a:lnTo>
                    <a:pt x="217" y="801"/>
                  </a:lnTo>
                  <a:lnTo>
                    <a:pt x="223" y="805"/>
                  </a:lnTo>
                  <a:lnTo>
                    <a:pt x="229" y="808"/>
                  </a:lnTo>
                  <a:close/>
                  <a:moveTo>
                    <a:pt x="245" y="792"/>
                  </a:moveTo>
                  <a:lnTo>
                    <a:pt x="245" y="792"/>
                  </a:lnTo>
                  <a:lnTo>
                    <a:pt x="245" y="789"/>
                  </a:lnTo>
                  <a:lnTo>
                    <a:pt x="242" y="789"/>
                  </a:lnTo>
                  <a:lnTo>
                    <a:pt x="240" y="791"/>
                  </a:lnTo>
                  <a:lnTo>
                    <a:pt x="242" y="791"/>
                  </a:lnTo>
                  <a:lnTo>
                    <a:pt x="245" y="792"/>
                  </a:lnTo>
                  <a:close/>
                  <a:moveTo>
                    <a:pt x="276" y="788"/>
                  </a:moveTo>
                  <a:lnTo>
                    <a:pt x="276" y="788"/>
                  </a:lnTo>
                  <a:lnTo>
                    <a:pt x="276" y="787"/>
                  </a:lnTo>
                  <a:lnTo>
                    <a:pt x="276" y="785"/>
                  </a:lnTo>
                  <a:lnTo>
                    <a:pt x="272" y="784"/>
                  </a:lnTo>
                  <a:lnTo>
                    <a:pt x="269" y="784"/>
                  </a:lnTo>
                  <a:lnTo>
                    <a:pt x="269" y="785"/>
                  </a:lnTo>
                  <a:lnTo>
                    <a:pt x="272" y="787"/>
                  </a:lnTo>
                  <a:lnTo>
                    <a:pt x="276" y="788"/>
                  </a:lnTo>
                  <a:close/>
                  <a:moveTo>
                    <a:pt x="374" y="748"/>
                  </a:moveTo>
                  <a:lnTo>
                    <a:pt x="374" y="748"/>
                  </a:lnTo>
                  <a:lnTo>
                    <a:pt x="374" y="746"/>
                  </a:lnTo>
                  <a:lnTo>
                    <a:pt x="376" y="743"/>
                  </a:lnTo>
                  <a:lnTo>
                    <a:pt x="387" y="741"/>
                  </a:lnTo>
                  <a:lnTo>
                    <a:pt x="400" y="739"/>
                  </a:lnTo>
                  <a:lnTo>
                    <a:pt x="400" y="736"/>
                  </a:lnTo>
                  <a:lnTo>
                    <a:pt x="389" y="738"/>
                  </a:lnTo>
                  <a:lnTo>
                    <a:pt x="377" y="739"/>
                  </a:lnTo>
                  <a:lnTo>
                    <a:pt x="366" y="742"/>
                  </a:lnTo>
                  <a:lnTo>
                    <a:pt x="354" y="745"/>
                  </a:lnTo>
                  <a:lnTo>
                    <a:pt x="354" y="746"/>
                  </a:lnTo>
                  <a:lnTo>
                    <a:pt x="364" y="746"/>
                  </a:lnTo>
                  <a:lnTo>
                    <a:pt x="374" y="748"/>
                  </a:lnTo>
                  <a:close/>
                  <a:moveTo>
                    <a:pt x="405" y="742"/>
                  </a:moveTo>
                  <a:lnTo>
                    <a:pt x="405" y="742"/>
                  </a:lnTo>
                  <a:lnTo>
                    <a:pt x="405" y="741"/>
                  </a:lnTo>
                  <a:lnTo>
                    <a:pt x="402" y="739"/>
                  </a:lnTo>
                  <a:lnTo>
                    <a:pt x="402" y="742"/>
                  </a:lnTo>
                  <a:lnTo>
                    <a:pt x="405" y="742"/>
                  </a:lnTo>
                  <a:close/>
                  <a:moveTo>
                    <a:pt x="334" y="741"/>
                  </a:moveTo>
                  <a:lnTo>
                    <a:pt x="334" y="741"/>
                  </a:lnTo>
                  <a:lnTo>
                    <a:pt x="338" y="739"/>
                  </a:lnTo>
                  <a:lnTo>
                    <a:pt x="350" y="738"/>
                  </a:lnTo>
                  <a:lnTo>
                    <a:pt x="364" y="733"/>
                  </a:lnTo>
                  <a:lnTo>
                    <a:pt x="379" y="729"/>
                  </a:lnTo>
                  <a:lnTo>
                    <a:pt x="393" y="726"/>
                  </a:lnTo>
                  <a:lnTo>
                    <a:pt x="408" y="720"/>
                  </a:lnTo>
                  <a:lnTo>
                    <a:pt x="403" y="720"/>
                  </a:lnTo>
                  <a:lnTo>
                    <a:pt x="400" y="720"/>
                  </a:lnTo>
                  <a:lnTo>
                    <a:pt x="399" y="718"/>
                  </a:lnTo>
                  <a:lnTo>
                    <a:pt x="403" y="716"/>
                  </a:lnTo>
                  <a:lnTo>
                    <a:pt x="406" y="715"/>
                  </a:lnTo>
                  <a:lnTo>
                    <a:pt x="408" y="713"/>
                  </a:lnTo>
                  <a:lnTo>
                    <a:pt x="402" y="713"/>
                  </a:lnTo>
                  <a:lnTo>
                    <a:pt x="396" y="715"/>
                  </a:lnTo>
                  <a:lnTo>
                    <a:pt x="399" y="710"/>
                  </a:lnTo>
                  <a:lnTo>
                    <a:pt x="403" y="706"/>
                  </a:lnTo>
                  <a:lnTo>
                    <a:pt x="402" y="703"/>
                  </a:lnTo>
                  <a:lnTo>
                    <a:pt x="399" y="703"/>
                  </a:lnTo>
                  <a:lnTo>
                    <a:pt x="396" y="703"/>
                  </a:lnTo>
                  <a:lnTo>
                    <a:pt x="393" y="705"/>
                  </a:lnTo>
                  <a:lnTo>
                    <a:pt x="390" y="706"/>
                  </a:lnTo>
                  <a:lnTo>
                    <a:pt x="382" y="709"/>
                  </a:lnTo>
                  <a:lnTo>
                    <a:pt x="372" y="710"/>
                  </a:lnTo>
                  <a:lnTo>
                    <a:pt x="363" y="715"/>
                  </a:lnTo>
                  <a:lnTo>
                    <a:pt x="356" y="720"/>
                  </a:lnTo>
                  <a:lnTo>
                    <a:pt x="347" y="728"/>
                  </a:lnTo>
                  <a:lnTo>
                    <a:pt x="338" y="733"/>
                  </a:lnTo>
                  <a:lnTo>
                    <a:pt x="334" y="738"/>
                  </a:lnTo>
                  <a:lnTo>
                    <a:pt x="331" y="741"/>
                  </a:lnTo>
                  <a:lnTo>
                    <a:pt x="333" y="741"/>
                  </a:lnTo>
                  <a:lnTo>
                    <a:pt x="334" y="741"/>
                  </a:lnTo>
                  <a:close/>
                  <a:moveTo>
                    <a:pt x="449" y="735"/>
                  </a:moveTo>
                  <a:lnTo>
                    <a:pt x="449" y="735"/>
                  </a:lnTo>
                  <a:lnTo>
                    <a:pt x="452" y="735"/>
                  </a:lnTo>
                  <a:lnTo>
                    <a:pt x="455" y="735"/>
                  </a:lnTo>
                  <a:lnTo>
                    <a:pt x="454" y="733"/>
                  </a:lnTo>
                  <a:lnTo>
                    <a:pt x="451" y="733"/>
                  </a:lnTo>
                  <a:lnTo>
                    <a:pt x="446" y="733"/>
                  </a:lnTo>
                  <a:lnTo>
                    <a:pt x="446" y="735"/>
                  </a:lnTo>
                  <a:lnTo>
                    <a:pt x="449" y="735"/>
                  </a:lnTo>
                  <a:close/>
                  <a:moveTo>
                    <a:pt x="613" y="712"/>
                  </a:moveTo>
                  <a:lnTo>
                    <a:pt x="613" y="712"/>
                  </a:lnTo>
                  <a:lnTo>
                    <a:pt x="613" y="710"/>
                  </a:lnTo>
                  <a:lnTo>
                    <a:pt x="613" y="708"/>
                  </a:lnTo>
                  <a:lnTo>
                    <a:pt x="609" y="705"/>
                  </a:lnTo>
                  <a:lnTo>
                    <a:pt x="603" y="703"/>
                  </a:lnTo>
                  <a:lnTo>
                    <a:pt x="605" y="708"/>
                  </a:lnTo>
                  <a:lnTo>
                    <a:pt x="608" y="712"/>
                  </a:lnTo>
                  <a:lnTo>
                    <a:pt x="611" y="712"/>
                  </a:lnTo>
                  <a:lnTo>
                    <a:pt x="613" y="712"/>
                  </a:lnTo>
                  <a:close/>
                  <a:moveTo>
                    <a:pt x="425" y="660"/>
                  </a:moveTo>
                  <a:lnTo>
                    <a:pt x="425" y="660"/>
                  </a:lnTo>
                  <a:lnTo>
                    <a:pt x="423" y="657"/>
                  </a:lnTo>
                  <a:lnTo>
                    <a:pt x="422" y="657"/>
                  </a:lnTo>
                  <a:lnTo>
                    <a:pt x="420" y="660"/>
                  </a:lnTo>
                  <a:lnTo>
                    <a:pt x="423" y="660"/>
                  </a:lnTo>
                  <a:lnTo>
                    <a:pt x="425" y="660"/>
                  </a:lnTo>
                  <a:close/>
                  <a:moveTo>
                    <a:pt x="435" y="621"/>
                  </a:moveTo>
                  <a:lnTo>
                    <a:pt x="435" y="621"/>
                  </a:lnTo>
                  <a:lnTo>
                    <a:pt x="435" y="620"/>
                  </a:lnTo>
                  <a:lnTo>
                    <a:pt x="433" y="620"/>
                  </a:lnTo>
                  <a:lnTo>
                    <a:pt x="432" y="620"/>
                  </a:lnTo>
                  <a:lnTo>
                    <a:pt x="431" y="621"/>
                  </a:lnTo>
                  <a:lnTo>
                    <a:pt x="432" y="621"/>
                  </a:lnTo>
                  <a:lnTo>
                    <a:pt x="435" y="621"/>
                  </a:lnTo>
                  <a:close/>
                  <a:moveTo>
                    <a:pt x="62" y="621"/>
                  </a:moveTo>
                  <a:lnTo>
                    <a:pt x="62" y="621"/>
                  </a:lnTo>
                  <a:lnTo>
                    <a:pt x="65" y="619"/>
                  </a:lnTo>
                  <a:lnTo>
                    <a:pt x="68" y="617"/>
                  </a:lnTo>
                  <a:lnTo>
                    <a:pt x="66" y="614"/>
                  </a:lnTo>
                  <a:lnTo>
                    <a:pt x="62" y="614"/>
                  </a:lnTo>
                  <a:lnTo>
                    <a:pt x="58" y="616"/>
                  </a:lnTo>
                  <a:lnTo>
                    <a:pt x="58" y="617"/>
                  </a:lnTo>
                  <a:lnTo>
                    <a:pt x="59" y="620"/>
                  </a:lnTo>
                  <a:lnTo>
                    <a:pt x="60" y="620"/>
                  </a:lnTo>
                  <a:lnTo>
                    <a:pt x="62" y="621"/>
                  </a:lnTo>
                  <a:close/>
                  <a:moveTo>
                    <a:pt x="42" y="616"/>
                  </a:moveTo>
                  <a:lnTo>
                    <a:pt x="42" y="616"/>
                  </a:lnTo>
                  <a:lnTo>
                    <a:pt x="42" y="614"/>
                  </a:lnTo>
                  <a:lnTo>
                    <a:pt x="42" y="611"/>
                  </a:lnTo>
                  <a:lnTo>
                    <a:pt x="40" y="611"/>
                  </a:lnTo>
                  <a:lnTo>
                    <a:pt x="37" y="611"/>
                  </a:lnTo>
                  <a:lnTo>
                    <a:pt x="39" y="614"/>
                  </a:lnTo>
                  <a:lnTo>
                    <a:pt x="42" y="616"/>
                  </a:lnTo>
                  <a:close/>
                  <a:moveTo>
                    <a:pt x="53" y="611"/>
                  </a:moveTo>
                  <a:lnTo>
                    <a:pt x="53" y="611"/>
                  </a:lnTo>
                  <a:lnTo>
                    <a:pt x="56" y="610"/>
                  </a:lnTo>
                  <a:lnTo>
                    <a:pt x="56" y="608"/>
                  </a:lnTo>
                  <a:lnTo>
                    <a:pt x="55" y="607"/>
                  </a:lnTo>
                  <a:lnTo>
                    <a:pt x="53" y="606"/>
                  </a:lnTo>
                  <a:lnTo>
                    <a:pt x="50" y="607"/>
                  </a:lnTo>
                  <a:lnTo>
                    <a:pt x="50" y="610"/>
                  </a:lnTo>
                  <a:lnTo>
                    <a:pt x="50" y="611"/>
                  </a:lnTo>
                  <a:lnTo>
                    <a:pt x="52" y="611"/>
                  </a:lnTo>
                  <a:lnTo>
                    <a:pt x="53" y="611"/>
                  </a:lnTo>
                  <a:close/>
                  <a:moveTo>
                    <a:pt x="53" y="594"/>
                  </a:moveTo>
                  <a:lnTo>
                    <a:pt x="53" y="594"/>
                  </a:lnTo>
                  <a:lnTo>
                    <a:pt x="55" y="591"/>
                  </a:lnTo>
                  <a:lnTo>
                    <a:pt x="46" y="591"/>
                  </a:lnTo>
                  <a:lnTo>
                    <a:pt x="40" y="593"/>
                  </a:lnTo>
                  <a:lnTo>
                    <a:pt x="46" y="594"/>
                  </a:lnTo>
                  <a:lnTo>
                    <a:pt x="53" y="594"/>
                  </a:lnTo>
                  <a:close/>
                  <a:moveTo>
                    <a:pt x="793" y="564"/>
                  </a:moveTo>
                  <a:lnTo>
                    <a:pt x="793" y="564"/>
                  </a:lnTo>
                  <a:lnTo>
                    <a:pt x="793" y="563"/>
                  </a:lnTo>
                  <a:lnTo>
                    <a:pt x="789" y="563"/>
                  </a:lnTo>
                  <a:lnTo>
                    <a:pt x="789" y="564"/>
                  </a:lnTo>
                  <a:lnTo>
                    <a:pt x="791" y="564"/>
                  </a:lnTo>
                  <a:lnTo>
                    <a:pt x="793" y="564"/>
                  </a:lnTo>
                  <a:close/>
                  <a:moveTo>
                    <a:pt x="776" y="551"/>
                  </a:moveTo>
                  <a:lnTo>
                    <a:pt x="776" y="551"/>
                  </a:lnTo>
                  <a:lnTo>
                    <a:pt x="776" y="550"/>
                  </a:lnTo>
                  <a:lnTo>
                    <a:pt x="775" y="548"/>
                  </a:lnTo>
                  <a:lnTo>
                    <a:pt x="775" y="550"/>
                  </a:lnTo>
                  <a:lnTo>
                    <a:pt x="776" y="551"/>
                  </a:lnTo>
                  <a:close/>
                  <a:moveTo>
                    <a:pt x="670" y="473"/>
                  </a:moveTo>
                  <a:lnTo>
                    <a:pt x="670" y="473"/>
                  </a:lnTo>
                  <a:lnTo>
                    <a:pt x="670" y="471"/>
                  </a:lnTo>
                  <a:lnTo>
                    <a:pt x="668" y="471"/>
                  </a:lnTo>
                  <a:lnTo>
                    <a:pt x="665" y="471"/>
                  </a:lnTo>
                  <a:lnTo>
                    <a:pt x="665" y="472"/>
                  </a:lnTo>
                  <a:lnTo>
                    <a:pt x="668" y="472"/>
                  </a:lnTo>
                  <a:lnTo>
                    <a:pt x="670" y="473"/>
                  </a:lnTo>
                  <a:close/>
                  <a:moveTo>
                    <a:pt x="672" y="465"/>
                  </a:moveTo>
                  <a:lnTo>
                    <a:pt x="672" y="465"/>
                  </a:lnTo>
                  <a:lnTo>
                    <a:pt x="674" y="463"/>
                  </a:lnTo>
                  <a:lnTo>
                    <a:pt x="677" y="462"/>
                  </a:lnTo>
                  <a:lnTo>
                    <a:pt x="677" y="461"/>
                  </a:lnTo>
                  <a:lnTo>
                    <a:pt x="675" y="458"/>
                  </a:lnTo>
                  <a:lnTo>
                    <a:pt x="680" y="453"/>
                  </a:lnTo>
                  <a:lnTo>
                    <a:pt x="683" y="450"/>
                  </a:lnTo>
                  <a:lnTo>
                    <a:pt x="684" y="445"/>
                  </a:lnTo>
                  <a:lnTo>
                    <a:pt x="685" y="440"/>
                  </a:lnTo>
                  <a:lnTo>
                    <a:pt x="694" y="430"/>
                  </a:lnTo>
                  <a:lnTo>
                    <a:pt x="700" y="420"/>
                  </a:lnTo>
                  <a:lnTo>
                    <a:pt x="706" y="410"/>
                  </a:lnTo>
                  <a:lnTo>
                    <a:pt x="711" y="399"/>
                  </a:lnTo>
                  <a:lnTo>
                    <a:pt x="720" y="376"/>
                  </a:lnTo>
                  <a:lnTo>
                    <a:pt x="727" y="353"/>
                  </a:lnTo>
                  <a:lnTo>
                    <a:pt x="726" y="344"/>
                  </a:lnTo>
                  <a:lnTo>
                    <a:pt x="727" y="336"/>
                  </a:lnTo>
                  <a:lnTo>
                    <a:pt x="727" y="327"/>
                  </a:lnTo>
                  <a:lnTo>
                    <a:pt x="727" y="321"/>
                  </a:lnTo>
                  <a:lnTo>
                    <a:pt x="727" y="314"/>
                  </a:lnTo>
                  <a:lnTo>
                    <a:pt x="732" y="307"/>
                  </a:lnTo>
                  <a:lnTo>
                    <a:pt x="734" y="281"/>
                  </a:lnTo>
                  <a:lnTo>
                    <a:pt x="739" y="255"/>
                  </a:lnTo>
                  <a:lnTo>
                    <a:pt x="743" y="228"/>
                  </a:lnTo>
                  <a:lnTo>
                    <a:pt x="744" y="202"/>
                  </a:lnTo>
                  <a:lnTo>
                    <a:pt x="746" y="196"/>
                  </a:lnTo>
                  <a:lnTo>
                    <a:pt x="746" y="192"/>
                  </a:lnTo>
                  <a:lnTo>
                    <a:pt x="744" y="186"/>
                  </a:lnTo>
                  <a:lnTo>
                    <a:pt x="742" y="182"/>
                  </a:lnTo>
                  <a:lnTo>
                    <a:pt x="744" y="179"/>
                  </a:lnTo>
                  <a:lnTo>
                    <a:pt x="746" y="178"/>
                  </a:lnTo>
                  <a:lnTo>
                    <a:pt x="750" y="156"/>
                  </a:lnTo>
                  <a:lnTo>
                    <a:pt x="752" y="135"/>
                  </a:lnTo>
                  <a:lnTo>
                    <a:pt x="753" y="113"/>
                  </a:lnTo>
                  <a:lnTo>
                    <a:pt x="755" y="93"/>
                  </a:lnTo>
                  <a:lnTo>
                    <a:pt x="753" y="77"/>
                  </a:lnTo>
                  <a:lnTo>
                    <a:pt x="749" y="63"/>
                  </a:lnTo>
                  <a:lnTo>
                    <a:pt x="746" y="57"/>
                  </a:lnTo>
                  <a:lnTo>
                    <a:pt x="740" y="53"/>
                  </a:lnTo>
                  <a:lnTo>
                    <a:pt x="734" y="48"/>
                  </a:lnTo>
                  <a:lnTo>
                    <a:pt x="726" y="46"/>
                  </a:lnTo>
                  <a:lnTo>
                    <a:pt x="714" y="46"/>
                  </a:lnTo>
                  <a:lnTo>
                    <a:pt x="704" y="46"/>
                  </a:lnTo>
                  <a:lnTo>
                    <a:pt x="698" y="48"/>
                  </a:lnTo>
                  <a:lnTo>
                    <a:pt x="693" y="54"/>
                  </a:lnTo>
                  <a:lnTo>
                    <a:pt x="690" y="60"/>
                  </a:lnTo>
                  <a:lnTo>
                    <a:pt x="685" y="66"/>
                  </a:lnTo>
                  <a:lnTo>
                    <a:pt x="684" y="80"/>
                  </a:lnTo>
                  <a:lnTo>
                    <a:pt x="683" y="83"/>
                  </a:lnTo>
                  <a:lnTo>
                    <a:pt x="683" y="90"/>
                  </a:lnTo>
                  <a:lnTo>
                    <a:pt x="684" y="100"/>
                  </a:lnTo>
                  <a:lnTo>
                    <a:pt x="683" y="109"/>
                  </a:lnTo>
                  <a:lnTo>
                    <a:pt x="681" y="116"/>
                  </a:lnTo>
                  <a:lnTo>
                    <a:pt x="683" y="119"/>
                  </a:lnTo>
                  <a:lnTo>
                    <a:pt x="683" y="123"/>
                  </a:lnTo>
                  <a:lnTo>
                    <a:pt x="681" y="127"/>
                  </a:lnTo>
                  <a:lnTo>
                    <a:pt x="681" y="133"/>
                  </a:lnTo>
                  <a:lnTo>
                    <a:pt x="681" y="137"/>
                  </a:lnTo>
                  <a:lnTo>
                    <a:pt x="683" y="143"/>
                  </a:lnTo>
                  <a:lnTo>
                    <a:pt x="680" y="149"/>
                  </a:lnTo>
                  <a:lnTo>
                    <a:pt x="680" y="158"/>
                  </a:lnTo>
                  <a:lnTo>
                    <a:pt x="680" y="166"/>
                  </a:lnTo>
                  <a:lnTo>
                    <a:pt x="681" y="170"/>
                  </a:lnTo>
                  <a:lnTo>
                    <a:pt x="696" y="173"/>
                  </a:lnTo>
                  <a:lnTo>
                    <a:pt x="708" y="175"/>
                  </a:lnTo>
                  <a:lnTo>
                    <a:pt x="710" y="176"/>
                  </a:lnTo>
                  <a:lnTo>
                    <a:pt x="710" y="179"/>
                  </a:lnTo>
                  <a:lnTo>
                    <a:pt x="701" y="179"/>
                  </a:lnTo>
                  <a:lnTo>
                    <a:pt x="696" y="179"/>
                  </a:lnTo>
                  <a:lnTo>
                    <a:pt x="688" y="179"/>
                  </a:lnTo>
                  <a:lnTo>
                    <a:pt x="681" y="183"/>
                  </a:lnTo>
                  <a:lnTo>
                    <a:pt x="678" y="188"/>
                  </a:lnTo>
                  <a:lnTo>
                    <a:pt x="674" y="196"/>
                  </a:lnTo>
                  <a:lnTo>
                    <a:pt x="674" y="202"/>
                  </a:lnTo>
                  <a:lnTo>
                    <a:pt x="674" y="209"/>
                  </a:lnTo>
                  <a:lnTo>
                    <a:pt x="674" y="216"/>
                  </a:lnTo>
                  <a:lnTo>
                    <a:pt x="671" y="222"/>
                  </a:lnTo>
                  <a:lnTo>
                    <a:pt x="671" y="232"/>
                  </a:lnTo>
                  <a:lnTo>
                    <a:pt x="670" y="244"/>
                  </a:lnTo>
                  <a:lnTo>
                    <a:pt x="668" y="244"/>
                  </a:lnTo>
                  <a:lnTo>
                    <a:pt x="668" y="248"/>
                  </a:lnTo>
                  <a:lnTo>
                    <a:pt x="668" y="255"/>
                  </a:lnTo>
                  <a:lnTo>
                    <a:pt x="665" y="257"/>
                  </a:lnTo>
                  <a:lnTo>
                    <a:pt x="664" y="267"/>
                  </a:lnTo>
                  <a:lnTo>
                    <a:pt x="664" y="278"/>
                  </a:lnTo>
                  <a:lnTo>
                    <a:pt x="661" y="278"/>
                  </a:lnTo>
                  <a:lnTo>
                    <a:pt x="662" y="280"/>
                  </a:lnTo>
                  <a:lnTo>
                    <a:pt x="662" y="282"/>
                  </a:lnTo>
                  <a:lnTo>
                    <a:pt x="665" y="284"/>
                  </a:lnTo>
                  <a:lnTo>
                    <a:pt x="667" y="287"/>
                  </a:lnTo>
                  <a:lnTo>
                    <a:pt x="664" y="290"/>
                  </a:lnTo>
                  <a:lnTo>
                    <a:pt x="662" y="294"/>
                  </a:lnTo>
                  <a:lnTo>
                    <a:pt x="660" y="300"/>
                  </a:lnTo>
                  <a:lnTo>
                    <a:pt x="660" y="304"/>
                  </a:lnTo>
                  <a:lnTo>
                    <a:pt x="661" y="304"/>
                  </a:lnTo>
                  <a:lnTo>
                    <a:pt x="664" y="305"/>
                  </a:lnTo>
                  <a:lnTo>
                    <a:pt x="662" y="307"/>
                  </a:lnTo>
                  <a:lnTo>
                    <a:pt x="660" y="310"/>
                  </a:lnTo>
                  <a:lnTo>
                    <a:pt x="661" y="311"/>
                  </a:lnTo>
                  <a:lnTo>
                    <a:pt x="664" y="316"/>
                  </a:lnTo>
                  <a:lnTo>
                    <a:pt x="662" y="316"/>
                  </a:lnTo>
                  <a:lnTo>
                    <a:pt x="658" y="318"/>
                  </a:lnTo>
                  <a:lnTo>
                    <a:pt x="655" y="324"/>
                  </a:lnTo>
                  <a:lnTo>
                    <a:pt x="651" y="328"/>
                  </a:lnTo>
                  <a:lnTo>
                    <a:pt x="648" y="337"/>
                  </a:lnTo>
                  <a:lnTo>
                    <a:pt x="644" y="343"/>
                  </a:lnTo>
                  <a:lnTo>
                    <a:pt x="644" y="354"/>
                  </a:lnTo>
                  <a:lnTo>
                    <a:pt x="641" y="364"/>
                  </a:lnTo>
                  <a:lnTo>
                    <a:pt x="639" y="376"/>
                  </a:lnTo>
                  <a:lnTo>
                    <a:pt x="638" y="387"/>
                  </a:lnTo>
                  <a:lnTo>
                    <a:pt x="638" y="397"/>
                  </a:lnTo>
                  <a:lnTo>
                    <a:pt x="638" y="407"/>
                  </a:lnTo>
                  <a:lnTo>
                    <a:pt x="636" y="419"/>
                  </a:lnTo>
                  <a:lnTo>
                    <a:pt x="638" y="426"/>
                  </a:lnTo>
                  <a:lnTo>
                    <a:pt x="639" y="429"/>
                  </a:lnTo>
                  <a:lnTo>
                    <a:pt x="641" y="432"/>
                  </a:lnTo>
                  <a:lnTo>
                    <a:pt x="645" y="433"/>
                  </a:lnTo>
                  <a:lnTo>
                    <a:pt x="651" y="435"/>
                  </a:lnTo>
                  <a:lnTo>
                    <a:pt x="649" y="436"/>
                  </a:lnTo>
                  <a:lnTo>
                    <a:pt x="647" y="438"/>
                  </a:lnTo>
                  <a:lnTo>
                    <a:pt x="642" y="438"/>
                  </a:lnTo>
                  <a:lnTo>
                    <a:pt x="638" y="436"/>
                  </a:lnTo>
                  <a:lnTo>
                    <a:pt x="638" y="439"/>
                  </a:lnTo>
                  <a:lnTo>
                    <a:pt x="636" y="442"/>
                  </a:lnTo>
                  <a:lnTo>
                    <a:pt x="636" y="443"/>
                  </a:lnTo>
                  <a:lnTo>
                    <a:pt x="638" y="446"/>
                  </a:lnTo>
                  <a:lnTo>
                    <a:pt x="635" y="449"/>
                  </a:lnTo>
                  <a:lnTo>
                    <a:pt x="634" y="452"/>
                  </a:lnTo>
                  <a:lnTo>
                    <a:pt x="635" y="455"/>
                  </a:lnTo>
                  <a:lnTo>
                    <a:pt x="635" y="459"/>
                  </a:lnTo>
                  <a:lnTo>
                    <a:pt x="636" y="459"/>
                  </a:lnTo>
                  <a:lnTo>
                    <a:pt x="639" y="459"/>
                  </a:lnTo>
                  <a:lnTo>
                    <a:pt x="639" y="461"/>
                  </a:lnTo>
                  <a:lnTo>
                    <a:pt x="639" y="462"/>
                  </a:lnTo>
                  <a:lnTo>
                    <a:pt x="644" y="462"/>
                  </a:lnTo>
                  <a:lnTo>
                    <a:pt x="649" y="462"/>
                  </a:lnTo>
                  <a:lnTo>
                    <a:pt x="654" y="462"/>
                  </a:lnTo>
                  <a:lnTo>
                    <a:pt x="657" y="465"/>
                  </a:lnTo>
                  <a:lnTo>
                    <a:pt x="660" y="465"/>
                  </a:lnTo>
                  <a:lnTo>
                    <a:pt x="661" y="463"/>
                  </a:lnTo>
                  <a:lnTo>
                    <a:pt x="667" y="465"/>
                  </a:lnTo>
                  <a:lnTo>
                    <a:pt x="672" y="465"/>
                  </a:lnTo>
                  <a:close/>
                  <a:moveTo>
                    <a:pt x="661" y="462"/>
                  </a:moveTo>
                  <a:lnTo>
                    <a:pt x="661" y="462"/>
                  </a:lnTo>
                  <a:lnTo>
                    <a:pt x="665" y="461"/>
                  </a:lnTo>
                  <a:lnTo>
                    <a:pt x="667" y="459"/>
                  </a:lnTo>
                  <a:lnTo>
                    <a:pt x="662" y="458"/>
                  </a:lnTo>
                  <a:lnTo>
                    <a:pt x="657" y="459"/>
                  </a:lnTo>
                  <a:lnTo>
                    <a:pt x="660" y="461"/>
                  </a:lnTo>
                  <a:lnTo>
                    <a:pt x="661" y="462"/>
                  </a:lnTo>
                  <a:close/>
                  <a:moveTo>
                    <a:pt x="566" y="461"/>
                  </a:moveTo>
                  <a:lnTo>
                    <a:pt x="566" y="461"/>
                  </a:lnTo>
                  <a:lnTo>
                    <a:pt x="569" y="456"/>
                  </a:lnTo>
                  <a:lnTo>
                    <a:pt x="572" y="452"/>
                  </a:lnTo>
                  <a:lnTo>
                    <a:pt x="570" y="448"/>
                  </a:lnTo>
                  <a:lnTo>
                    <a:pt x="567" y="446"/>
                  </a:lnTo>
                  <a:lnTo>
                    <a:pt x="564" y="445"/>
                  </a:lnTo>
                  <a:lnTo>
                    <a:pt x="562" y="445"/>
                  </a:lnTo>
                  <a:lnTo>
                    <a:pt x="559" y="449"/>
                  </a:lnTo>
                  <a:lnTo>
                    <a:pt x="559" y="453"/>
                  </a:lnTo>
                  <a:lnTo>
                    <a:pt x="562" y="458"/>
                  </a:lnTo>
                  <a:lnTo>
                    <a:pt x="566" y="461"/>
                  </a:lnTo>
                  <a:close/>
                  <a:moveTo>
                    <a:pt x="559" y="430"/>
                  </a:moveTo>
                  <a:lnTo>
                    <a:pt x="559" y="430"/>
                  </a:lnTo>
                  <a:lnTo>
                    <a:pt x="559" y="428"/>
                  </a:lnTo>
                  <a:lnTo>
                    <a:pt x="550" y="428"/>
                  </a:lnTo>
                  <a:lnTo>
                    <a:pt x="550" y="430"/>
                  </a:lnTo>
                  <a:lnTo>
                    <a:pt x="554" y="430"/>
                  </a:lnTo>
                  <a:lnTo>
                    <a:pt x="559" y="430"/>
                  </a:lnTo>
                  <a:close/>
                  <a:moveTo>
                    <a:pt x="556" y="423"/>
                  </a:moveTo>
                  <a:lnTo>
                    <a:pt x="556" y="423"/>
                  </a:lnTo>
                  <a:lnTo>
                    <a:pt x="559" y="422"/>
                  </a:lnTo>
                  <a:lnTo>
                    <a:pt x="559" y="415"/>
                  </a:lnTo>
                  <a:lnTo>
                    <a:pt x="559" y="409"/>
                  </a:lnTo>
                  <a:lnTo>
                    <a:pt x="556" y="407"/>
                  </a:lnTo>
                  <a:lnTo>
                    <a:pt x="557" y="403"/>
                  </a:lnTo>
                  <a:lnTo>
                    <a:pt x="559" y="397"/>
                  </a:lnTo>
                  <a:lnTo>
                    <a:pt x="559" y="382"/>
                  </a:lnTo>
                  <a:lnTo>
                    <a:pt x="560" y="367"/>
                  </a:lnTo>
                  <a:lnTo>
                    <a:pt x="562" y="351"/>
                  </a:lnTo>
                  <a:lnTo>
                    <a:pt x="563" y="336"/>
                  </a:lnTo>
                  <a:lnTo>
                    <a:pt x="562" y="323"/>
                  </a:lnTo>
                  <a:lnTo>
                    <a:pt x="562" y="307"/>
                  </a:lnTo>
                  <a:lnTo>
                    <a:pt x="560" y="298"/>
                  </a:lnTo>
                  <a:lnTo>
                    <a:pt x="559" y="291"/>
                  </a:lnTo>
                  <a:lnTo>
                    <a:pt x="556" y="284"/>
                  </a:lnTo>
                  <a:lnTo>
                    <a:pt x="552" y="280"/>
                  </a:lnTo>
                  <a:lnTo>
                    <a:pt x="550" y="278"/>
                  </a:lnTo>
                  <a:lnTo>
                    <a:pt x="547" y="277"/>
                  </a:lnTo>
                  <a:lnTo>
                    <a:pt x="546" y="278"/>
                  </a:lnTo>
                  <a:lnTo>
                    <a:pt x="541" y="275"/>
                  </a:lnTo>
                  <a:lnTo>
                    <a:pt x="540" y="274"/>
                  </a:lnTo>
                  <a:lnTo>
                    <a:pt x="541" y="272"/>
                  </a:lnTo>
                  <a:lnTo>
                    <a:pt x="549" y="270"/>
                  </a:lnTo>
                  <a:lnTo>
                    <a:pt x="547" y="267"/>
                  </a:lnTo>
                  <a:lnTo>
                    <a:pt x="546" y="264"/>
                  </a:lnTo>
                  <a:lnTo>
                    <a:pt x="549" y="260"/>
                  </a:lnTo>
                  <a:lnTo>
                    <a:pt x="549" y="255"/>
                  </a:lnTo>
                  <a:lnTo>
                    <a:pt x="546" y="252"/>
                  </a:lnTo>
                  <a:lnTo>
                    <a:pt x="543" y="248"/>
                  </a:lnTo>
                  <a:lnTo>
                    <a:pt x="547" y="247"/>
                  </a:lnTo>
                  <a:lnTo>
                    <a:pt x="550" y="245"/>
                  </a:lnTo>
                  <a:lnTo>
                    <a:pt x="550" y="239"/>
                  </a:lnTo>
                  <a:lnTo>
                    <a:pt x="552" y="234"/>
                  </a:lnTo>
                  <a:lnTo>
                    <a:pt x="552" y="209"/>
                  </a:lnTo>
                  <a:lnTo>
                    <a:pt x="552" y="193"/>
                  </a:lnTo>
                  <a:lnTo>
                    <a:pt x="553" y="182"/>
                  </a:lnTo>
                  <a:lnTo>
                    <a:pt x="553" y="169"/>
                  </a:lnTo>
                  <a:lnTo>
                    <a:pt x="552" y="156"/>
                  </a:lnTo>
                  <a:lnTo>
                    <a:pt x="550" y="145"/>
                  </a:lnTo>
                  <a:lnTo>
                    <a:pt x="549" y="132"/>
                  </a:lnTo>
                  <a:lnTo>
                    <a:pt x="546" y="120"/>
                  </a:lnTo>
                  <a:lnTo>
                    <a:pt x="544" y="119"/>
                  </a:lnTo>
                  <a:lnTo>
                    <a:pt x="544" y="116"/>
                  </a:lnTo>
                  <a:lnTo>
                    <a:pt x="547" y="113"/>
                  </a:lnTo>
                  <a:lnTo>
                    <a:pt x="549" y="110"/>
                  </a:lnTo>
                  <a:lnTo>
                    <a:pt x="549" y="89"/>
                  </a:lnTo>
                  <a:lnTo>
                    <a:pt x="547" y="67"/>
                  </a:lnTo>
                  <a:lnTo>
                    <a:pt x="547" y="46"/>
                  </a:lnTo>
                  <a:lnTo>
                    <a:pt x="544" y="24"/>
                  </a:lnTo>
                  <a:lnTo>
                    <a:pt x="543" y="21"/>
                  </a:lnTo>
                  <a:lnTo>
                    <a:pt x="541" y="18"/>
                  </a:lnTo>
                  <a:lnTo>
                    <a:pt x="537" y="17"/>
                  </a:lnTo>
                  <a:lnTo>
                    <a:pt x="536" y="15"/>
                  </a:lnTo>
                  <a:lnTo>
                    <a:pt x="534" y="13"/>
                  </a:lnTo>
                  <a:lnTo>
                    <a:pt x="533" y="8"/>
                  </a:lnTo>
                  <a:lnTo>
                    <a:pt x="531" y="8"/>
                  </a:lnTo>
                  <a:lnTo>
                    <a:pt x="530" y="8"/>
                  </a:lnTo>
                  <a:lnTo>
                    <a:pt x="530" y="5"/>
                  </a:lnTo>
                  <a:lnTo>
                    <a:pt x="518" y="1"/>
                  </a:lnTo>
                  <a:lnTo>
                    <a:pt x="508" y="0"/>
                  </a:lnTo>
                  <a:lnTo>
                    <a:pt x="503" y="0"/>
                  </a:lnTo>
                  <a:lnTo>
                    <a:pt x="497" y="1"/>
                  </a:lnTo>
                  <a:lnTo>
                    <a:pt x="488" y="7"/>
                  </a:lnTo>
                  <a:lnTo>
                    <a:pt x="485" y="8"/>
                  </a:lnTo>
                  <a:lnTo>
                    <a:pt x="484" y="14"/>
                  </a:lnTo>
                  <a:lnTo>
                    <a:pt x="482" y="18"/>
                  </a:lnTo>
                  <a:lnTo>
                    <a:pt x="482" y="38"/>
                  </a:lnTo>
                  <a:lnTo>
                    <a:pt x="484" y="57"/>
                  </a:lnTo>
                  <a:lnTo>
                    <a:pt x="481" y="60"/>
                  </a:lnTo>
                  <a:lnTo>
                    <a:pt x="480" y="66"/>
                  </a:lnTo>
                  <a:lnTo>
                    <a:pt x="477" y="66"/>
                  </a:lnTo>
                  <a:lnTo>
                    <a:pt x="478" y="69"/>
                  </a:lnTo>
                  <a:lnTo>
                    <a:pt x="478" y="70"/>
                  </a:lnTo>
                  <a:lnTo>
                    <a:pt x="475" y="79"/>
                  </a:lnTo>
                  <a:lnTo>
                    <a:pt x="475" y="89"/>
                  </a:lnTo>
                  <a:lnTo>
                    <a:pt x="474" y="100"/>
                  </a:lnTo>
                  <a:lnTo>
                    <a:pt x="474" y="114"/>
                  </a:lnTo>
                  <a:lnTo>
                    <a:pt x="477" y="117"/>
                  </a:lnTo>
                  <a:lnTo>
                    <a:pt x="477" y="122"/>
                  </a:lnTo>
                  <a:lnTo>
                    <a:pt x="484" y="123"/>
                  </a:lnTo>
                  <a:lnTo>
                    <a:pt x="490" y="126"/>
                  </a:lnTo>
                  <a:lnTo>
                    <a:pt x="484" y="129"/>
                  </a:lnTo>
                  <a:lnTo>
                    <a:pt x="480" y="133"/>
                  </a:lnTo>
                  <a:lnTo>
                    <a:pt x="477" y="139"/>
                  </a:lnTo>
                  <a:lnTo>
                    <a:pt x="475" y="146"/>
                  </a:lnTo>
                  <a:lnTo>
                    <a:pt x="474" y="162"/>
                  </a:lnTo>
                  <a:lnTo>
                    <a:pt x="474" y="175"/>
                  </a:lnTo>
                  <a:lnTo>
                    <a:pt x="474" y="182"/>
                  </a:lnTo>
                  <a:lnTo>
                    <a:pt x="475" y="189"/>
                  </a:lnTo>
                  <a:lnTo>
                    <a:pt x="474" y="202"/>
                  </a:lnTo>
                  <a:lnTo>
                    <a:pt x="475" y="216"/>
                  </a:lnTo>
                  <a:lnTo>
                    <a:pt x="474" y="218"/>
                  </a:lnTo>
                  <a:lnTo>
                    <a:pt x="474" y="222"/>
                  </a:lnTo>
                  <a:lnTo>
                    <a:pt x="475" y="226"/>
                  </a:lnTo>
                  <a:lnTo>
                    <a:pt x="474" y="229"/>
                  </a:lnTo>
                  <a:lnTo>
                    <a:pt x="474" y="235"/>
                  </a:lnTo>
                  <a:lnTo>
                    <a:pt x="475" y="241"/>
                  </a:lnTo>
                  <a:lnTo>
                    <a:pt x="475" y="245"/>
                  </a:lnTo>
                  <a:lnTo>
                    <a:pt x="485" y="245"/>
                  </a:lnTo>
                  <a:lnTo>
                    <a:pt x="494" y="244"/>
                  </a:lnTo>
                  <a:lnTo>
                    <a:pt x="495" y="242"/>
                  </a:lnTo>
                  <a:lnTo>
                    <a:pt x="498" y="241"/>
                  </a:lnTo>
                  <a:lnTo>
                    <a:pt x="500" y="242"/>
                  </a:lnTo>
                  <a:lnTo>
                    <a:pt x="501" y="245"/>
                  </a:lnTo>
                  <a:lnTo>
                    <a:pt x="497" y="247"/>
                  </a:lnTo>
                  <a:lnTo>
                    <a:pt x="495" y="249"/>
                  </a:lnTo>
                  <a:lnTo>
                    <a:pt x="500" y="249"/>
                  </a:lnTo>
                  <a:lnTo>
                    <a:pt x="505" y="251"/>
                  </a:lnTo>
                  <a:lnTo>
                    <a:pt x="500" y="254"/>
                  </a:lnTo>
                  <a:lnTo>
                    <a:pt x="495" y="254"/>
                  </a:lnTo>
                  <a:lnTo>
                    <a:pt x="494" y="252"/>
                  </a:lnTo>
                  <a:lnTo>
                    <a:pt x="491" y="251"/>
                  </a:lnTo>
                  <a:lnTo>
                    <a:pt x="488" y="251"/>
                  </a:lnTo>
                  <a:lnTo>
                    <a:pt x="485" y="251"/>
                  </a:lnTo>
                  <a:lnTo>
                    <a:pt x="481" y="257"/>
                  </a:lnTo>
                  <a:lnTo>
                    <a:pt x="480" y="261"/>
                  </a:lnTo>
                  <a:lnTo>
                    <a:pt x="480" y="264"/>
                  </a:lnTo>
                  <a:lnTo>
                    <a:pt x="481" y="265"/>
                  </a:lnTo>
                  <a:lnTo>
                    <a:pt x="488" y="264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7" y="268"/>
                  </a:lnTo>
                  <a:lnTo>
                    <a:pt x="491" y="268"/>
                  </a:lnTo>
                  <a:lnTo>
                    <a:pt x="487" y="271"/>
                  </a:lnTo>
                  <a:lnTo>
                    <a:pt x="484" y="272"/>
                  </a:lnTo>
                  <a:lnTo>
                    <a:pt x="484" y="274"/>
                  </a:lnTo>
                  <a:lnTo>
                    <a:pt x="484" y="275"/>
                  </a:lnTo>
                  <a:lnTo>
                    <a:pt x="485" y="278"/>
                  </a:lnTo>
                  <a:lnTo>
                    <a:pt x="491" y="280"/>
                  </a:lnTo>
                  <a:lnTo>
                    <a:pt x="492" y="281"/>
                  </a:lnTo>
                  <a:lnTo>
                    <a:pt x="488" y="282"/>
                  </a:lnTo>
                  <a:lnTo>
                    <a:pt x="485" y="285"/>
                  </a:lnTo>
                  <a:lnTo>
                    <a:pt x="482" y="293"/>
                  </a:lnTo>
                  <a:lnTo>
                    <a:pt x="480" y="303"/>
                  </a:lnTo>
                  <a:lnTo>
                    <a:pt x="478" y="313"/>
                  </a:lnTo>
                  <a:lnTo>
                    <a:pt x="477" y="323"/>
                  </a:lnTo>
                  <a:lnTo>
                    <a:pt x="477" y="333"/>
                  </a:lnTo>
                  <a:lnTo>
                    <a:pt x="478" y="343"/>
                  </a:lnTo>
                  <a:lnTo>
                    <a:pt x="478" y="351"/>
                  </a:lnTo>
                  <a:lnTo>
                    <a:pt x="481" y="360"/>
                  </a:lnTo>
                  <a:lnTo>
                    <a:pt x="487" y="363"/>
                  </a:lnTo>
                  <a:lnTo>
                    <a:pt x="488" y="366"/>
                  </a:lnTo>
                  <a:lnTo>
                    <a:pt x="490" y="370"/>
                  </a:lnTo>
                  <a:lnTo>
                    <a:pt x="491" y="377"/>
                  </a:lnTo>
                  <a:lnTo>
                    <a:pt x="497" y="386"/>
                  </a:lnTo>
                  <a:lnTo>
                    <a:pt x="503" y="394"/>
                  </a:lnTo>
                  <a:lnTo>
                    <a:pt x="511" y="399"/>
                  </a:lnTo>
                  <a:lnTo>
                    <a:pt x="518" y="405"/>
                  </a:lnTo>
                  <a:lnTo>
                    <a:pt x="521" y="412"/>
                  </a:lnTo>
                  <a:lnTo>
                    <a:pt x="524" y="417"/>
                  </a:lnTo>
                  <a:lnTo>
                    <a:pt x="531" y="420"/>
                  </a:lnTo>
                  <a:lnTo>
                    <a:pt x="540" y="422"/>
                  </a:lnTo>
                  <a:lnTo>
                    <a:pt x="549" y="423"/>
                  </a:lnTo>
                  <a:lnTo>
                    <a:pt x="556" y="423"/>
                  </a:lnTo>
                  <a:close/>
                  <a:moveTo>
                    <a:pt x="865" y="394"/>
                  </a:moveTo>
                  <a:lnTo>
                    <a:pt x="865" y="394"/>
                  </a:lnTo>
                  <a:lnTo>
                    <a:pt x="867" y="393"/>
                  </a:lnTo>
                  <a:lnTo>
                    <a:pt x="868" y="390"/>
                  </a:lnTo>
                  <a:lnTo>
                    <a:pt x="865" y="392"/>
                  </a:lnTo>
                  <a:lnTo>
                    <a:pt x="865" y="393"/>
                  </a:lnTo>
                  <a:lnTo>
                    <a:pt x="865" y="394"/>
                  </a:lnTo>
                  <a:close/>
                  <a:moveTo>
                    <a:pt x="850" y="390"/>
                  </a:moveTo>
                  <a:lnTo>
                    <a:pt x="850" y="390"/>
                  </a:lnTo>
                  <a:lnTo>
                    <a:pt x="850" y="389"/>
                  </a:lnTo>
                  <a:lnTo>
                    <a:pt x="850" y="386"/>
                  </a:lnTo>
                  <a:lnTo>
                    <a:pt x="847" y="387"/>
                  </a:lnTo>
                  <a:lnTo>
                    <a:pt x="847" y="389"/>
                  </a:lnTo>
                  <a:lnTo>
                    <a:pt x="847" y="390"/>
                  </a:lnTo>
                  <a:lnTo>
                    <a:pt x="850" y="390"/>
                  </a:lnTo>
                  <a:close/>
                  <a:moveTo>
                    <a:pt x="687" y="323"/>
                  </a:moveTo>
                  <a:lnTo>
                    <a:pt x="687" y="323"/>
                  </a:lnTo>
                  <a:lnTo>
                    <a:pt x="688" y="320"/>
                  </a:lnTo>
                  <a:lnTo>
                    <a:pt x="688" y="318"/>
                  </a:lnTo>
                  <a:lnTo>
                    <a:pt x="687" y="316"/>
                  </a:lnTo>
                  <a:lnTo>
                    <a:pt x="685" y="313"/>
                  </a:lnTo>
                  <a:lnTo>
                    <a:pt x="687" y="313"/>
                  </a:lnTo>
                  <a:lnTo>
                    <a:pt x="690" y="311"/>
                  </a:lnTo>
                  <a:lnTo>
                    <a:pt x="690" y="310"/>
                  </a:lnTo>
                  <a:lnTo>
                    <a:pt x="694" y="308"/>
                  </a:lnTo>
                  <a:lnTo>
                    <a:pt x="694" y="305"/>
                  </a:lnTo>
                  <a:lnTo>
                    <a:pt x="690" y="303"/>
                  </a:lnTo>
                  <a:lnTo>
                    <a:pt x="685" y="301"/>
                  </a:lnTo>
                  <a:lnTo>
                    <a:pt x="683" y="303"/>
                  </a:lnTo>
                  <a:lnTo>
                    <a:pt x="678" y="304"/>
                  </a:lnTo>
                  <a:lnTo>
                    <a:pt x="680" y="308"/>
                  </a:lnTo>
                  <a:lnTo>
                    <a:pt x="680" y="311"/>
                  </a:lnTo>
                  <a:lnTo>
                    <a:pt x="675" y="316"/>
                  </a:lnTo>
                  <a:lnTo>
                    <a:pt x="670" y="317"/>
                  </a:lnTo>
                  <a:lnTo>
                    <a:pt x="677" y="321"/>
                  </a:lnTo>
                  <a:lnTo>
                    <a:pt x="687" y="323"/>
                  </a:lnTo>
                  <a:close/>
                  <a:moveTo>
                    <a:pt x="357" y="314"/>
                  </a:moveTo>
                  <a:lnTo>
                    <a:pt x="357" y="314"/>
                  </a:lnTo>
                  <a:lnTo>
                    <a:pt x="359" y="311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4"/>
                  </a:lnTo>
                  <a:lnTo>
                    <a:pt x="357" y="314"/>
                  </a:lnTo>
                  <a:close/>
                  <a:moveTo>
                    <a:pt x="537" y="284"/>
                  </a:moveTo>
                  <a:lnTo>
                    <a:pt x="537" y="284"/>
                  </a:lnTo>
                  <a:lnTo>
                    <a:pt x="539" y="281"/>
                  </a:lnTo>
                  <a:lnTo>
                    <a:pt x="539" y="280"/>
                  </a:lnTo>
                  <a:lnTo>
                    <a:pt x="536" y="277"/>
                  </a:lnTo>
                  <a:lnTo>
                    <a:pt x="531" y="277"/>
                  </a:lnTo>
                  <a:lnTo>
                    <a:pt x="533" y="280"/>
                  </a:lnTo>
                  <a:lnTo>
                    <a:pt x="536" y="284"/>
                  </a:lnTo>
                  <a:lnTo>
                    <a:pt x="537" y="284"/>
                  </a:lnTo>
                  <a:close/>
                  <a:moveTo>
                    <a:pt x="701" y="129"/>
                  </a:moveTo>
                  <a:lnTo>
                    <a:pt x="701" y="129"/>
                  </a:lnTo>
                  <a:lnTo>
                    <a:pt x="701" y="126"/>
                  </a:lnTo>
                  <a:lnTo>
                    <a:pt x="700" y="126"/>
                  </a:lnTo>
                  <a:lnTo>
                    <a:pt x="698" y="126"/>
                  </a:lnTo>
                  <a:lnTo>
                    <a:pt x="700" y="129"/>
                  </a:lnTo>
                  <a:lnTo>
                    <a:pt x="701" y="129"/>
                  </a:lnTo>
                  <a:close/>
                  <a:moveTo>
                    <a:pt x="275" y="140"/>
                  </a:moveTo>
                  <a:lnTo>
                    <a:pt x="275" y="140"/>
                  </a:lnTo>
                  <a:lnTo>
                    <a:pt x="276" y="139"/>
                  </a:lnTo>
                  <a:lnTo>
                    <a:pt x="281" y="137"/>
                  </a:lnTo>
                  <a:lnTo>
                    <a:pt x="281" y="136"/>
                  </a:lnTo>
                  <a:lnTo>
                    <a:pt x="278" y="136"/>
                  </a:lnTo>
                  <a:lnTo>
                    <a:pt x="275" y="133"/>
                  </a:lnTo>
                  <a:lnTo>
                    <a:pt x="274" y="130"/>
                  </a:lnTo>
                  <a:lnTo>
                    <a:pt x="275" y="126"/>
                  </a:lnTo>
                  <a:lnTo>
                    <a:pt x="275" y="122"/>
                  </a:lnTo>
                  <a:lnTo>
                    <a:pt x="272" y="119"/>
                  </a:lnTo>
                  <a:lnTo>
                    <a:pt x="268" y="119"/>
                  </a:lnTo>
                  <a:lnTo>
                    <a:pt x="268" y="122"/>
                  </a:lnTo>
                  <a:lnTo>
                    <a:pt x="271" y="123"/>
                  </a:lnTo>
                  <a:lnTo>
                    <a:pt x="269" y="125"/>
                  </a:lnTo>
                  <a:lnTo>
                    <a:pt x="266" y="126"/>
                  </a:lnTo>
                  <a:lnTo>
                    <a:pt x="264" y="123"/>
                  </a:lnTo>
                  <a:lnTo>
                    <a:pt x="261" y="122"/>
                  </a:lnTo>
                  <a:lnTo>
                    <a:pt x="261" y="125"/>
                  </a:lnTo>
                  <a:lnTo>
                    <a:pt x="262" y="130"/>
                  </a:lnTo>
                  <a:lnTo>
                    <a:pt x="268" y="136"/>
                  </a:lnTo>
                  <a:lnTo>
                    <a:pt x="275" y="140"/>
                  </a:lnTo>
                  <a:close/>
                  <a:moveTo>
                    <a:pt x="714" y="119"/>
                  </a:moveTo>
                  <a:lnTo>
                    <a:pt x="714" y="119"/>
                  </a:lnTo>
                  <a:lnTo>
                    <a:pt x="716" y="117"/>
                  </a:lnTo>
                  <a:lnTo>
                    <a:pt x="713" y="116"/>
                  </a:lnTo>
                  <a:lnTo>
                    <a:pt x="710" y="116"/>
                  </a:lnTo>
                  <a:lnTo>
                    <a:pt x="711" y="117"/>
                  </a:lnTo>
                  <a:lnTo>
                    <a:pt x="714" y="119"/>
                  </a:lnTo>
                  <a:close/>
                  <a:moveTo>
                    <a:pt x="719" y="106"/>
                  </a:moveTo>
                  <a:lnTo>
                    <a:pt x="719" y="106"/>
                  </a:lnTo>
                  <a:lnTo>
                    <a:pt x="719" y="104"/>
                  </a:lnTo>
                  <a:lnTo>
                    <a:pt x="719" y="102"/>
                  </a:lnTo>
                  <a:lnTo>
                    <a:pt x="713" y="99"/>
                  </a:lnTo>
                  <a:lnTo>
                    <a:pt x="710" y="99"/>
                  </a:lnTo>
                  <a:lnTo>
                    <a:pt x="711" y="103"/>
                  </a:lnTo>
                  <a:lnTo>
                    <a:pt x="713" y="104"/>
                  </a:lnTo>
                  <a:lnTo>
                    <a:pt x="716" y="106"/>
                  </a:lnTo>
                  <a:lnTo>
                    <a:pt x="719" y="106"/>
                  </a:lnTo>
                  <a:close/>
                  <a:moveTo>
                    <a:pt x="716" y="96"/>
                  </a:moveTo>
                  <a:lnTo>
                    <a:pt x="716" y="96"/>
                  </a:lnTo>
                  <a:lnTo>
                    <a:pt x="719" y="93"/>
                  </a:lnTo>
                  <a:lnTo>
                    <a:pt x="719" y="90"/>
                  </a:lnTo>
                  <a:lnTo>
                    <a:pt x="717" y="89"/>
                  </a:lnTo>
                  <a:lnTo>
                    <a:pt x="716" y="89"/>
                  </a:lnTo>
                  <a:lnTo>
                    <a:pt x="714" y="89"/>
                  </a:lnTo>
                  <a:lnTo>
                    <a:pt x="710" y="89"/>
                  </a:lnTo>
                  <a:lnTo>
                    <a:pt x="706" y="89"/>
                  </a:lnTo>
                  <a:lnTo>
                    <a:pt x="707" y="91"/>
                  </a:lnTo>
                  <a:lnTo>
                    <a:pt x="708" y="93"/>
                  </a:lnTo>
                  <a:lnTo>
                    <a:pt x="710" y="93"/>
                  </a:lnTo>
                  <a:lnTo>
                    <a:pt x="713" y="91"/>
                  </a:lnTo>
                  <a:lnTo>
                    <a:pt x="714" y="94"/>
                  </a:lnTo>
                  <a:lnTo>
                    <a:pt x="716" y="96"/>
                  </a:lnTo>
                  <a:close/>
                  <a:moveTo>
                    <a:pt x="732" y="93"/>
                  </a:moveTo>
                  <a:lnTo>
                    <a:pt x="732" y="93"/>
                  </a:lnTo>
                  <a:lnTo>
                    <a:pt x="733" y="91"/>
                  </a:lnTo>
                  <a:lnTo>
                    <a:pt x="730" y="89"/>
                  </a:lnTo>
                  <a:lnTo>
                    <a:pt x="730" y="86"/>
                  </a:lnTo>
                  <a:lnTo>
                    <a:pt x="733" y="83"/>
                  </a:lnTo>
                  <a:lnTo>
                    <a:pt x="733" y="81"/>
                  </a:lnTo>
                  <a:lnTo>
                    <a:pt x="733" y="79"/>
                  </a:lnTo>
                  <a:lnTo>
                    <a:pt x="730" y="79"/>
                  </a:lnTo>
                  <a:lnTo>
                    <a:pt x="727" y="81"/>
                  </a:lnTo>
                  <a:lnTo>
                    <a:pt x="727" y="84"/>
                  </a:lnTo>
                  <a:lnTo>
                    <a:pt x="727" y="87"/>
                  </a:lnTo>
                  <a:lnTo>
                    <a:pt x="727" y="91"/>
                  </a:lnTo>
                  <a:lnTo>
                    <a:pt x="729" y="93"/>
                  </a:lnTo>
                  <a:lnTo>
                    <a:pt x="732" y="93"/>
                  </a:lnTo>
                  <a:close/>
                  <a:moveTo>
                    <a:pt x="503" y="51"/>
                  </a:moveTo>
                  <a:lnTo>
                    <a:pt x="503" y="51"/>
                  </a:lnTo>
                  <a:lnTo>
                    <a:pt x="504" y="50"/>
                  </a:lnTo>
                  <a:lnTo>
                    <a:pt x="505" y="48"/>
                  </a:lnTo>
                  <a:lnTo>
                    <a:pt x="505" y="46"/>
                  </a:lnTo>
                  <a:lnTo>
                    <a:pt x="501" y="46"/>
                  </a:lnTo>
                  <a:lnTo>
                    <a:pt x="498" y="47"/>
                  </a:lnTo>
                  <a:lnTo>
                    <a:pt x="495" y="47"/>
                  </a:lnTo>
                  <a:lnTo>
                    <a:pt x="495" y="50"/>
                  </a:lnTo>
                  <a:lnTo>
                    <a:pt x="498" y="50"/>
                  </a:lnTo>
                  <a:lnTo>
                    <a:pt x="501" y="51"/>
                  </a:lnTo>
                  <a:lnTo>
                    <a:pt x="503" y="51"/>
                  </a:lnTo>
                  <a:close/>
                  <a:moveTo>
                    <a:pt x="514" y="37"/>
                  </a:moveTo>
                  <a:lnTo>
                    <a:pt x="514" y="37"/>
                  </a:lnTo>
                  <a:lnTo>
                    <a:pt x="517" y="31"/>
                  </a:lnTo>
                  <a:lnTo>
                    <a:pt x="520" y="24"/>
                  </a:lnTo>
                  <a:lnTo>
                    <a:pt x="516" y="25"/>
                  </a:lnTo>
                  <a:lnTo>
                    <a:pt x="511" y="27"/>
                  </a:lnTo>
                  <a:lnTo>
                    <a:pt x="508" y="28"/>
                  </a:lnTo>
                  <a:lnTo>
                    <a:pt x="505" y="33"/>
                  </a:lnTo>
                  <a:lnTo>
                    <a:pt x="508" y="33"/>
                  </a:lnTo>
                  <a:lnTo>
                    <a:pt x="508" y="31"/>
                  </a:lnTo>
                  <a:lnTo>
                    <a:pt x="510" y="34"/>
                  </a:lnTo>
                  <a:lnTo>
                    <a:pt x="510" y="35"/>
                  </a:lnTo>
                  <a:lnTo>
                    <a:pt x="511" y="35"/>
                  </a:lnTo>
                  <a:lnTo>
                    <a:pt x="514" y="37"/>
                  </a:lnTo>
                  <a:close/>
                </a:path>
              </a:pathLst>
            </a:custGeom>
            <a:solidFill>
              <a:srgbClr val="E20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3" name="Skupina 1062">
            <a:extLst>
              <a:ext uri="{FF2B5EF4-FFF2-40B4-BE49-F238E27FC236}">
                <a16:creationId xmlns:a16="http://schemas.microsoft.com/office/drawing/2014/main" id="{079B90BA-CFA5-A43D-6458-6EA70F80BE97}"/>
              </a:ext>
            </a:extLst>
          </p:cNvPr>
          <p:cNvGrpSpPr/>
          <p:nvPr/>
        </p:nvGrpSpPr>
        <p:grpSpPr>
          <a:xfrm>
            <a:off x="10287000" y="3894138"/>
            <a:ext cx="1524000" cy="495300"/>
            <a:chOff x="10287000" y="3894138"/>
            <a:chExt cx="1524000" cy="495300"/>
          </a:xfrm>
        </p:grpSpPr>
        <p:sp>
          <p:nvSpPr>
            <p:cNvPr id="1025" name="Freeform 30">
              <a:extLst>
                <a:ext uri="{FF2B5EF4-FFF2-40B4-BE49-F238E27FC236}">
                  <a16:creationId xmlns:a16="http://schemas.microsoft.com/office/drawing/2014/main" id="{CA5EF41B-5CD4-389F-71EA-B31CDBA49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2525" y="4003675"/>
              <a:ext cx="61913" cy="92075"/>
            </a:xfrm>
            <a:custGeom>
              <a:avLst/>
              <a:gdLst>
                <a:gd name="T0" fmla="*/ 115 w 117"/>
                <a:gd name="T1" fmla="*/ 133 h 173"/>
                <a:gd name="T2" fmla="*/ 107 w 117"/>
                <a:gd name="T3" fmla="*/ 153 h 173"/>
                <a:gd name="T4" fmla="*/ 92 w 117"/>
                <a:gd name="T5" fmla="*/ 166 h 173"/>
                <a:gd name="T6" fmla="*/ 72 w 117"/>
                <a:gd name="T7" fmla="*/ 173 h 173"/>
                <a:gd name="T8" fmla="*/ 46 w 117"/>
                <a:gd name="T9" fmla="*/ 172 h 173"/>
                <a:gd name="T10" fmla="*/ 29 w 117"/>
                <a:gd name="T11" fmla="*/ 166 h 173"/>
                <a:gd name="T12" fmla="*/ 19 w 117"/>
                <a:gd name="T13" fmla="*/ 159 h 173"/>
                <a:gd name="T14" fmla="*/ 9 w 117"/>
                <a:gd name="T15" fmla="*/ 145 h 173"/>
                <a:gd name="T16" fmla="*/ 2 w 117"/>
                <a:gd name="T17" fmla="*/ 119 h 173"/>
                <a:gd name="T18" fmla="*/ 2 w 117"/>
                <a:gd name="T19" fmla="*/ 89 h 173"/>
                <a:gd name="T20" fmla="*/ 10 w 117"/>
                <a:gd name="T21" fmla="*/ 63 h 173"/>
                <a:gd name="T22" fmla="*/ 26 w 117"/>
                <a:gd name="T23" fmla="*/ 46 h 173"/>
                <a:gd name="T24" fmla="*/ 48 w 117"/>
                <a:gd name="T25" fmla="*/ 36 h 173"/>
                <a:gd name="T26" fmla="*/ 72 w 117"/>
                <a:gd name="T27" fmla="*/ 36 h 173"/>
                <a:gd name="T28" fmla="*/ 92 w 117"/>
                <a:gd name="T29" fmla="*/ 41 h 173"/>
                <a:gd name="T30" fmla="*/ 107 w 117"/>
                <a:gd name="T31" fmla="*/ 54 h 173"/>
                <a:gd name="T32" fmla="*/ 115 w 117"/>
                <a:gd name="T33" fmla="*/ 74 h 173"/>
                <a:gd name="T34" fmla="*/ 81 w 117"/>
                <a:gd name="T35" fmla="*/ 87 h 173"/>
                <a:gd name="T36" fmla="*/ 75 w 117"/>
                <a:gd name="T37" fmla="*/ 67 h 173"/>
                <a:gd name="T38" fmla="*/ 69 w 117"/>
                <a:gd name="T39" fmla="*/ 63 h 173"/>
                <a:gd name="T40" fmla="*/ 61 w 117"/>
                <a:gd name="T41" fmla="*/ 60 h 173"/>
                <a:gd name="T42" fmla="*/ 51 w 117"/>
                <a:gd name="T43" fmla="*/ 64 h 173"/>
                <a:gd name="T44" fmla="*/ 43 w 117"/>
                <a:gd name="T45" fmla="*/ 73 h 173"/>
                <a:gd name="T46" fmla="*/ 39 w 117"/>
                <a:gd name="T47" fmla="*/ 87 h 173"/>
                <a:gd name="T48" fmla="*/ 38 w 117"/>
                <a:gd name="T49" fmla="*/ 104 h 173"/>
                <a:gd name="T50" fmla="*/ 39 w 117"/>
                <a:gd name="T51" fmla="*/ 122 h 173"/>
                <a:gd name="T52" fmla="*/ 43 w 117"/>
                <a:gd name="T53" fmla="*/ 135 h 173"/>
                <a:gd name="T54" fmla="*/ 51 w 117"/>
                <a:gd name="T55" fmla="*/ 143 h 173"/>
                <a:gd name="T56" fmla="*/ 61 w 117"/>
                <a:gd name="T57" fmla="*/ 148 h 173"/>
                <a:gd name="T58" fmla="*/ 69 w 117"/>
                <a:gd name="T59" fmla="*/ 146 h 173"/>
                <a:gd name="T60" fmla="*/ 75 w 117"/>
                <a:gd name="T61" fmla="*/ 140 h 173"/>
                <a:gd name="T62" fmla="*/ 81 w 117"/>
                <a:gd name="T63" fmla="*/ 122 h 173"/>
                <a:gd name="T64" fmla="*/ 77 w 117"/>
                <a:gd name="T65" fmla="*/ 27 h 173"/>
                <a:gd name="T66" fmla="*/ 42 w 117"/>
                <a:gd name="T67" fmla="*/ 27 h 173"/>
                <a:gd name="T68" fmla="*/ 43 w 117"/>
                <a:gd name="T69" fmla="*/ 0 h 173"/>
                <a:gd name="T70" fmla="*/ 75 w 117"/>
                <a:gd name="T71" fmla="*/ 0 h 173"/>
                <a:gd name="T72" fmla="*/ 77 w 117"/>
                <a:gd name="T73" fmla="*/ 2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7" h="173">
                  <a:moveTo>
                    <a:pt x="117" y="122"/>
                  </a:moveTo>
                  <a:lnTo>
                    <a:pt x="115" y="133"/>
                  </a:lnTo>
                  <a:lnTo>
                    <a:pt x="113" y="145"/>
                  </a:lnTo>
                  <a:lnTo>
                    <a:pt x="107" y="153"/>
                  </a:lnTo>
                  <a:lnTo>
                    <a:pt x="101" y="160"/>
                  </a:lnTo>
                  <a:lnTo>
                    <a:pt x="92" y="166"/>
                  </a:lnTo>
                  <a:lnTo>
                    <a:pt x="84" y="171"/>
                  </a:lnTo>
                  <a:lnTo>
                    <a:pt x="72" y="173"/>
                  </a:lnTo>
                  <a:lnTo>
                    <a:pt x="61" y="173"/>
                  </a:lnTo>
                  <a:lnTo>
                    <a:pt x="46" y="172"/>
                  </a:lnTo>
                  <a:lnTo>
                    <a:pt x="33" y="169"/>
                  </a:lnTo>
                  <a:lnTo>
                    <a:pt x="29" y="166"/>
                  </a:lnTo>
                  <a:lnTo>
                    <a:pt x="23" y="163"/>
                  </a:lnTo>
                  <a:lnTo>
                    <a:pt x="19" y="159"/>
                  </a:lnTo>
                  <a:lnTo>
                    <a:pt x="15" y="155"/>
                  </a:lnTo>
                  <a:lnTo>
                    <a:pt x="9" y="145"/>
                  </a:lnTo>
                  <a:lnTo>
                    <a:pt x="5" y="133"/>
                  </a:lnTo>
                  <a:lnTo>
                    <a:pt x="2" y="119"/>
                  </a:lnTo>
                  <a:lnTo>
                    <a:pt x="0" y="104"/>
                  </a:lnTo>
                  <a:lnTo>
                    <a:pt x="2" y="89"/>
                  </a:lnTo>
                  <a:lnTo>
                    <a:pt x="5" y="76"/>
                  </a:lnTo>
                  <a:lnTo>
                    <a:pt x="10" y="63"/>
                  </a:lnTo>
                  <a:lnTo>
                    <a:pt x="18" y="53"/>
                  </a:lnTo>
                  <a:lnTo>
                    <a:pt x="26" y="46"/>
                  </a:lnTo>
                  <a:lnTo>
                    <a:pt x="36" y="38"/>
                  </a:lnTo>
                  <a:lnTo>
                    <a:pt x="48" y="36"/>
                  </a:lnTo>
                  <a:lnTo>
                    <a:pt x="61" y="34"/>
                  </a:lnTo>
                  <a:lnTo>
                    <a:pt x="72" y="36"/>
                  </a:lnTo>
                  <a:lnTo>
                    <a:pt x="84" y="37"/>
                  </a:lnTo>
                  <a:lnTo>
                    <a:pt x="92" y="41"/>
                  </a:lnTo>
                  <a:lnTo>
                    <a:pt x="101" y="47"/>
                  </a:lnTo>
                  <a:lnTo>
                    <a:pt x="107" y="54"/>
                  </a:lnTo>
                  <a:lnTo>
                    <a:pt x="113" y="63"/>
                  </a:lnTo>
                  <a:lnTo>
                    <a:pt x="115" y="74"/>
                  </a:lnTo>
                  <a:lnTo>
                    <a:pt x="117" y="87"/>
                  </a:lnTo>
                  <a:lnTo>
                    <a:pt x="81" y="87"/>
                  </a:lnTo>
                  <a:lnTo>
                    <a:pt x="79" y="76"/>
                  </a:lnTo>
                  <a:lnTo>
                    <a:pt x="75" y="67"/>
                  </a:lnTo>
                  <a:lnTo>
                    <a:pt x="74" y="64"/>
                  </a:lnTo>
                  <a:lnTo>
                    <a:pt x="69" y="63"/>
                  </a:lnTo>
                  <a:lnTo>
                    <a:pt x="65" y="61"/>
                  </a:lnTo>
                  <a:lnTo>
                    <a:pt x="61" y="60"/>
                  </a:lnTo>
                  <a:lnTo>
                    <a:pt x="55" y="61"/>
                  </a:lnTo>
                  <a:lnTo>
                    <a:pt x="51" y="64"/>
                  </a:lnTo>
                  <a:lnTo>
                    <a:pt x="46" y="67"/>
                  </a:lnTo>
                  <a:lnTo>
                    <a:pt x="43" y="73"/>
                  </a:lnTo>
                  <a:lnTo>
                    <a:pt x="41" y="80"/>
                  </a:lnTo>
                  <a:lnTo>
                    <a:pt x="39" y="87"/>
                  </a:lnTo>
                  <a:lnTo>
                    <a:pt x="39" y="94"/>
                  </a:lnTo>
                  <a:lnTo>
                    <a:pt x="38" y="104"/>
                  </a:lnTo>
                  <a:lnTo>
                    <a:pt x="39" y="113"/>
                  </a:lnTo>
                  <a:lnTo>
                    <a:pt x="39" y="122"/>
                  </a:lnTo>
                  <a:lnTo>
                    <a:pt x="41" y="129"/>
                  </a:lnTo>
                  <a:lnTo>
                    <a:pt x="43" y="135"/>
                  </a:lnTo>
                  <a:lnTo>
                    <a:pt x="46" y="140"/>
                  </a:lnTo>
                  <a:lnTo>
                    <a:pt x="51" y="143"/>
                  </a:lnTo>
                  <a:lnTo>
                    <a:pt x="55" y="146"/>
                  </a:lnTo>
                  <a:lnTo>
                    <a:pt x="61" y="148"/>
                  </a:lnTo>
                  <a:lnTo>
                    <a:pt x="65" y="146"/>
                  </a:lnTo>
                  <a:lnTo>
                    <a:pt x="69" y="146"/>
                  </a:lnTo>
                  <a:lnTo>
                    <a:pt x="74" y="143"/>
                  </a:lnTo>
                  <a:lnTo>
                    <a:pt x="75" y="140"/>
                  </a:lnTo>
                  <a:lnTo>
                    <a:pt x="79" y="132"/>
                  </a:lnTo>
                  <a:lnTo>
                    <a:pt x="81" y="122"/>
                  </a:lnTo>
                  <a:lnTo>
                    <a:pt x="117" y="122"/>
                  </a:lnTo>
                  <a:close/>
                  <a:moveTo>
                    <a:pt x="77" y="27"/>
                  </a:moveTo>
                  <a:lnTo>
                    <a:pt x="77" y="27"/>
                  </a:lnTo>
                  <a:lnTo>
                    <a:pt x="42" y="27"/>
                  </a:lnTo>
                  <a:lnTo>
                    <a:pt x="13" y="0"/>
                  </a:lnTo>
                  <a:lnTo>
                    <a:pt x="43" y="0"/>
                  </a:lnTo>
                  <a:lnTo>
                    <a:pt x="59" y="10"/>
                  </a:lnTo>
                  <a:lnTo>
                    <a:pt x="75" y="0"/>
                  </a:lnTo>
                  <a:lnTo>
                    <a:pt x="105" y="0"/>
                  </a:lnTo>
                  <a:lnTo>
                    <a:pt x="77" y="2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6" name="Freeform 31">
              <a:extLst>
                <a:ext uri="{FF2B5EF4-FFF2-40B4-BE49-F238E27FC236}">
                  <a16:creationId xmlns:a16="http://schemas.microsoft.com/office/drawing/2014/main" id="{B40120F3-4B08-96B3-F8C8-643C9C473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82375" y="4038600"/>
              <a:ext cx="49213" cy="57150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5 w 95"/>
                <a:gd name="T13" fmla="*/ 105 h 106"/>
                <a:gd name="T14" fmla="*/ 58 w 95"/>
                <a:gd name="T15" fmla="*/ 106 h 106"/>
                <a:gd name="T16" fmla="*/ 48 w 95"/>
                <a:gd name="T17" fmla="*/ 106 h 106"/>
                <a:gd name="T18" fmla="*/ 36 w 95"/>
                <a:gd name="T19" fmla="*/ 106 h 106"/>
                <a:gd name="T20" fmla="*/ 28 w 95"/>
                <a:gd name="T21" fmla="*/ 104 h 106"/>
                <a:gd name="T22" fmla="*/ 19 w 95"/>
                <a:gd name="T23" fmla="*/ 99 h 106"/>
                <a:gd name="T24" fmla="*/ 12 w 95"/>
                <a:gd name="T25" fmla="*/ 92 h 106"/>
                <a:gd name="T26" fmla="*/ 6 w 95"/>
                <a:gd name="T27" fmla="*/ 85 h 106"/>
                <a:gd name="T28" fmla="*/ 3 w 95"/>
                <a:gd name="T29" fmla="*/ 76 h 106"/>
                <a:gd name="T30" fmla="*/ 0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2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3 h 106"/>
                <a:gd name="T54" fmla="*/ 77 w 95"/>
                <a:gd name="T55" fmla="*/ 7 h 106"/>
                <a:gd name="T56" fmla="*/ 84 w 95"/>
                <a:gd name="T57" fmla="*/ 14 h 106"/>
                <a:gd name="T58" fmla="*/ 88 w 95"/>
                <a:gd name="T59" fmla="*/ 22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0 h 106"/>
                <a:gd name="T66" fmla="*/ 33 w 95"/>
                <a:gd name="T67" fmla="*/ 60 h 106"/>
                <a:gd name="T68" fmla="*/ 35 w 95"/>
                <a:gd name="T69" fmla="*/ 72 h 106"/>
                <a:gd name="T70" fmla="*/ 38 w 95"/>
                <a:gd name="T71" fmla="*/ 79 h 106"/>
                <a:gd name="T72" fmla="*/ 39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8 w 95"/>
                <a:gd name="T79" fmla="*/ 85 h 106"/>
                <a:gd name="T80" fmla="*/ 54 w 95"/>
                <a:gd name="T81" fmla="*/ 83 h 106"/>
                <a:gd name="T82" fmla="*/ 56 w 95"/>
                <a:gd name="T83" fmla="*/ 82 h 106"/>
                <a:gd name="T84" fmla="*/ 59 w 95"/>
                <a:gd name="T85" fmla="*/ 78 h 106"/>
                <a:gd name="T86" fmla="*/ 61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2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6"/>
                  </a:lnTo>
                  <a:lnTo>
                    <a:pt x="36" y="106"/>
                  </a:lnTo>
                  <a:lnTo>
                    <a:pt x="28" y="104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2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3"/>
                  </a:lnTo>
                  <a:lnTo>
                    <a:pt x="77" y="7"/>
                  </a:lnTo>
                  <a:lnTo>
                    <a:pt x="84" y="14"/>
                  </a:lnTo>
                  <a:lnTo>
                    <a:pt x="88" y="22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0"/>
                  </a:lnTo>
                  <a:lnTo>
                    <a:pt x="33" y="60"/>
                  </a:lnTo>
                  <a:lnTo>
                    <a:pt x="35" y="72"/>
                  </a:lnTo>
                  <a:lnTo>
                    <a:pt x="38" y="79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4" y="83"/>
                  </a:lnTo>
                  <a:lnTo>
                    <a:pt x="56" y="82"/>
                  </a:lnTo>
                  <a:lnTo>
                    <a:pt x="59" y="78"/>
                  </a:lnTo>
                  <a:lnTo>
                    <a:pt x="61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2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7" name="Freeform 32">
              <a:extLst>
                <a:ext uri="{FF2B5EF4-FFF2-40B4-BE49-F238E27FC236}">
                  <a16:creationId xmlns:a16="http://schemas.microsoft.com/office/drawing/2014/main" id="{43E86E30-0A21-D53E-137F-5A21380D0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525" y="4038600"/>
              <a:ext cx="47625" cy="57150"/>
            </a:xfrm>
            <a:custGeom>
              <a:avLst/>
              <a:gdLst>
                <a:gd name="T0" fmla="*/ 54 w 90"/>
                <a:gd name="T1" fmla="*/ 27 h 106"/>
                <a:gd name="T2" fmla="*/ 48 w 90"/>
                <a:gd name="T3" fmla="*/ 22 h 106"/>
                <a:gd name="T4" fmla="*/ 38 w 90"/>
                <a:gd name="T5" fmla="*/ 22 h 106"/>
                <a:gd name="T6" fmla="*/ 32 w 90"/>
                <a:gd name="T7" fmla="*/ 26 h 106"/>
                <a:gd name="T8" fmla="*/ 32 w 90"/>
                <a:gd name="T9" fmla="*/ 32 h 106"/>
                <a:gd name="T10" fmla="*/ 33 w 90"/>
                <a:gd name="T11" fmla="*/ 36 h 106"/>
                <a:gd name="T12" fmla="*/ 43 w 90"/>
                <a:gd name="T13" fmla="*/ 39 h 106"/>
                <a:gd name="T14" fmla="*/ 67 w 90"/>
                <a:gd name="T15" fmla="*/ 43 h 106"/>
                <a:gd name="T16" fmla="*/ 82 w 90"/>
                <a:gd name="T17" fmla="*/ 52 h 106"/>
                <a:gd name="T18" fmla="*/ 90 w 90"/>
                <a:gd name="T19" fmla="*/ 63 h 106"/>
                <a:gd name="T20" fmla="*/ 90 w 90"/>
                <a:gd name="T21" fmla="*/ 79 h 106"/>
                <a:gd name="T22" fmla="*/ 82 w 90"/>
                <a:gd name="T23" fmla="*/ 92 h 106"/>
                <a:gd name="T24" fmla="*/ 71 w 90"/>
                <a:gd name="T25" fmla="*/ 102 h 106"/>
                <a:gd name="T26" fmla="*/ 55 w 90"/>
                <a:gd name="T27" fmla="*/ 106 h 106"/>
                <a:gd name="T28" fmla="*/ 36 w 90"/>
                <a:gd name="T29" fmla="*/ 106 h 106"/>
                <a:gd name="T30" fmla="*/ 20 w 90"/>
                <a:gd name="T31" fmla="*/ 102 h 106"/>
                <a:gd name="T32" fmla="*/ 9 w 90"/>
                <a:gd name="T33" fmla="*/ 93 h 106"/>
                <a:gd name="T34" fmla="*/ 2 w 90"/>
                <a:gd name="T35" fmla="*/ 81 h 106"/>
                <a:gd name="T36" fmla="*/ 33 w 90"/>
                <a:gd name="T37" fmla="*/ 72 h 106"/>
                <a:gd name="T38" fmla="*/ 38 w 90"/>
                <a:gd name="T39" fmla="*/ 83 h 106"/>
                <a:gd name="T40" fmla="*/ 46 w 90"/>
                <a:gd name="T41" fmla="*/ 86 h 106"/>
                <a:gd name="T42" fmla="*/ 56 w 90"/>
                <a:gd name="T43" fmla="*/ 85 h 106"/>
                <a:gd name="T44" fmla="*/ 59 w 90"/>
                <a:gd name="T45" fmla="*/ 76 h 106"/>
                <a:gd name="T46" fmla="*/ 58 w 90"/>
                <a:gd name="T47" fmla="*/ 72 h 106"/>
                <a:gd name="T48" fmla="*/ 54 w 90"/>
                <a:gd name="T49" fmla="*/ 69 h 106"/>
                <a:gd name="T50" fmla="*/ 38 w 90"/>
                <a:gd name="T51" fmla="*/ 66 h 106"/>
                <a:gd name="T52" fmla="*/ 13 w 90"/>
                <a:gd name="T53" fmla="*/ 58 h 106"/>
                <a:gd name="T54" fmla="*/ 5 w 90"/>
                <a:gd name="T55" fmla="*/ 49 h 106"/>
                <a:gd name="T56" fmla="*/ 2 w 90"/>
                <a:gd name="T57" fmla="*/ 33 h 106"/>
                <a:gd name="T58" fmla="*/ 5 w 90"/>
                <a:gd name="T59" fmla="*/ 19 h 106"/>
                <a:gd name="T60" fmla="*/ 13 w 90"/>
                <a:gd name="T61" fmla="*/ 9 h 106"/>
                <a:gd name="T62" fmla="*/ 26 w 90"/>
                <a:gd name="T63" fmla="*/ 3 h 106"/>
                <a:gd name="T64" fmla="*/ 42 w 90"/>
                <a:gd name="T65" fmla="*/ 0 h 106"/>
                <a:gd name="T66" fmla="*/ 62 w 90"/>
                <a:gd name="T67" fmla="*/ 2 h 106"/>
                <a:gd name="T68" fmla="*/ 75 w 90"/>
                <a:gd name="T69" fmla="*/ 9 h 106"/>
                <a:gd name="T70" fmla="*/ 84 w 90"/>
                <a:gd name="T71" fmla="*/ 19 h 106"/>
                <a:gd name="T72" fmla="*/ 87 w 90"/>
                <a:gd name="T73" fmla="*/ 3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6">
                  <a:moveTo>
                    <a:pt x="55" y="32"/>
                  </a:moveTo>
                  <a:lnTo>
                    <a:pt x="54" y="27"/>
                  </a:lnTo>
                  <a:lnTo>
                    <a:pt x="51" y="23"/>
                  </a:lnTo>
                  <a:lnTo>
                    <a:pt x="48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5" y="23"/>
                  </a:lnTo>
                  <a:lnTo>
                    <a:pt x="32" y="26"/>
                  </a:lnTo>
                  <a:lnTo>
                    <a:pt x="31" y="29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3" y="39"/>
                  </a:lnTo>
                  <a:lnTo>
                    <a:pt x="52" y="40"/>
                  </a:lnTo>
                  <a:lnTo>
                    <a:pt x="67" y="43"/>
                  </a:lnTo>
                  <a:lnTo>
                    <a:pt x="78" y="47"/>
                  </a:lnTo>
                  <a:lnTo>
                    <a:pt x="82" y="52"/>
                  </a:lnTo>
                  <a:lnTo>
                    <a:pt x="87" y="58"/>
                  </a:lnTo>
                  <a:lnTo>
                    <a:pt x="90" y="63"/>
                  </a:lnTo>
                  <a:lnTo>
                    <a:pt x="90" y="72"/>
                  </a:lnTo>
                  <a:lnTo>
                    <a:pt x="90" y="79"/>
                  </a:lnTo>
                  <a:lnTo>
                    <a:pt x="87" y="86"/>
                  </a:lnTo>
                  <a:lnTo>
                    <a:pt x="82" y="92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6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20" y="102"/>
                  </a:lnTo>
                  <a:lnTo>
                    <a:pt x="13" y="98"/>
                  </a:lnTo>
                  <a:lnTo>
                    <a:pt x="9" y="93"/>
                  </a:lnTo>
                  <a:lnTo>
                    <a:pt x="5" y="88"/>
                  </a:lnTo>
                  <a:lnTo>
                    <a:pt x="2" y="81"/>
                  </a:lnTo>
                  <a:lnTo>
                    <a:pt x="0" y="72"/>
                  </a:lnTo>
                  <a:lnTo>
                    <a:pt x="33" y="72"/>
                  </a:lnTo>
                  <a:lnTo>
                    <a:pt x="35" y="79"/>
                  </a:lnTo>
                  <a:lnTo>
                    <a:pt x="38" y="83"/>
                  </a:lnTo>
                  <a:lnTo>
                    <a:pt x="42" y="85"/>
                  </a:lnTo>
                  <a:lnTo>
                    <a:pt x="46" y="86"/>
                  </a:lnTo>
                  <a:lnTo>
                    <a:pt x="52" y="86"/>
                  </a:lnTo>
                  <a:lnTo>
                    <a:pt x="56" y="85"/>
                  </a:lnTo>
                  <a:lnTo>
                    <a:pt x="59" y="82"/>
                  </a:lnTo>
                  <a:lnTo>
                    <a:pt x="59" y="76"/>
                  </a:lnTo>
                  <a:lnTo>
                    <a:pt x="59" y="75"/>
                  </a:lnTo>
                  <a:lnTo>
                    <a:pt x="58" y="72"/>
                  </a:lnTo>
                  <a:lnTo>
                    <a:pt x="56" y="70"/>
                  </a:lnTo>
                  <a:lnTo>
                    <a:pt x="54" y="69"/>
                  </a:lnTo>
                  <a:lnTo>
                    <a:pt x="46" y="68"/>
                  </a:lnTo>
                  <a:lnTo>
                    <a:pt x="38" y="66"/>
                  </a:lnTo>
                  <a:lnTo>
                    <a:pt x="25" y="63"/>
                  </a:lnTo>
                  <a:lnTo>
                    <a:pt x="13" y="58"/>
                  </a:lnTo>
                  <a:lnTo>
                    <a:pt x="7" y="53"/>
                  </a:lnTo>
                  <a:lnTo>
                    <a:pt x="5" y="49"/>
                  </a:lnTo>
                  <a:lnTo>
                    <a:pt x="2" y="42"/>
                  </a:lnTo>
                  <a:lnTo>
                    <a:pt x="2" y="33"/>
                  </a:lnTo>
                  <a:lnTo>
                    <a:pt x="2" y="26"/>
                  </a:lnTo>
                  <a:lnTo>
                    <a:pt x="5" y="19"/>
                  </a:lnTo>
                  <a:lnTo>
                    <a:pt x="9" y="13"/>
                  </a:lnTo>
                  <a:lnTo>
                    <a:pt x="13" y="9"/>
                  </a:lnTo>
                  <a:lnTo>
                    <a:pt x="19" y="4"/>
                  </a:lnTo>
                  <a:lnTo>
                    <a:pt x="26" y="3"/>
                  </a:lnTo>
                  <a:lnTo>
                    <a:pt x="35" y="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2" y="2"/>
                  </a:lnTo>
                  <a:lnTo>
                    <a:pt x="69" y="4"/>
                  </a:lnTo>
                  <a:lnTo>
                    <a:pt x="75" y="9"/>
                  </a:lnTo>
                  <a:lnTo>
                    <a:pt x="81" y="13"/>
                  </a:lnTo>
                  <a:lnTo>
                    <a:pt x="84" y="19"/>
                  </a:lnTo>
                  <a:lnTo>
                    <a:pt x="87" y="25"/>
                  </a:lnTo>
                  <a:lnTo>
                    <a:pt x="87" y="32"/>
                  </a:lnTo>
                  <a:lnTo>
                    <a:pt x="55" y="3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8" name="Freeform 33">
              <a:extLst>
                <a:ext uri="{FF2B5EF4-FFF2-40B4-BE49-F238E27FC236}">
                  <a16:creationId xmlns:a16="http://schemas.microsoft.com/office/drawing/2014/main" id="{68722D6A-4945-F661-E9EF-59BAD5C74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017963"/>
              <a:ext cx="50800" cy="76200"/>
            </a:xfrm>
            <a:custGeom>
              <a:avLst/>
              <a:gdLst>
                <a:gd name="T0" fmla="*/ 0 w 98"/>
                <a:gd name="T1" fmla="*/ 143 h 143"/>
                <a:gd name="T2" fmla="*/ 0 w 98"/>
                <a:gd name="T3" fmla="*/ 0 h 143"/>
                <a:gd name="T4" fmla="*/ 35 w 98"/>
                <a:gd name="T5" fmla="*/ 0 h 143"/>
                <a:gd name="T6" fmla="*/ 35 w 98"/>
                <a:gd name="T7" fmla="*/ 85 h 143"/>
                <a:gd name="T8" fmla="*/ 64 w 98"/>
                <a:gd name="T9" fmla="*/ 42 h 143"/>
                <a:gd name="T10" fmla="*/ 97 w 98"/>
                <a:gd name="T11" fmla="*/ 42 h 143"/>
                <a:gd name="T12" fmla="*/ 65 w 98"/>
                <a:gd name="T13" fmla="*/ 85 h 143"/>
                <a:gd name="T14" fmla="*/ 98 w 98"/>
                <a:gd name="T15" fmla="*/ 143 h 143"/>
                <a:gd name="T16" fmla="*/ 59 w 98"/>
                <a:gd name="T17" fmla="*/ 143 h 143"/>
                <a:gd name="T18" fmla="*/ 35 w 98"/>
                <a:gd name="T19" fmla="*/ 97 h 143"/>
                <a:gd name="T20" fmla="*/ 35 w 98"/>
                <a:gd name="T21" fmla="*/ 143 h 143"/>
                <a:gd name="T22" fmla="*/ 0 w 98"/>
                <a:gd name="T2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43">
                  <a:moveTo>
                    <a:pt x="0" y="143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35" y="85"/>
                  </a:lnTo>
                  <a:lnTo>
                    <a:pt x="64" y="42"/>
                  </a:lnTo>
                  <a:lnTo>
                    <a:pt x="97" y="42"/>
                  </a:lnTo>
                  <a:lnTo>
                    <a:pt x="65" y="85"/>
                  </a:lnTo>
                  <a:lnTo>
                    <a:pt x="98" y="143"/>
                  </a:lnTo>
                  <a:lnTo>
                    <a:pt x="59" y="143"/>
                  </a:lnTo>
                  <a:lnTo>
                    <a:pt x="35" y="97"/>
                  </a:lnTo>
                  <a:lnTo>
                    <a:pt x="35" y="143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9" name="Freeform 34">
              <a:extLst>
                <a:ext uri="{FF2B5EF4-FFF2-40B4-BE49-F238E27FC236}">
                  <a16:creationId xmlns:a16="http://schemas.microsoft.com/office/drawing/2014/main" id="{FC7F992F-BC20-D979-3CE0-30F57C50AC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2238" y="4017963"/>
              <a:ext cx="50800" cy="77788"/>
            </a:xfrm>
            <a:custGeom>
              <a:avLst/>
              <a:gdLst>
                <a:gd name="T0" fmla="*/ 60 w 95"/>
                <a:gd name="T1" fmla="*/ 135 h 146"/>
                <a:gd name="T2" fmla="*/ 46 w 95"/>
                <a:gd name="T3" fmla="*/ 144 h 146"/>
                <a:gd name="T4" fmla="*/ 30 w 95"/>
                <a:gd name="T5" fmla="*/ 146 h 146"/>
                <a:gd name="T6" fmla="*/ 17 w 95"/>
                <a:gd name="T7" fmla="*/ 145 h 146"/>
                <a:gd name="T8" fmla="*/ 7 w 95"/>
                <a:gd name="T9" fmla="*/ 139 h 146"/>
                <a:gd name="T10" fmla="*/ 3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1 w 95"/>
                <a:gd name="T17" fmla="*/ 95 h 146"/>
                <a:gd name="T18" fmla="*/ 27 w 95"/>
                <a:gd name="T19" fmla="*/ 89 h 146"/>
                <a:gd name="T20" fmla="*/ 49 w 95"/>
                <a:gd name="T21" fmla="*/ 86 h 146"/>
                <a:gd name="T22" fmla="*/ 60 w 95"/>
                <a:gd name="T23" fmla="*/ 86 h 146"/>
                <a:gd name="T24" fmla="*/ 60 w 95"/>
                <a:gd name="T25" fmla="*/ 70 h 146"/>
                <a:gd name="T26" fmla="*/ 53 w 95"/>
                <a:gd name="T27" fmla="*/ 63 h 146"/>
                <a:gd name="T28" fmla="*/ 43 w 95"/>
                <a:gd name="T29" fmla="*/ 63 h 146"/>
                <a:gd name="T30" fmla="*/ 36 w 95"/>
                <a:gd name="T31" fmla="*/ 70 h 146"/>
                <a:gd name="T32" fmla="*/ 3 w 95"/>
                <a:gd name="T33" fmla="*/ 77 h 146"/>
                <a:gd name="T34" fmla="*/ 7 w 95"/>
                <a:gd name="T35" fmla="*/ 60 h 146"/>
                <a:gd name="T36" fmla="*/ 16 w 95"/>
                <a:gd name="T37" fmla="*/ 49 h 146"/>
                <a:gd name="T38" fmla="*/ 30 w 95"/>
                <a:gd name="T39" fmla="*/ 43 h 146"/>
                <a:gd name="T40" fmla="*/ 49 w 95"/>
                <a:gd name="T41" fmla="*/ 40 h 146"/>
                <a:gd name="T42" fmla="*/ 63 w 95"/>
                <a:gd name="T43" fmla="*/ 42 h 146"/>
                <a:gd name="T44" fmla="*/ 79 w 95"/>
                <a:gd name="T45" fmla="*/ 46 h 146"/>
                <a:gd name="T46" fmla="*/ 91 w 95"/>
                <a:gd name="T47" fmla="*/ 56 h 146"/>
                <a:gd name="T48" fmla="*/ 95 w 95"/>
                <a:gd name="T49" fmla="*/ 73 h 146"/>
                <a:gd name="T50" fmla="*/ 60 w 95"/>
                <a:gd name="T51" fmla="*/ 144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0 w 95"/>
                <a:gd name="T59" fmla="*/ 103 h 146"/>
                <a:gd name="T60" fmla="*/ 50 w 95"/>
                <a:gd name="T61" fmla="*/ 103 h 146"/>
                <a:gd name="T62" fmla="*/ 40 w 95"/>
                <a:gd name="T63" fmla="*/ 105 h 146"/>
                <a:gd name="T64" fmla="*/ 36 w 95"/>
                <a:gd name="T65" fmla="*/ 109 h 146"/>
                <a:gd name="T66" fmla="*/ 34 w 95"/>
                <a:gd name="T67" fmla="*/ 115 h 146"/>
                <a:gd name="T68" fmla="*/ 37 w 95"/>
                <a:gd name="T69" fmla="*/ 122 h 146"/>
                <a:gd name="T70" fmla="*/ 46 w 95"/>
                <a:gd name="T71" fmla="*/ 123 h 146"/>
                <a:gd name="T72" fmla="*/ 60 w 95"/>
                <a:gd name="T73" fmla="*/ 11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0" y="144"/>
                  </a:moveTo>
                  <a:lnTo>
                    <a:pt x="60" y="135"/>
                  </a:lnTo>
                  <a:lnTo>
                    <a:pt x="53" y="141"/>
                  </a:lnTo>
                  <a:lnTo>
                    <a:pt x="46" y="144"/>
                  </a:lnTo>
                  <a:lnTo>
                    <a:pt x="39" y="146"/>
                  </a:lnTo>
                  <a:lnTo>
                    <a:pt x="30" y="146"/>
                  </a:lnTo>
                  <a:lnTo>
                    <a:pt x="23" y="146"/>
                  </a:lnTo>
                  <a:lnTo>
                    <a:pt x="17" y="145"/>
                  </a:lnTo>
                  <a:lnTo>
                    <a:pt x="11" y="142"/>
                  </a:lnTo>
                  <a:lnTo>
                    <a:pt x="7" y="139"/>
                  </a:lnTo>
                  <a:lnTo>
                    <a:pt x="4" y="135"/>
                  </a:lnTo>
                  <a:lnTo>
                    <a:pt x="3" y="131"/>
                  </a:lnTo>
                  <a:lnTo>
                    <a:pt x="1" y="125"/>
                  </a:lnTo>
                  <a:lnTo>
                    <a:pt x="0" y="119"/>
                  </a:lnTo>
                  <a:lnTo>
                    <a:pt x="1" y="112"/>
                  </a:lnTo>
                  <a:lnTo>
                    <a:pt x="3" y="106"/>
                  </a:lnTo>
                  <a:lnTo>
                    <a:pt x="7" y="100"/>
                  </a:lnTo>
                  <a:lnTo>
                    <a:pt x="11" y="95"/>
                  </a:lnTo>
                  <a:lnTo>
                    <a:pt x="19" y="92"/>
                  </a:lnTo>
                  <a:lnTo>
                    <a:pt x="27" y="89"/>
                  </a:lnTo>
                  <a:lnTo>
                    <a:pt x="37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0" y="86"/>
                  </a:lnTo>
                  <a:lnTo>
                    <a:pt x="60" y="77"/>
                  </a:lnTo>
                  <a:lnTo>
                    <a:pt x="60" y="70"/>
                  </a:lnTo>
                  <a:lnTo>
                    <a:pt x="57" y="66"/>
                  </a:lnTo>
                  <a:lnTo>
                    <a:pt x="53" y="63"/>
                  </a:lnTo>
                  <a:lnTo>
                    <a:pt x="49" y="62"/>
                  </a:lnTo>
                  <a:lnTo>
                    <a:pt x="43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4" y="77"/>
                  </a:lnTo>
                  <a:lnTo>
                    <a:pt x="3" y="77"/>
                  </a:lnTo>
                  <a:lnTo>
                    <a:pt x="4" y="69"/>
                  </a:lnTo>
                  <a:lnTo>
                    <a:pt x="7" y="60"/>
                  </a:lnTo>
                  <a:lnTo>
                    <a:pt x="11" y="54"/>
                  </a:lnTo>
                  <a:lnTo>
                    <a:pt x="16" y="49"/>
                  </a:lnTo>
                  <a:lnTo>
                    <a:pt x="23" y="44"/>
                  </a:lnTo>
                  <a:lnTo>
                    <a:pt x="30" y="43"/>
                  </a:lnTo>
                  <a:lnTo>
                    <a:pt x="39" y="40"/>
                  </a:lnTo>
                  <a:lnTo>
                    <a:pt x="49" y="40"/>
                  </a:lnTo>
                  <a:lnTo>
                    <a:pt x="56" y="40"/>
                  </a:lnTo>
                  <a:lnTo>
                    <a:pt x="63" y="42"/>
                  </a:lnTo>
                  <a:lnTo>
                    <a:pt x="72" y="43"/>
                  </a:lnTo>
                  <a:lnTo>
                    <a:pt x="79" y="46"/>
                  </a:lnTo>
                  <a:lnTo>
                    <a:pt x="85" y="50"/>
                  </a:lnTo>
                  <a:lnTo>
                    <a:pt x="91" y="56"/>
                  </a:lnTo>
                  <a:lnTo>
                    <a:pt x="93" y="65"/>
                  </a:lnTo>
                  <a:lnTo>
                    <a:pt x="95" y="73"/>
                  </a:lnTo>
                  <a:lnTo>
                    <a:pt x="95" y="144"/>
                  </a:lnTo>
                  <a:lnTo>
                    <a:pt x="60" y="144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6" y="0"/>
                  </a:lnTo>
                  <a:lnTo>
                    <a:pt x="85" y="0"/>
                  </a:lnTo>
                  <a:lnTo>
                    <a:pt x="53" y="31"/>
                  </a:lnTo>
                  <a:lnTo>
                    <a:pt x="26" y="31"/>
                  </a:lnTo>
                  <a:close/>
                  <a:moveTo>
                    <a:pt x="60" y="103"/>
                  </a:moveTo>
                  <a:lnTo>
                    <a:pt x="60" y="103"/>
                  </a:lnTo>
                  <a:lnTo>
                    <a:pt x="56" y="103"/>
                  </a:lnTo>
                  <a:lnTo>
                    <a:pt x="50" y="103"/>
                  </a:lnTo>
                  <a:lnTo>
                    <a:pt x="44" y="103"/>
                  </a:lnTo>
                  <a:lnTo>
                    <a:pt x="40" y="105"/>
                  </a:lnTo>
                  <a:lnTo>
                    <a:pt x="37" y="106"/>
                  </a:lnTo>
                  <a:lnTo>
                    <a:pt x="36" y="109"/>
                  </a:lnTo>
                  <a:lnTo>
                    <a:pt x="34" y="110"/>
                  </a:lnTo>
                  <a:lnTo>
                    <a:pt x="34" y="115"/>
                  </a:lnTo>
                  <a:lnTo>
                    <a:pt x="34" y="119"/>
                  </a:lnTo>
                  <a:lnTo>
                    <a:pt x="37" y="122"/>
                  </a:lnTo>
                  <a:lnTo>
                    <a:pt x="42" y="123"/>
                  </a:lnTo>
                  <a:lnTo>
                    <a:pt x="46" y="123"/>
                  </a:lnTo>
                  <a:lnTo>
                    <a:pt x="53" y="122"/>
                  </a:lnTo>
                  <a:lnTo>
                    <a:pt x="60" y="118"/>
                  </a:lnTo>
                  <a:lnTo>
                    <a:pt x="6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0" name="Freeform 35">
              <a:extLst>
                <a:ext uri="{FF2B5EF4-FFF2-40B4-BE49-F238E27FC236}">
                  <a16:creationId xmlns:a16="http://schemas.microsoft.com/office/drawing/2014/main" id="{B6C383B2-2B01-1A7E-F2FA-E673E8BD9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5700" y="4119563"/>
              <a:ext cx="52388" cy="74613"/>
            </a:xfrm>
            <a:custGeom>
              <a:avLst/>
              <a:gdLst>
                <a:gd name="T0" fmla="*/ 0 w 99"/>
                <a:gd name="T1" fmla="*/ 142 h 142"/>
                <a:gd name="T2" fmla="*/ 0 w 99"/>
                <a:gd name="T3" fmla="*/ 0 h 142"/>
                <a:gd name="T4" fmla="*/ 34 w 99"/>
                <a:gd name="T5" fmla="*/ 0 h 142"/>
                <a:gd name="T6" fmla="*/ 34 w 99"/>
                <a:gd name="T7" fmla="*/ 85 h 142"/>
                <a:gd name="T8" fmla="*/ 63 w 99"/>
                <a:gd name="T9" fmla="*/ 42 h 142"/>
                <a:gd name="T10" fmla="*/ 96 w 99"/>
                <a:gd name="T11" fmla="*/ 42 h 142"/>
                <a:gd name="T12" fmla="*/ 64 w 99"/>
                <a:gd name="T13" fmla="*/ 86 h 142"/>
                <a:gd name="T14" fmla="*/ 99 w 99"/>
                <a:gd name="T15" fmla="*/ 142 h 142"/>
                <a:gd name="T16" fmla="*/ 60 w 99"/>
                <a:gd name="T17" fmla="*/ 142 h 142"/>
                <a:gd name="T18" fmla="*/ 34 w 99"/>
                <a:gd name="T19" fmla="*/ 98 h 142"/>
                <a:gd name="T20" fmla="*/ 34 w 99"/>
                <a:gd name="T21" fmla="*/ 142 h 142"/>
                <a:gd name="T22" fmla="*/ 0 w 9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42">
                  <a:moveTo>
                    <a:pt x="0" y="142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34" y="85"/>
                  </a:lnTo>
                  <a:lnTo>
                    <a:pt x="63" y="42"/>
                  </a:lnTo>
                  <a:lnTo>
                    <a:pt x="96" y="42"/>
                  </a:lnTo>
                  <a:lnTo>
                    <a:pt x="64" y="86"/>
                  </a:lnTo>
                  <a:lnTo>
                    <a:pt x="99" y="142"/>
                  </a:lnTo>
                  <a:lnTo>
                    <a:pt x="60" y="142"/>
                  </a:lnTo>
                  <a:lnTo>
                    <a:pt x="34" y="98"/>
                  </a:lnTo>
                  <a:lnTo>
                    <a:pt x="34" y="14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2" name="Freeform 36">
              <a:extLst>
                <a:ext uri="{FF2B5EF4-FFF2-40B4-BE49-F238E27FC236}">
                  <a16:creationId xmlns:a16="http://schemas.microsoft.com/office/drawing/2014/main" id="{CC3F183E-6B61-E44A-DBDC-8BBFADA71E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2850" y="4140200"/>
              <a:ext cx="49213" cy="55563"/>
            </a:xfrm>
            <a:custGeom>
              <a:avLst/>
              <a:gdLst>
                <a:gd name="T0" fmla="*/ 59 w 93"/>
                <a:gd name="T1" fmla="*/ 95 h 106"/>
                <a:gd name="T2" fmla="*/ 44 w 93"/>
                <a:gd name="T3" fmla="*/ 103 h 106"/>
                <a:gd name="T4" fmla="*/ 30 w 93"/>
                <a:gd name="T5" fmla="*/ 106 h 106"/>
                <a:gd name="T6" fmla="*/ 15 w 93"/>
                <a:gd name="T7" fmla="*/ 105 h 106"/>
                <a:gd name="T8" fmla="*/ 7 w 93"/>
                <a:gd name="T9" fmla="*/ 99 h 106"/>
                <a:gd name="T10" fmla="*/ 1 w 93"/>
                <a:gd name="T11" fmla="*/ 91 h 106"/>
                <a:gd name="T12" fmla="*/ 0 w 93"/>
                <a:gd name="T13" fmla="*/ 79 h 106"/>
                <a:gd name="T14" fmla="*/ 1 w 93"/>
                <a:gd name="T15" fmla="*/ 66 h 106"/>
                <a:gd name="T16" fmla="*/ 10 w 93"/>
                <a:gd name="T17" fmla="*/ 56 h 106"/>
                <a:gd name="T18" fmla="*/ 25 w 93"/>
                <a:gd name="T19" fmla="*/ 49 h 106"/>
                <a:gd name="T20" fmla="*/ 47 w 93"/>
                <a:gd name="T21" fmla="*/ 46 h 106"/>
                <a:gd name="T22" fmla="*/ 59 w 93"/>
                <a:gd name="T23" fmla="*/ 46 h 106"/>
                <a:gd name="T24" fmla="*/ 59 w 93"/>
                <a:gd name="T25" fmla="*/ 30 h 106"/>
                <a:gd name="T26" fmla="*/ 53 w 93"/>
                <a:gd name="T27" fmla="*/ 23 h 106"/>
                <a:gd name="T28" fmla="*/ 41 w 93"/>
                <a:gd name="T29" fmla="*/ 23 h 106"/>
                <a:gd name="T30" fmla="*/ 34 w 93"/>
                <a:gd name="T31" fmla="*/ 30 h 106"/>
                <a:gd name="T32" fmla="*/ 1 w 93"/>
                <a:gd name="T33" fmla="*/ 37 h 106"/>
                <a:gd name="T34" fmla="*/ 5 w 93"/>
                <a:gd name="T35" fmla="*/ 20 h 106"/>
                <a:gd name="T36" fmla="*/ 15 w 93"/>
                <a:gd name="T37" fmla="*/ 9 h 106"/>
                <a:gd name="T38" fmla="*/ 30 w 93"/>
                <a:gd name="T39" fmla="*/ 3 h 106"/>
                <a:gd name="T40" fmla="*/ 47 w 93"/>
                <a:gd name="T41" fmla="*/ 0 h 106"/>
                <a:gd name="T42" fmla="*/ 63 w 93"/>
                <a:gd name="T43" fmla="*/ 2 h 106"/>
                <a:gd name="T44" fmla="*/ 77 w 93"/>
                <a:gd name="T45" fmla="*/ 7 h 106"/>
                <a:gd name="T46" fmla="*/ 89 w 93"/>
                <a:gd name="T47" fmla="*/ 17 h 106"/>
                <a:gd name="T48" fmla="*/ 93 w 93"/>
                <a:gd name="T49" fmla="*/ 33 h 106"/>
                <a:gd name="T50" fmla="*/ 59 w 93"/>
                <a:gd name="T51" fmla="*/ 103 h 106"/>
                <a:gd name="T52" fmla="*/ 59 w 93"/>
                <a:gd name="T53" fmla="*/ 63 h 106"/>
                <a:gd name="T54" fmla="*/ 50 w 93"/>
                <a:gd name="T55" fmla="*/ 63 h 106"/>
                <a:gd name="T56" fmla="*/ 38 w 93"/>
                <a:gd name="T57" fmla="*/ 65 h 106"/>
                <a:gd name="T58" fmla="*/ 34 w 93"/>
                <a:gd name="T59" fmla="*/ 69 h 106"/>
                <a:gd name="T60" fmla="*/ 33 w 93"/>
                <a:gd name="T61" fmla="*/ 75 h 106"/>
                <a:gd name="T62" fmla="*/ 37 w 93"/>
                <a:gd name="T63" fmla="*/ 82 h 106"/>
                <a:gd name="T64" fmla="*/ 44 w 93"/>
                <a:gd name="T65" fmla="*/ 85 h 106"/>
                <a:gd name="T66" fmla="*/ 59 w 93"/>
                <a:gd name="T67" fmla="*/ 7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3" h="106">
                  <a:moveTo>
                    <a:pt x="59" y="103"/>
                  </a:moveTo>
                  <a:lnTo>
                    <a:pt x="59" y="95"/>
                  </a:lnTo>
                  <a:lnTo>
                    <a:pt x="53" y="101"/>
                  </a:lnTo>
                  <a:lnTo>
                    <a:pt x="44" y="103"/>
                  </a:lnTo>
                  <a:lnTo>
                    <a:pt x="37" y="106"/>
                  </a:lnTo>
                  <a:lnTo>
                    <a:pt x="30" y="106"/>
                  </a:lnTo>
                  <a:lnTo>
                    <a:pt x="23" y="106"/>
                  </a:lnTo>
                  <a:lnTo>
                    <a:pt x="15" y="105"/>
                  </a:lnTo>
                  <a:lnTo>
                    <a:pt x="11" y="102"/>
                  </a:lnTo>
                  <a:lnTo>
                    <a:pt x="7" y="99"/>
                  </a:lnTo>
                  <a:lnTo>
                    <a:pt x="2" y="95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1" y="66"/>
                  </a:lnTo>
                  <a:lnTo>
                    <a:pt x="5" y="60"/>
                  </a:lnTo>
                  <a:lnTo>
                    <a:pt x="10" y="56"/>
                  </a:lnTo>
                  <a:lnTo>
                    <a:pt x="17" y="52"/>
                  </a:lnTo>
                  <a:lnTo>
                    <a:pt x="25" y="49"/>
                  </a:lnTo>
                  <a:lnTo>
                    <a:pt x="36" y="46"/>
                  </a:lnTo>
                  <a:lnTo>
                    <a:pt x="47" y="46"/>
                  </a:lnTo>
                  <a:lnTo>
                    <a:pt x="53" y="46"/>
                  </a:lnTo>
                  <a:lnTo>
                    <a:pt x="59" y="46"/>
                  </a:lnTo>
                  <a:lnTo>
                    <a:pt x="59" y="37"/>
                  </a:lnTo>
                  <a:lnTo>
                    <a:pt x="59" y="30"/>
                  </a:lnTo>
                  <a:lnTo>
                    <a:pt x="56" y="26"/>
                  </a:lnTo>
                  <a:lnTo>
                    <a:pt x="53" y="23"/>
                  </a:lnTo>
                  <a:lnTo>
                    <a:pt x="47" y="23"/>
                  </a:lnTo>
                  <a:lnTo>
                    <a:pt x="41" y="23"/>
                  </a:lnTo>
                  <a:lnTo>
                    <a:pt x="37" y="26"/>
                  </a:lnTo>
                  <a:lnTo>
                    <a:pt x="34" y="30"/>
                  </a:lnTo>
                  <a:lnTo>
                    <a:pt x="34" y="37"/>
                  </a:lnTo>
                  <a:lnTo>
                    <a:pt x="1" y="37"/>
                  </a:lnTo>
                  <a:lnTo>
                    <a:pt x="2" y="29"/>
                  </a:lnTo>
                  <a:lnTo>
                    <a:pt x="5" y="20"/>
                  </a:lnTo>
                  <a:lnTo>
                    <a:pt x="10" y="14"/>
                  </a:lnTo>
                  <a:lnTo>
                    <a:pt x="15" y="9"/>
                  </a:lnTo>
                  <a:lnTo>
                    <a:pt x="21" y="6"/>
                  </a:lnTo>
                  <a:lnTo>
                    <a:pt x="30" y="3"/>
                  </a:lnTo>
                  <a:lnTo>
                    <a:pt x="37" y="2"/>
                  </a:lnTo>
                  <a:lnTo>
                    <a:pt x="47" y="0"/>
                  </a:lnTo>
                  <a:lnTo>
                    <a:pt x="54" y="2"/>
                  </a:lnTo>
                  <a:lnTo>
                    <a:pt x="63" y="2"/>
                  </a:lnTo>
                  <a:lnTo>
                    <a:pt x="70" y="4"/>
                  </a:lnTo>
                  <a:lnTo>
                    <a:pt x="77" y="7"/>
                  </a:lnTo>
                  <a:lnTo>
                    <a:pt x="85" y="12"/>
                  </a:lnTo>
                  <a:lnTo>
                    <a:pt x="89" y="17"/>
                  </a:lnTo>
                  <a:lnTo>
                    <a:pt x="92" y="25"/>
                  </a:lnTo>
                  <a:lnTo>
                    <a:pt x="93" y="33"/>
                  </a:lnTo>
                  <a:lnTo>
                    <a:pt x="93" y="103"/>
                  </a:lnTo>
                  <a:lnTo>
                    <a:pt x="59" y="103"/>
                  </a:lnTo>
                  <a:close/>
                  <a:moveTo>
                    <a:pt x="59" y="63"/>
                  </a:moveTo>
                  <a:lnTo>
                    <a:pt x="59" y="63"/>
                  </a:lnTo>
                  <a:lnTo>
                    <a:pt x="54" y="63"/>
                  </a:lnTo>
                  <a:lnTo>
                    <a:pt x="50" y="63"/>
                  </a:lnTo>
                  <a:lnTo>
                    <a:pt x="44" y="63"/>
                  </a:lnTo>
                  <a:lnTo>
                    <a:pt x="38" y="65"/>
                  </a:lnTo>
                  <a:lnTo>
                    <a:pt x="36" y="68"/>
                  </a:lnTo>
                  <a:lnTo>
                    <a:pt x="34" y="69"/>
                  </a:lnTo>
                  <a:lnTo>
                    <a:pt x="33" y="72"/>
                  </a:lnTo>
                  <a:lnTo>
                    <a:pt x="33" y="75"/>
                  </a:lnTo>
                  <a:lnTo>
                    <a:pt x="34" y="79"/>
                  </a:lnTo>
                  <a:lnTo>
                    <a:pt x="37" y="82"/>
                  </a:lnTo>
                  <a:lnTo>
                    <a:pt x="40" y="83"/>
                  </a:lnTo>
                  <a:lnTo>
                    <a:pt x="44" y="85"/>
                  </a:lnTo>
                  <a:lnTo>
                    <a:pt x="51" y="83"/>
                  </a:lnTo>
                  <a:lnTo>
                    <a:pt x="59" y="79"/>
                  </a:lnTo>
                  <a:lnTo>
                    <a:pt x="59" y="6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3" name="Freeform 37">
              <a:extLst>
                <a:ext uri="{FF2B5EF4-FFF2-40B4-BE49-F238E27FC236}">
                  <a16:creationId xmlns:a16="http://schemas.microsoft.com/office/drawing/2014/main" id="{505F472A-5D5D-B6DC-3598-776C6E47E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3175" y="4140200"/>
              <a:ext cx="52388" cy="53975"/>
            </a:xfrm>
            <a:custGeom>
              <a:avLst/>
              <a:gdLst>
                <a:gd name="T0" fmla="*/ 0 w 98"/>
                <a:gd name="T1" fmla="*/ 103 h 103"/>
                <a:gd name="T2" fmla="*/ 0 w 98"/>
                <a:gd name="T3" fmla="*/ 3 h 103"/>
                <a:gd name="T4" fmla="*/ 35 w 98"/>
                <a:gd name="T5" fmla="*/ 3 h 103"/>
                <a:gd name="T6" fmla="*/ 35 w 98"/>
                <a:gd name="T7" fmla="*/ 17 h 103"/>
                <a:gd name="T8" fmla="*/ 43 w 98"/>
                <a:gd name="T9" fmla="*/ 10 h 103"/>
                <a:gd name="T10" fmla="*/ 52 w 98"/>
                <a:gd name="T11" fmla="*/ 4 h 103"/>
                <a:gd name="T12" fmla="*/ 61 w 98"/>
                <a:gd name="T13" fmla="*/ 2 h 103"/>
                <a:gd name="T14" fmla="*/ 71 w 98"/>
                <a:gd name="T15" fmla="*/ 0 h 103"/>
                <a:gd name="T16" fmla="*/ 75 w 98"/>
                <a:gd name="T17" fmla="*/ 2 h 103"/>
                <a:gd name="T18" fmla="*/ 81 w 98"/>
                <a:gd name="T19" fmla="*/ 2 h 103"/>
                <a:gd name="T20" fmla="*/ 85 w 98"/>
                <a:gd name="T21" fmla="*/ 4 h 103"/>
                <a:gd name="T22" fmla="*/ 89 w 98"/>
                <a:gd name="T23" fmla="*/ 7 h 103"/>
                <a:gd name="T24" fmla="*/ 94 w 98"/>
                <a:gd name="T25" fmla="*/ 12 h 103"/>
                <a:gd name="T26" fmla="*/ 95 w 98"/>
                <a:gd name="T27" fmla="*/ 17 h 103"/>
                <a:gd name="T28" fmla="*/ 98 w 98"/>
                <a:gd name="T29" fmla="*/ 25 h 103"/>
                <a:gd name="T30" fmla="*/ 98 w 98"/>
                <a:gd name="T31" fmla="*/ 35 h 103"/>
                <a:gd name="T32" fmla="*/ 98 w 98"/>
                <a:gd name="T33" fmla="*/ 103 h 103"/>
                <a:gd name="T34" fmla="*/ 64 w 98"/>
                <a:gd name="T35" fmla="*/ 103 h 103"/>
                <a:gd name="T36" fmla="*/ 64 w 98"/>
                <a:gd name="T37" fmla="*/ 40 h 103"/>
                <a:gd name="T38" fmla="*/ 64 w 98"/>
                <a:gd name="T39" fmla="*/ 35 h 103"/>
                <a:gd name="T40" fmla="*/ 61 w 98"/>
                <a:gd name="T41" fmla="*/ 30 h 103"/>
                <a:gd name="T42" fmla="*/ 56 w 98"/>
                <a:gd name="T43" fmla="*/ 29 h 103"/>
                <a:gd name="T44" fmla="*/ 51 w 98"/>
                <a:gd name="T45" fmla="*/ 27 h 103"/>
                <a:gd name="T46" fmla="*/ 43 w 98"/>
                <a:gd name="T47" fmla="*/ 29 h 103"/>
                <a:gd name="T48" fmla="*/ 35 w 98"/>
                <a:gd name="T49" fmla="*/ 35 h 103"/>
                <a:gd name="T50" fmla="*/ 35 w 98"/>
                <a:gd name="T51" fmla="*/ 103 h 103"/>
                <a:gd name="T52" fmla="*/ 0 w 98"/>
                <a:gd name="T5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" h="103">
                  <a:moveTo>
                    <a:pt x="0" y="103"/>
                  </a:moveTo>
                  <a:lnTo>
                    <a:pt x="0" y="3"/>
                  </a:lnTo>
                  <a:lnTo>
                    <a:pt x="35" y="3"/>
                  </a:lnTo>
                  <a:lnTo>
                    <a:pt x="35" y="17"/>
                  </a:lnTo>
                  <a:lnTo>
                    <a:pt x="43" y="10"/>
                  </a:lnTo>
                  <a:lnTo>
                    <a:pt x="52" y="4"/>
                  </a:lnTo>
                  <a:lnTo>
                    <a:pt x="61" y="2"/>
                  </a:lnTo>
                  <a:lnTo>
                    <a:pt x="71" y="0"/>
                  </a:lnTo>
                  <a:lnTo>
                    <a:pt x="75" y="2"/>
                  </a:lnTo>
                  <a:lnTo>
                    <a:pt x="81" y="2"/>
                  </a:lnTo>
                  <a:lnTo>
                    <a:pt x="85" y="4"/>
                  </a:lnTo>
                  <a:lnTo>
                    <a:pt x="89" y="7"/>
                  </a:lnTo>
                  <a:lnTo>
                    <a:pt x="94" y="12"/>
                  </a:lnTo>
                  <a:lnTo>
                    <a:pt x="95" y="17"/>
                  </a:lnTo>
                  <a:lnTo>
                    <a:pt x="98" y="25"/>
                  </a:lnTo>
                  <a:lnTo>
                    <a:pt x="98" y="35"/>
                  </a:lnTo>
                  <a:lnTo>
                    <a:pt x="98" y="103"/>
                  </a:lnTo>
                  <a:lnTo>
                    <a:pt x="64" y="103"/>
                  </a:lnTo>
                  <a:lnTo>
                    <a:pt x="64" y="40"/>
                  </a:lnTo>
                  <a:lnTo>
                    <a:pt x="64" y="35"/>
                  </a:lnTo>
                  <a:lnTo>
                    <a:pt x="61" y="30"/>
                  </a:lnTo>
                  <a:lnTo>
                    <a:pt x="56" y="29"/>
                  </a:lnTo>
                  <a:lnTo>
                    <a:pt x="51" y="27"/>
                  </a:lnTo>
                  <a:lnTo>
                    <a:pt x="43" y="29"/>
                  </a:lnTo>
                  <a:lnTo>
                    <a:pt x="35" y="35"/>
                  </a:lnTo>
                  <a:lnTo>
                    <a:pt x="35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4" name="Freeform 38">
              <a:extLst>
                <a:ext uri="{FF2B5EF4-FFF2-40B4-BE49-F238E27FC236}">
                  <a16:creationId xmlns:a16="http://schemas.microsoft.com/office/drawing/2014/main" id="{D7785973-2BD0-A55A-49BB-49177D5B3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5088" y="4140200"/>
              <a:ext cx="50800" cy="55563"/>
            </a:xfrm>
            <a:custGeom>
              <a:avLst/>
              <a:gdLst>
                <a:gd name="T0" fmla="*/ 95 w 96"/>
                <a:gd name="T1" fmla="*/ 68 h 106"/>
                <a:gd name="T2" fmla="*/ 93 w 96"/>
                <a:gd name="T3" fmla="*/ 76 h 106"/>
                <a:gd name="T4" fmla="*/ 91 w 96"/>
                <a:gd name="T5" fmla="*/ 85 h 106"/>
                <a:gd name="T6" fmla="*/ 86 w 96"/>
                <a:gd name="T7" fmla="*/ 91 h 106"/>
                <a:gd name="T8" fmla="*/ 80 w 96"/>
                <a:gd name="T9" fmla="*/ 96 h 106"/>
                <a:gd name="T10" fmla="*/ 75 w 96"/>
                <a:gd name="T11" fmla="*/ 101 h 106"/>
                <a:gd name="T12" fmla="*/ 68 w 96"/>
                <a:gd name="T13" fmla="*/ 105 h 106"/>
                <a:gd name="T14" fmla="*/ 59 w 96"/>
                <a:gd name="T15" fmla="*/ 106 h 106"/>
                <a:gd name="T16" fmla="*/ 49 w 96"/>
                <a:gd name="T17" fmla="*/ 106 h 106"/>
                <a:gd name="T18" fmla="*/ 39 w 96"/>
                <a:gd name="T19" fmla="*/ 106 h 106"/>
                <a:gd name="T20" fmla="*/ 29 w 96"/>
                <a:gd name="T21" fmla="*/ 103 h 106"/>
                <a:gd name="T22" fmla="*/ 20 w 96"/>
                <a:gd name="T23" fmla="*/ 99 h 106"/>
                <a:gd name="T24" fmla="*/ 13 w 96"/>
                <a:gd name="T25" fmla="*/ 92 h 106"/>
                <a:gd name="T26" fmla="*/ 7 w 96"/>
                <a:gd name="T27" fmla="*/ 85 h 106"/>
                <a:gd name="T28" fmla="*/ 4 w 96"/>
                <a:gd name="T29" fmla="*/ 76 h 106"/>
                <a:gd name="T30" fmla="*/ 1 w 96"/>
                <a:gd name="T31" fmla="*/ 65 h 106"/>
                <a:gd name="T32" fmla="*/ 0 w 96"/>
                <a:gd name="T33" fmla="*/ 53 h 106"/>
                <a:gd name="T34" fmla="*/ 1 w 96"/>
                <a:gd name="T35" fmla="*/ 42 h 106"/>
                <a:gd name="T36" fmla="*/ 4 w 96"/>
                <a:gd name="T37" fmla="*/ 32 h 106"/>
                <a:gd name="T38" fmla="*/ 8 w 96"/>
                <a:gd name="T39" fmla="*/ 23 h 106"/>
                <a:gd name="T40" fmla="*/ 14 w 96"/>
                <a:gd name="T41" fmla="*/ 14 h 106"/>
                <a:gd name="T42" fmla="*/ 20 w 96"/>
                <a:gd name="T43" fmla="*/ 9 h 106"/>
                <a:gd name="T44" fmla="*/ 29 w 96"/>
                <a:gd name="T45" fmla="*/ 4 h 106"/>
                <a:gd name="T46" fmla="*/ 39 w 96"/>
                <a:gd name="T47" fmla="*/ 2 h 106"/>
                <a:gd name="T48" fmla="*/ 49 w 96"/>
                <a:gd name="T49" fmla="*/ 0 h 106"/>
                <a:gd name="T50" fmla="*/ 59 w 96"/>
                <a:gd name="T51" fmla="*/ 2 h 106"/>
                <a:gd name="T52" fmla="*/ 68 w 96"/>
                <a:gd name="T53" fmla="*/ 3 h 106"/>
                <a:gd name="T54" fmla="*/ 76 w 96"/>
                <a:gd name="T55" fmla="*/ 6 h 106"/>
                <a:gd name="T56" fmla="*/ 82 w 96"/>
                <a:gd name="T57" fmla="*/ 12 h 106"/>
                <a:gd name="T58" fmla="*/ 88 w 96"/>
                <a:gd name="T59" fmla="*/ 17 h 106"/>
                <a:gd name="T60" fmla="*/ 92 w 96"/>
                <a:gd name="T61" fmla="*/ 25 h 106"/>
                <a:gd name="T62" fmla="*/ 95 w 96"/>
                <a:gd name="T63" fmla="*/ 32 h 106"/>
                <a:gd name="T64" fmla="*/ 96 w 96"/>
                <a:gd name="T65" fmla="*/ 42 h 106"/>
                <a:gd name="T66" fmla="*/ 63 w 96"/>
                <a:gd name="T67" fmla="*/ 42 h 106"/>
                <a:gd name="T68" fmla="*/ 62 w 96"/>
                <a:gd name="T69" fmla="*/ 33 h 106"/>
                <a:gd name="T70" fmla="*/ 59 w 96"/>
                <a:gd name="T71" fmla="*/ 27 h 106"/>
                <a:gd name="T72" fmla="*/ 55 w 96"/>
                <a:gd name="T73" fmla="*/ 23 h 106"/>
                <a:gd name="T74" fmla="*/ 49 w 96"/>
                <a:gd name="T75" fmla="*/ 23 h 106"/>
                <a:gd name="T76" fmla="*/ 46 w 96"/>
                <a:gd name="T77" fmla="*/ 23 h 106"/>
                <a:gd name="T78" fmla="*/ 43 w 96"/>
                <a:gd name="T79" fmla="*/ 25 h 106"/>
                <a:gd name="T80" fmla="*/ 40 w 96"/>
                <a:gd name="T81" fmla="*/ 27 h 106"/>
                <a:gd name="T82" fmla="*/ 39 w 96"/>
                <a:gd name="T83" fmla="*/ 30 h 106"/>
                <a:gd name="T84" fmla="*/ 36 w 96"/>
                <a:gd name="T85" fmla="*/ 40 h 106"/>
                <a:gd name="T86" fmla="*/ 34 w 96"/>
                <a:gd name="T87" fmla="*/ 53 h 106"/>
                <a:gd name="T88" fmla="*/ 36 w 96"/>
                <a:gd name="T89" fmla="*/ 68 h 106"/>
                <a:gd name="T90" fmla="*/ 39 w 96"/>
                <a:gd name="T91" fmla="*/ 78 h 106"/>
                <a:gd name="T92" fmla="*/ 42 w 96"/>
                <a:gd name="T93" fmla="*/ 81 h 106"/>
                <a:gd name="T94" fmla="*/ 43 w 96"/>
                <a:gd name="T95" fmla="*/ 83 h 106"/>
                <a:gd name="T96" fmla="*/ 46 w 96"/>
                <a:gd name="T97" fmla="*/ 85 h 106"/>
                <a:gd name="T98" fmla="*/ 49 w 96"/>
                <a:gd name="T99" fmla="*/ 85 h 106"/>
                <a:gd name="T100" fmla="*/ 55 w 96"/>
                <a:gd name="T101" fmla="*/ 83 h 106"/>
                <a:gd name="T102" fmla="*/ 57 w 96"/>
                <a:gd name="T103" fmla="*/ 81 h 106"/>
                <a:gd name="T104" fmla="*/ 60 w 96"/>
                <a:gd name="T105" fmla="*/ 75 h 106"/>
                <a:gd name="T106" fmla="*/ 62 w 96"/>
                <a:gd name="T107" fmla="*/ 68 h 106"/>
                <a:gd name="T108" fmla="*/ 95 w 96"/>
                <a:gd name="T109" fmla="*/ 6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106">
                  <a:moveTo>
                    <a:pt x="95" y="68"/>
                  </a:moveTo>
                  <a:lnTo>
                    <a:pt x="93" y="76"/>
                  </a:lnTo>
                  <a:lnTo>
                    <a:pt x="91" y="85"/>
                  </a:lnTo>
                  <a:lnTo>
                    <a:pt x="86" y="91"/>
                  </a:lnTo>
                  <a:lnTo>
                    <a:pt x="80" y="96"/>
                  </a:lnTo>
                  <a:lnTo>
                    <a:pt x="75" y="101"/>
                  </a:lnTo>
                  <a:lnTo>
                    <a:pt x="68" y="105"/>
                  </a:lnTo>
                  <a:lnTo>
                    <a:pt x="59" y="106"/>
                  </a:lnTo>
                  <a:lnTo>
                    <a:pt x="49" y="106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2"/>
                  </a:lnTo>
                  <a:lnTo>
                    <a:pt x="7" y="85"/>
                  </a:lnTo>
                  <a:lnTo>
                    <a:pt x="4" y="76"/>
                  </a:lnTo>
                  <a:lnTo>
                    <a:pt x="1" y="65"/>
                  </a:lnTo>
                  <a:lnTo>
                    <a:pt x="0" y="53"/>
                  </a:lnTo>
                  <a:lnTo>
                    <a:pt x="1" y="42"/>
                  </a:lnTo>
                  <a:lnTo>
                    <a:pt x="4" y="32"/>
                  </a:lnTo>
                  <a:lnTo>
                    <a:pt x="8" y="23"/>
                  </a:lnTo>
                  <a:lnTo>
                    <a:pt x="14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49" y="0"/>
                  </a:lnTo>
                  <a:lnTo>
                    <a:pt x="59" y="2"/>
                  </a:lnTo>
                  <a:lnTo>
                    <a:pt x="68" y="3"/>
                  </a:lnTo>
                  <a:lnTo>
                    <a:pt x="76" y="6"/>
                  </a:lnTo>
                  <a:lnTo>
                    <a:pt x="82" y="12"/>
                  </a:lnTo>
                  <a:lnTo>
                    <a:pt x="88" y="17"/>
                  </a:lnTo>
                  <a:lnTo>
                    <a:pt x="92" y="25"/>
                  </a:lnTo>
                  <a:lnTo>
                    <a:pt x="95" y="32"/>
                  </a:lnTo>
                  <a:lnTo>
                    <a:pt x="96" y="42"/>
                  </a:lnTo>
                  <a:lnTo>
                    <a:pt x="63" y="42"/>
                  </a:lnTo>
                  <a:lnTo>
                    <a:pt x="62" y="33"/>
                  </a:lnTo>
                  <a:lnTo>
                    <a:pt x="59" y="27"/>
                  </a:lnTo>
                  <a:lnTo>
                    <a:pt x="55" y="23"/>
                  </a:lnTo>
                  <a:lnTo>
                    <a:pt x="49" y="23"/>
                  </a:lnTo>
                  <a:lnTo>
                    <a:pt x="46" y="23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9" y="30"/>
                  </a:lnTo>
                  <a:lnTo>
                    <a:pt x="36" y="40"/>
                  </a:lnTo>
                  <a:lnTo>
                    <a:pt x="34" y="53"/>
                  </a:lnTo>
                  <a:lnTo>
                    <a:pt x="36" y="68"/>
                  </a:lnTo>
                  <a:lnTo>
                    <a:pt x="39" y="78"/>
                  </a:lnTo>
                  <a:lnTo>
                    <a:pt x="42" y="81"/>
                  </a:lnTo>
                  <a:lnTo>
                    <a:pt x="43" y="83"/>
                  </a:lnTo>
                  <a:lnTo>
                    <a:pt x="46" y="85"/>
                  </a:lnTo>
                  <a:lnTo>
                    <a:pt x="49" y="85"/>
                  </a:lnTo>
                  <a:lnTo>
                    <a:pt x="55" y="83"/>
                  </a:lnTo>
                  <a:lnTo>
                    <a:pt x="57" y="81"/>
                  </a:lnTo>
                  <a:lnTo>
                    <a:pt x="60" y="75"/>
                  </a:lnTo>
                  <a:lnTo>
                    <a:pt x="62" y="68"/>
                  </a:lnTo>
                  <a:lnTo>
                    <a:pt x="95" y="68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5" name="Freeform 39">
              <a:extLst>
                <a:ext uri="{FF2B5EF4-FFF2-40B4-BE49-F238E27FC236}">
                  <a16:creationId xmlns:a16="http://schemas.microsoft.com/office/drawing/2014/main" id="{04B8DF3A-1E53-EDD6-C56C-320013E88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3825" y="4140200"/>
              <a:ext cx="49213" cy="55563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7 w 95"/>
                <a:gd name="T13" fmla="*/ 105 h 106"/>
                <a:gd name="T14" fmla="*/ 58 w 95"/>
                <a:gd name="T15" fmla="*/ 106 h 106"/>
                <a:gd name="T16" fmla="*/ 49 w 95"/>
                <a:gd name="T17" fmla="*/ 106 h 106"/>
                <a:gd name="T18" fmla="*/ 38 w 95"/>
                <a:gd name="T19" fmla="*/ 106 h 106"/>
                <a:gd name="T20" fmla="*/ 28 w 95"/>
                <a:gd name="T21" fmla="*/ 103 h 106"/>
                <a:gd name="T22" fmla="*/ 19 w 95"/>
                <a:gd name="T23" fmla="*/ 99 h 106"/>
                <a:gd name="T24" fmla="*/ 12 w 95"/>
                <a:gd name="T25" fmla="*/ 92 h 106"/>
                <a:gd name="T26" fmla="*/ 7 w 95"/>
                <a:gd name="T27" fmla="*/ 85 h 106"/>
                <a:gd name="T28" fmla="*/ 3 w 95"/>
                <a:gd name="T29" fmla="*/ 76 h 106"/>
                <a:gd name="T30" fmla="*/ 2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3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4 h 106"/>
                <a:gd name="T54" fmla="*/ 77 w 95"/>
                <a:gd name="T55" fmla="*/ 9 h 106"/>
                <a:gd name="T56" fmla="*/ 84 w 95"/>
                <a:gd name="T57" fmla="*/ 14 h 106"/>
                <a:gd name="T58" fmla="*/ 90 w 95"/>
                <a:gd name="T59" fmla="*/ 23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2 h 106"/>
                <a:gd name="T66" fmla="*/ 33 w 95"/>
                <a:gd name="T67" fmla="*/ 62 h 106"/>
                <a:gd name="T68" fmla="*/ 35 w 95"/>
                <a:gd name="T69" fmla="*/ 73 h 106"/>
                <a:gd name="T70" fmla="*/ 38 w 95"/>
                <a:gd name="T71" fmla="*/ 81 h 106"/>
                <a:gd name="T72" fmla="*/ 41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9 w 95"/>
                <a:gd name="T79" fmla="*/ 85 h 106"/>
                <a:gd name="T80" fmla="*/ 54 w 95"/>
                <a:gd name="T81" fmla="*/ 85 h 106"/>
                <a:gd name="T82" fmla="*/ 58 w 95"/>
                <a:gd name="T83" fmla="*/ 82 h 106"/>
                <a:gd name="T84" fmla="*/ 61 w 95"/>
                <a:gd name="T85" fmla="*/ 78 h 106"/>
                <a:gd name="T86" fmla="*/ 62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3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7" y="105"/>
                  </a:lnTo>
                  <a:lnTo>
                    <a:pt x="58" y="106"/>
                  </a:lnTo>
                  <a:lnTo>
                    <a:pt x="49" y="106"/>
                  </a:lnTo>
                  <a:lnTo>
                    <a:pt x="38" y="106"/>
                  </a:lnTo>
                  <a:lnTo>
                    <a:pt x="28" y="103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7" y="85"/>
                  </a:lnTo>
                  <a:lnTo>
                    <a:pt x="3" y="76"/>
                  </a:lnTo>
                  <a:lnTo>
                    <a:pt x="2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7" y="9"/>
                  </a:lnTo>
                  <a:lnTo>
                    <a:pt x="84" y="14"/>
                  </a:lnTo>
                  <a:lnTo>
                    <a:pt x="90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41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9" y="85"/>
                  </a:lnTo>
                  <a:lnTo>
                    <a:pt x="54" y="85"/>
                  </a:lnTo>
                  <a:lnTo>
                    <a:pt x="58" y="82"/>
                  </a:lnTo>
                  <a:lnTo>
                    <a:pt x="61" y="78"/>
                  </a:lnTo>
                  <a:lnTo>
                    <a:pt x="62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3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6" name="Rectangle 40">
              <a:extLst>
                <a:ext uri="{FF2B5EF4-FFF2-40B4-BE49-F238E27FC236}">
                  <a16:creationId xmlns:a16="http://schemas.microsoft.com/office/drawing/2014/main" id="{433E8C28-B494-4FD4-DC4E-DB804E53C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14150" y="4119563"/>
              <a:ext cx="17463" cy="74613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7" name="Freeform 41">
              <a:extLst>
                <a:ext uri="{FF2B5EF4-FFF2-40B4-BE49-F238E27FC236}">
                  <a16:creationId xmlns:a16="http://schemas.microsoft.com/office/drawing/2014/main" id="{C5831D8B-5C18-ABDA-57BF-B602EF6F3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41138" y="4119563"/>
              <a:ext cx="50800" cy="76200"/>
            </a:xfrm>
            <a:custGeom>
              <a:avLst/>
              <a:gdLst>
                <a:gd name="T0" fmla="*/ 61 w 95"/>
                <a:gd name="T1" fmla="*/ 135 h 146"/>
                <a:gd name="T2" fmla="*/ 46 w 95"/>
                <a:gd name="T3" fmla="*/ 143 h 146"/>
                <a:gd name="T4" fmla="*/ 31 w 95"/>
                <a:gd name="T5" fmla="*/ 146 h 146"/>
                <a:gd name="T6" fmla="*/ 18 w 95"/>
                <a:gd name="T7" fmla="*/ 145 h 146"/>
                <a:gd name="T8" fmla="*/ 8 w 95"/>
                <a:gd name="T9" fmla="*/ 139 h 146"/>
                <a:gd name="T10" fmla="*/ 2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2 w 95"/>
                <a:gd name="T17" fmla="*/ 96 h 146"/>
                <a:gd name="T18" fmla="*/ 28 w 95"/>
                <a:gd name="T19" fmla="*/ 89 h 146"/>
                <a:gd name="T20" fmla="*/ 49 w 95"/>
                <a:gd name="T21" fmla="*/ 86 h 146"/>
                <a:gd name="T22" fmla="*/ 61 w 95"/>
                <a:gd name="T23" fmla="*/ 86 h 146"/>
                <a:gd name="T24" fmla="*/ 59 w 95"/>
                <a:gd name="T25" fmla="*/ 70 h 146"/>
                <a:gd name="T26" fmla="*/ 54 w 95"/>
                <a:gd name="T27" fmla="*/ 63 h 146"/>
                <a:gd name="T28" fmla="*/ 42 w 95"/>
                <a:gd name="T29" fmla="*/ 63 h 146"/>
                <a:gd name="T30" fmla="*/ 36 w 95"/>
                <a:gd name="T31" fmla="*/ 70 h 146"/>
                <a:gd name="T32" fmla="*/ 2 w 95"/>
                <a:gd name="T33" fmla="*/ 77 h 146"/>
                <a:gd name="T34" fmla="*/ 6 w 95"/>
                <a:gd name="T35" fmla="*/ 60 h 146"/>
                <a:gd name="T36" fmla="*/ 16 w 95"/>
                <a:gd name="T37" fmla="*/ 49 h 146"/>
                <a:gd name="T38" fmla="*/ 31 w 95"/>
                <a:gd name="T39" fmla="*/ 43 h 146"/>
                <a:gd name="T40" fmla="*/ 48 w 95"/>
                <a:gd name="T41" fmla="*/ 40 h 146"/>
                <a:gd name="T42" fmla="*/ 64 w 95"/>
                <a:gd name="T43" fmla="*/ 42 h 146"/>
                <a:gd name="T44" fmla="*/ 80 w 95"/>
                <a:gd name="T45" fmla="*/ 47 h 146"/>
                <a:gd name="T46" fmla="*/ 91 w 95"/>
                <a:gd name="T47" fmla="*/ 57 h 146"/>
                <a:gd name="T48" fmla="*/ 95 w 95"/>
                <a:gd name="T49" fmla="*/ 73 h 146"/>
                <a:gd name="T50" fmla="*/ 61 w 95"/>
                <a:gd name="T51" fmla="*/ 143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1 w 95"/>
                <a:gd name="T59" fmla="*/ 103 h 146"/>
                <a:gd name="T60" fmla="*/ 51 w 95"/>
                <a:gd name="T61" fmla="*/ 103 h 146"/>
                <a:gd name="T62" fmla="*/ 39 w 95"/>
                <a:gd name="T63" fmla="*/ 105 h 146"/>
                <a:gd name="T64" fmla="*/ 36 w 95"/>
                <a:gd name="T65" fmla="*/ 109 h 146"/>
                <a:gd name="T66" fmla="*/ 33 w 95"/>
                <a:gd name="T67" fmla="*/ 115 h 146"/>
                <a:gd name="T68" fmla="*/ 38 w 95"/>
                <a:gd name="T69" fmla="*/ 122 h 146"/>
                <a:gd name="T70" fmla="*/ 46 w 95"/>
                <a:gd name="T71" fmla="*/ 125 h 146"/>
                <a:gd name="T72" fmla="*/ 61 w 95"/>
                <a:gd name="T73" fmla="*/ 1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1" y="143"/>
                  </a:moveTo>
                  <a:lnTo>
                    <a:pt x="61" y="135"/>
                  </a:lnTo>
                  <a:lnTo>
                    <a:pt x="54" y="141"/>
                  </a:lnTo>
                  <a:lnTo>
                    <a:pt x="46" y="143"/>
                  </a:lnTo>
                  <a:lnTo>
                    <a:pt x="38" y="146"/>
                  </a:lnTo>
                  <a:lnTo>
                    <a:pt x="31" y="146"/>
                  </a:lnTo>
                  <a:lnTo>
                    <a:pt x="23" y="146"/>
                  </a:lnTo>
                  <a:lnTo>
                    <a:pt x="18" y="145"/>
                  </a:lnTo>
                  <a:lnTo>
                    <a:pt x="12" y="142"/>
                  </a:lnTo>
                  <a:lnTo>
                    <a:pt x="8" y="139"/>
                  </a:lnTo>
                  <a:lnTo>
                    <a:pt x="5" y="135"/>
                  </a:lnTo>
                  <a:lnTo>
                    <a:pt x="2" y="131"/>
                  </a:lnTo>
                  <a:lnTo>
                    <a:pt x="0" y="125"/>
                  </a:lnTo>
                  <a:lnTo>
                    <a:pt x="0" y="119"/>
                  </a:lnTo>
                  <a:lnTo>
                    <a:pt x="0" y="112"/>
                  </a:lnTo>
                  <a:lnTo>
                    <a:pt x="3" y="106"/>
                  </a:lnTo>
                  <a:lnTo>
                    <a:pt x="6" y="100"/>
                  </a:lnTo>
                  <a:lnTo>
                    <a:pt x="12" y="96"/>
                  </a:lnTo>
                  <a:lnTo>
                    <a:pt x="19" y="92"/>
                  </a:lnTo>
                  <a:lnTo>
                    <a:pt x="28" y="89"/>
                  </a:lnTo>
                  <a:lnTo>
                    <a:pt x="38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1" y="86"/>
                  </a:lnTo>
                  <a:lnTo>
                    <a:pt x="61" y="77"/>
                  </a:lnTo>
                  <a:lnTo>
                    <a:pt x="59" y="70"/>
                  </a:lnTo>
                  <a:lnTo>
                    <a:pt x="58" y="66"/>
                  </a:lnTo>
                  <a:lnTo>
                    <a:pt x="54" y="63"/>
                  </a:lnTo>
                  <a:lnTo>
                    <a:pt x="48" y="63"/>
                  </a:lnTo>
                  <a:lnTo>
                    <a:pt x="42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5" y="77"/>
                  </a:lnTo>
                  <a:lnTo>
                    <a:pt x="2" y="77"/>
                  </a:lnTo>
                  <a:lnTo>
                    <a:pt x="3" y="69"/>
                  </a:lnTo>
                  <a:lnTo>
                    <a:pt x="6" y="60"/>
                  </a:lnTo>
                  <a:lnTo>
                    <a:pt x="10" y="54"/>
                  </a:lnTo>
                  <a:lnTo>
                    <a:pt x="16" y="49"/>
                  </a:lnTo>
                  <a:lnTo>
                    <a:pt x="23" y="46"/>
                  </a:lnTo>
                  <a:lnTo>
                    <a:pt x="31" y="43"/>
                  </a:lnTo>
                  <a:lnTo>
                    <a:pt x="39" y="42"/>
                  </a:lnTo>
                  <a:lnTo>
                    <a:pt x="48" y="40"/>
                  </a:lnTo>
                  <a:lnTo>
                    <a:pt x="56" y="42"/>
                  </a:lnTo>
                  <a:lnTo>
                    <a:pt x="64" y="42"/>
                  </a:lnTo>
                  <a:lnTo>
                    <a:pt x="72" y="44"/>
                  </a:lnTo>
                  <a:lnTo>
                    <a:pt x="80" y="47"/>
                  </a:lnTo>
                  <a:lnTo>
                    <a:pt x="85" y="52"/>
                  </a:lnTo>
                  <a:lnTo>
                    <a:pt x="91" y="57"/>
                  </a:lnTo>
                  <a:lnTo>
                    <a:pt x="94" y="65"/>
                  </a:lnTo>
                  <a:lnTo>
                    <a:pt x="95" y="73"/>
                  </a:lnTo>
                  <a:lnTo>
                    <a:pt x="95" y="143"/>
                  </a:lnTo>
                  <a:lnTo>
                    <a:pt x="61" y="143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5" y="0"/>
                  </a:lnTo>
                  <a:lnTo>
                    <a:pt x="85" y="0"/>
                  </a:lnTo>
                  <a:lnTo>
                    <a:pt x="52" y="31"/>
                  </a:lnTo>
                  <a:lnTo>
                    <a:pt x="26" y="31"/>
                  </a:lnTo>
                  <a:close/>
                  <a:moveTo>
                    <a:pt x="61" y="103"/>
                  </a:moveTo>
                  <a:lnTo>
                    <a:pt x="61" y="103"/>
                  </a:lnTo>
                  <a:lnTo>
                    <a:pt x="55" y="103"/>
                  </a:lnTo>
                  <a:lnTo>
                    <a:pt x="51" y="103"/>
                  </a:lnTo>
                  <a:lnTo>
                    <a:pt x="45" y="103"/>
                  </a:lnTo>
                  <a:lnTo>
                    <a:pt x="39" y="105"/>
                  </a:lnTo>
                  <a:lnTo>
                    <a:pt x="38" y="108"/>
                  </a:lnTo>
                  <a:lnTo>
                    <a:pt x="36" y="109"/>
                  </a:lnTo>
                  <a:lnTo>
                    <a:pt x="35" y="112"/>
                  </a:lnTo>
                  <a:lnTo>
                    <a:pt x="33" y="115"/>
                  </a:lnTo>
                  <a:lnTo>
                    <a:pt x="35" y="119"/>
                  </a:lnTo>
                  <a:lnTo>
                    <a:pt x="38" y="122"/>
                  </a:lnTo>
                  <a:lnTo>
                    <a:pt x="42" y="123"/>
                  </a:lnTo>
                  <a:lnTo>
                    <a:pt x="46" y="125"/>
                  </a:lnTo>
                  <a:lnTo>
                    <a:pt x="54" y="123"/>
                  </a:lnTo>
                  <a:lnTo>
                    <a:pt x="61" y="119"/>
                  </a:lnTo>
                  <a:lnTo>
                    <a:pt x="61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8" name="Freeform 42">
              <a:extLst>
                <a:ext uri="{FF2B5EF4-FFF2-40B4-BE49-F238E27FC236}">
                  <a16:creationId xmlns:a16="http://schemas.microsoft.com/office/drawing/2014/main" id="{B02AD946-8BE9-DC2D-3A34-6E91C6162B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01463" y="4119563"/>
              <a:ext cx="42863" cy="74613"/>
            </a:xfrm>
            <a:custGeom>
              <a:avLst/>
              <a:gdLst>
                <a:gd name="T0" fmla="*/ 24 w 80"/>
                <a:gd name="T1" fmla="*/ 31 h 143"/>
                <a:gd name="T2" fmla="*/ 0 w 80"/>
                <a:gd name="T3" fmla="*/ 0 h 143"/>
                <a:gd name="T4" fmla="*/ 27 w 80"/>
                <a:gd name="T5" fmla="*/ 0 h 143"/>
                <a:gd name="T6" fmla="*/ 40 w 80"/>
                <a:gd name="T7" fmla="*/ 11 h 143"/>
                <a:gd name="T8" fmla="*/ 53 w 80"/>
                <a:gd name="T9" fmla="*/ 0 h 143"/>
                <a:gd name="T10" fmla="*/ 80 w 80"/>
                <a:gd name="T11" fmla="*/ 0 h 143"/>
                <a:gd name="T12" fmla="*/ 54 w 80"/>
                <a:gd name="T13" fmla="*/ 31 h 143"/>
                <a:gd name="T14" fmla="*/ 24 w 80"/>
                <a:gd name="T15" fmla="*/ 31 h 143"/>
                <a:gd name="T16" fmla="*/ 5 w 80"/>
                <a:gd name="T17" fmla="*/ 143 h 143"/>
                <a:gd name="T18" fmla="*/ 5 w 80"/>
                <a:gd name="T19" fmla="*/ 143 h 143"/>
                <a:gd name="T20" fmla="*/ 5 w 80"/>
                <a:gd name="T21" fmla="*/ 43 h 143"/>
                <a:gd name="T22" fmla="*/ 40 w 80"/>
                <a:gd name="T23" fmla="*/ 43 h 143"/>
                <a:gd name="T24" fmla="*/ 40 w 80"/>
                <a:gd name="T25" fmla="*/ 63 h 143"/>
                <a:gd name="T26" fmla="*/ 46 w 80"/>
                <a:gd name="T27" fmla="*/ 53 h 143"/>
                <a:gd name="T28" fmla="*/ 51 w 80"/>
                <a:gd name="T29" fmla="*/ 46 h 143"/>
                <a:gd name="T30" fmla="*/ 59 w 80"/>
                <a:gd name="T31" fmla="*/ 42 h 143"/>
                <a:gd name="T32" fmla="*/ 66 w 80"/>
                <a:gd name="T33" fmla="*/ 40 h 143"/>
                <a:gd name="T34" fmla="*/ 73 w 80"/>
                <a:gd name="T35" fmla="*/ 42 h 143"/>
                <a:gd name="T36" fmla="*/ 79 w 80"/>
                <a:gd name="T37" fmla="*/ 44 h 143"/>
                <a:gd name="T38" fmla="*/ 79 w 80"/>
                <a:gd name="T39" fmla="*/ 75 h 143"/>
                <a:gd name="T40" fmla="*/ 72 w 80"/>
                <a:gd name="T41" fmla="*/ 72 h 143"/>
                <a:gd name="T42" fmla="*/ 63 w 80"/>
                <a:gd name="T43" fmla="*/ 72 h 143"/>
                <a:gd name="T44" fmla="*/ 56 w 80"/>
                <a:gd name="T45" fmla="*/ 72 h 143"/>
                <a:gd name="T46" fmla="*/ 50 w 80"/>
                <a:gd name="T47" fmla="*/ 75 h 143"/>
                <a:gd name="T48" fmla="*/ 44 w 80"/>
                <a:gd name="T49" fmla="*/ 77 h 143"/>
                <a:gd name="T50" fmla="*/ 40 w 80"/>
                <a:gd name="T51" fmla="*/ 82 h 143"/>
                <a:gd name="T52" fmla="*/ 40 w 80"/>
                <a:gd name="T53" fmla="*/ 143 h 143"/>
                <a:gd name="T54" fmla="*/ 5 w 80"/>
                <a:gd name="T5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3">
                  <a:moveTo>
                    <a:pt x="24" y="31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40" y="11"/>
                  </a:lnTo>
                  <a:lnTo>
                    <a:pt x="53" y="0"/>
                  </a:lnTo>
                  <a:lnTo>
                    <a:pt x="80" y="0"/>
                  </a:lnTo>
                  <a:lnTo>
                    <a:pt x="54" y="31"/>
                  </a:lnTo>
                  <a:lnTo>
                    <a:pt x="24" y="31"/>
                  </a:lnTo>
                  <a:close/>
                  <a:moveTo>
                    <a:pt x="5" y="143"/>
                  </a:moveTo>
                  <a:lnTo>
                    <a:pt x="5" y="143"/>
                  </a:lnTo>
                  <a:lnTo>
                    <a:pt x="5" y="43"/>
                  </a:lnTo>
                  <a:lnTo>
                    <a:pt x="40" y="43"/>
                  </a:lnTo>
                  <a:lnTo>
                    <a:pt x="40" y="63"/>
                  </a:lnTo>
                  <a:lnTo>
                    <a:pt x="46" y="53"/>
                  </a:lnTo>
                  <a:lnTo>
                    <a:pt x="51" y="46"/>
                  </a:lnTo>
                  <a:lnTo>
                    <a:pt x="59" y="42"/>
                  </a:lnTo>
                  <a:lnTo>
                    <a:pt x="66" y="40"/>
                  </a:lnTo>
                  <a:lnTo>
                    <a:pt x="73" y="42"/>
                  </a:lnTo>
                  <a:lnTo>
                    <a:pt x="79" y="44"/>
                  </a:lnTo>
                  <a:lnTo>
                    <a:pt x="79" y="75"/>
                  </a:lnTo>
                  <a:lnTo>
                    <a:pt x="72" y="72"/>
                  </a:lnTo>
                  <a:lnTo>
                    <a:pt x="63" y="72"/>
                  </a:lnTo>
                  <a:lnTo>
                    <a:pt x="56" y="72"/>
                  </a:lnTo>
                  <a:lnTo>
                    <a:pt x="50" y="75"/>
                  </a:lnTo>
                  <a:lnTo>
                    <a:pt x="44" y="77"/>
                  </a:lnTo>
                  <a:lnTo>
                    <a:pt x="40" y="82"/>
                  </a:lnTo>
                  <a:lnTo>
                    <a:pt x="40" y="143"/>
                  </a:lnTo>
                  <a:lnTo>
                    <a:pt x="5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9" name="Freeform 43">
              <a:extLst>
                <a:ext uri="{FF2B5EF4-FFF2-40B4-BE49-F238E27FC236}">
                  <a16:creationId xmlns:a16="http://schemas.microsoft.com/office/drawing/2014/main" id="{73D58EE5-3AB6-C2B0-57DC-DCF4C5496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5700" y="4241800"/>
              <a:ext cx="52388" cy="76200"/>
            </a:xfrm>
            <a:custGeom>
              <a:avLst/>
              <a:gdLst>
                <a:gd name="T0" fmla="*/ 0 w 99"/>
                <a:gd name="T1" fmla="*/ 144 h 144"/>
                <a:gd name="T2" fmla="*/ 0 w 99"/>
                <a:gd name="T3" fmla="*/ 3 h 144"/>
                <a:gd name="T4" fmla="*/ 34 w 99"/>
                <a:gd name="T5" fmla="*/ 3 h 144"/>
                <a:gd name="T6" fmla="*/ 34 w 99"/>
                <a:gd name="T7" fmla="*/ 13 h 144"/>
                <a:gd name="T8" fmla="*/ 40 w 99"/>
                <a:gd name="T9" fmla="*/ 7 h 144"/>
                <a:gd name="T10" fmla="*/ 47 w 99"/>
                <a:gd name="T11" fmla="*/ 4 h 144"/>
                <a:gd name="T12" fmla="*/ 53 w 99"/>
                <a:gd name="T13" fmla="*/ 2 h 144"/>
                <a:gd name="T14" fmla="*/ 61 w 99"/>
                <a:gd name="T15" fmla="*/ 0 h 144"/>
                <a:gd name="T16" fmla="*/ 70 w 99"/>
                <a:gd name="T17" fmla="*/ 2 h 144"/>
                <a:gd name="T18" fmla="*/ 77 w 99"/>
                <a:gd name="T19" fmla="*/ 4 h 144"/>
                <a:gd name="T20" fmla="*/ 85 w 99"/>
                <a:gd name="T21" fmla="*/ 10 h 144"/>
                <a:gd name="T22" fmla="*/ 89 w 99"/>
                <a:gd name="T23" fmla="*/ 16 h 144"/>
                <a:gd name="T24" fmla="*/ 93 w 99"/>
                <a:gd name="T25" fmla="*/ 24 h 144"/>
                <a:gd name="T26" fmla="*/ 96 w 99"/>
                <a:gd name="T27" fmla="*/ 33 h 144"/>
                <a:gd name="T28" fmla="*/ 97 w 99"/>
                <a:gd name="T29" fmla="*/ 43 h 144"/>
                <a:gd name="T30" fmla="*/ 99 w 99"/>
                <a:gd name="T31" fmla="*/ 55 h 144"/>
                <a:gd name="T32" fmla="*/ 97 w 99"/>
                <a:gd name="T33" fmla="*/ 65 h 144"/>
                <a:gd name="T34" fmla="*/ 96 w 99"/>
                <a:gd name="T35" fmla="*/ 75 h 144"/>
                <a:gd name="T36" fmla="*/ 92 w 99"/>
                <a:gd name="T37" fmla="*/ 83 h 144"/>
                <a:gd name="T38" fmla="*/ 87 w 99"/>
                <a:gd name="T39" fmla="*/ 92 h 144"/>
                <a:gd name="T40" fmla="*/ 82 w 99"/>
                <a:gd name="T41" fmla="*/ 98 h 144"/>
                <a:gd name="T42" fmla="*/ 74 w 99"/>
                <a:gd name="T43" fmla="*/ 103 h 144"/>
                <a:gd name="T44" fmla="*/ 67 w 99"/>
                <a:gd name="T45" fmla="*/ 106 h 144"/>
                <a:gd name="T46" fmla="*/ 59 w 99"/>
                <a:gd name="T47" fmla="*/ 108 h 144"/>
                <a:gd name="T48" fmla="*/ 51 w 99"/>
                <a:gd name="T49" fmla="*/ 106 h 144"/>
                <a:gd name="T50" fmla="*/ 46 w 99"/>
                <a:gd name="T51" fmla="*/ 105 h 144"/>
                <a:gd name="T52" fmla="*/ 40 w 99"/>
                <a:gd name="T53" fmla="*/ 101 h 144"/>
                <a:gd name="T54" fmla="*/ 34 w 99"/>
                <a:gd name="T55" fmla="*/ 95 h 144"/>
                <a:gd name="T56" fmla="*/ 34 w 99"/>
                <a:gd name="T57" fmla="*/ 144 h 144"/>
                <a:gd name="T58" fmla="*/ 0 w 99"/>
                <a:gd name="T59" fmla="*/ 144 h 144"/>
                <a:gd name="T60" fmla="*/ 34 w 99"/>
                <a:gd name="T61" fmla="*/ 30 h 144"/>
                <a:gd name="T62" fmla="*/ 34 w 99"/>
                <a:gd name="T63" fmla="*/ 30 h 144"/>
                <a:gd name="T64" fmla="*/ 34 w 99"/>
                <a:gd name="T65" fmla="*/ 78 h 144"/>
                <a:gd name="T66" fmla="*/ 40 w 99"/>
                <a:gd name="T67" fmla="*/ 82 h 144"/>
                <a:gd name="T68" fmla="*/ 47 w 99"/>
                <a:gd name="T69" fmla="*/ 83 h 144"/>
                <a:gd name="T70" fmla="*/ 51 w 99"/>
                <a:gd name="T71" fmla="*/ 83 h 144"/>
                <a:gd name="T72" fmla="*/ 54 w 99"/>
                <a:gd name="T73" fmla="*/ 81 h 144"/>
                <a:gd name="T74" fmla="*/ 57 w 99"/>
                <a:gd name="T75" fmla="*/ 79 h 144"/>
                <a:gd name="T76" fmla="*/ 60 w 99"/>
                <a:gd name="T77" fmla="*/ 75 h 144"/>
                <a:gd name="T78" fmla="*/ 63 w 99"/>
                <a:gd name="T79" fmla="*/ 66 h 144"/>
                <a:gd name="T80" fmla="*/ 64 w 99"/>
                <a:gd name="T81" fmla="*/ 55 h 144"/>
                <a:gd name="T82" fmla="*/ 63 w 99"/>
                <a:gd name="T83" fmla="*/ 42 h 144"/>
                <a:gd name="T84" fmla="*/ 60 w 99"/>
                <a:gd name="T85" fmla="*/ 33 h 144"/>
                <a:gd name="T86" fmla="*/ 59 w 99"/>
                <a:gd name="T87" fmla="*/ 29 h 144"/>
                <a:gd name="T88" fmla="*/ 56 w 99"/>
                <a:gd name="T89" fmla="*/ 27 h 144"/>
                <a:gd name="T90" fmla="*/ 51 w 99"/>
                <a:gd name="T91" fmla="*/ 26 h 144"/>
                <a:gd name="T92" fmla="*/ 47 w 99"/>
                <a:gd name="T93" fmla="*/ 24 h 144"/>
                <a:gd name="T94" fmla="*/ 41 w 99"/>
                <a:gd name="T95" fmla="*/ 26 h 144"/>
                <a:gd name="T96" fmla="*/ 34 w 99"/>
                <a:gd name="T9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9" h="144">
                  <a:moveTo>
                    <a:pt x="0" y="144"/>
                  </a:moveTo>
                  <a:lnTo>
                    <a:pt x="0" y="3"/>
                  </a:lnTo>
                  <a:lnTo>
                    <a:pt x="34" y="3"/>
                  </a:lnTo>
                  <a:lnTo>
                    <a:pt x="34" y="13"/>
                  </a:lnTo>
                  <a:lnTo>
                    <a:pt x="40" y="7"/>
                  </a:lnTo>
                  <a:lnTo>
                    <a:pt x="47" y="4"/>
                  </a:lnTo>
                  <a:lnTo>
                    <a:pt x="53" y="2"/>
                  </a:lnTo>
                  <a:lnTo>
                    <a:pt x="61" y="0"/>
                  </a:lnTo>
                  <a:lnTo>
                    <a:pt x="70" y="2"/>
                  </a:lnTo>
                  <a:lnTo>
                    <a:pt x="77" y="4"/>
                  </a:lnTo>
                  <a:lnTo>
                    <a:pt x="85" y="10"/>
                  </a:lnTo>
                  <a:lnTo>
                    <a:pt x="89" y="16"/>
                  </a:lnTo>
                  <a:lnTo>
                    <a:pt x="93" y="24"/>
                  </a:lnTo>
                  <a:lnTo>
                    <a:pt x="96" y="33"/>
                  </a:lnTo>
                  <a:lnTo>
                    <a:pt x="97" y="43"/>
                  </a:lnTo>
                  <a:lnTo>
                    <a:pt x="99" y="55"/>
                  </a:lnTo>
                  <a:lnTo>
                    <a:pt x="97" y="65"/>
                  </a:lnTo>
                  <a:lnTo>
                    <a:pt x="96" y="75"/>
                  </a:lnTo>
                  <a:lnTo>
                    <a:pt x="92" y="83"/>
                  </a:lnTo>
                  <a:lnTo>
                    <a:pt x="87" y="92"/>
                  </a:lnTo>
                  <a:lnTo>
                    <a:pt x="82" y="98"/>
                  </a:lnTo>
                  <a:lnTo>
                    <a:pt x="74" y="103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1" y="106"/>
                  </a:lnTo>
                  <a:lnTo>
                    <a:pt x="46" y="105"/>
                  </a:lnTo>
                  <a:lnTo>
                    <a:pt x="40" y="101"/>
                  </a:lnTo>
                  <a:lnTo>
                    <a:pt x="34" y="95"/>
                  </a:lnTo>
                  <a:lnTo>
                    <a:pt x="34" y="144"/>
                  </a:lnTo>
                  <a:lnTo>
                    <a:pt x="0" y="144"/>
                  </a:lnTo>
                  <a:close/>
                  <a:moveTo>
                    <a:pt x="34" y="30"/>
                  </a:moveTo>
                  <a:lnTo>
                    <a:pt x="34" y="30"/>
                  </a:lnTo>
                  <a:lnTo>
                    <a:pt x="34" y="78"/>
                  </a:lnTo>
                  <a:lnTo>
                    <a:pt x="40" y="82"/>
                  </a:lnTo>
                  <a:lnTo>
                    <a:pt x="47" y="83"/>
                  </a:lnTo>
                  <a:lnTo>
                    <a:pt x="51" y="83"/>
                  </a:lnTo>
                  <a:lnTo>
                    <a:pt x="54" y="81"/>
                  </a:lnTo>
                  <a:lnTo>
                    <a:pt x="57" y="79"/>
                  </a:lnTo>
                  <a:lnTo>
                    <a:pt x="60" y="75"/>
                  </a:lnTo>
                  <a:lnTo>
                    <a:pt x="63" y="66"/>
                  </a:lnTo>
                  <a:lnTo>
                    <a:pt x="64" y="55"/>
                  </a:lnTo>
                  <a:lnTo>
                    <a:pt x="63" y="42"/>
                  </a:lnTo>
                  <a:lnTo>
                    <a:pt x="60" y="33"/>
                  </a:lnTo>
                  <a:lnTo>
                    <a:pt x="59" y="29"/>
                  </a:lnTo>
                  <a:lnTo>
                    <a:pt x="56" y="27"/>
                  </a:lnTo>
                  <a:lnTo>
                    <a:pt x="51" y="26"/>
                  </a:lnTo>
                  <a:lnTo>
                    <a:pt x="47" y="24"/>
                  </a:lnTo>
                  <a:lnTo>
                    <a:pt x="41" y="26"/>
                  </a:lnTo>
                  <a:lnTo>
                    <a:pt x="34" y="3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0" name="Freeform 44">
              <a:extLst>
                <a:ext uri="{FF2B5EF4-FFF2-40B4-BE49-F238E27FC236}">
                  <a16:creationId xmlns:a16="http://schemas.microsoft.com/office/drawing/2014/main" id="{6E65873A-A751-B17D-85E4-A489C760E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4438" y="4241800"/>
              <a:ext cx="53975" cy="57150"/>
            </a:xfrm>
            <a:custGeom>
              <a:avLst/>
              <a:gdLst>
                <a:gd name="T0" fmla="*/ 0 w 101"/>
                <a:gd name="T1" fmla="*/ 55 h 108"/>
                <a:gd name="T2" fmla="*/ 0 w 101"/>
                <a:gd name="T3" fmla="*/ 42 h 108"/>
                <a:gd name="T4" fmla="*/ 3 w 101"/>
                <a:gd name="T5" fmla="*/ 32 h 108"/>
                <a:gd name="T6" fmla="*/ 8 w 101"/>
                <a:gd name="T7" fmla="*/ 23 h 108"/>
                <a:gd name="T8" fmla="*/ 13 w 101"/>
                <a:gd name="T9" fmla="*/ 14 h 108"/>
                <a:gd name="T10" fmla="*/ 20 w 101"/>
                <a:gd name="T11" fmla="*/ 9 h 108"/>
                <a:gd name="T12" fmla="*/ 29 w 101"/>
                <a:gd name="T13" fmla="*/ 4 h 108"/>
                <a:gd name="T14" fmla="*/ 39 w 101"/>
                <a:gd name="T15" fmla="*/ 2 h 108"/>
                <a:gd name="T16" fmla="*/ 51 w 101"/>
                <a:gd name="T17" fmla="*/ 0 h 108"/>
                <a:gd name="T18" fmla="*/ 62 w 101"/>
                <a:gd name="T19" fmla="*/ 2 h 108"/>
                <a:gd name="T20" fmla="*/ 71 w 101"/>
                <a:gd name="T21" fmla="*/ 4 h 108"/>
                <a:gd name="T22" fmla="*/ 80 w 101"/>
                <a:gd name="T23" fmla="*/ 9 h 108"/>
                <a:gd name="T24" fmla="*/ 87 w 101"/>
                <a:gd name="T25" fmla="*/ 14 h 108"/>
                <a:gd name="T26" fmla="*/ 92 w 101"/>
                <a:gd name="T27" fmla="*/ 23 h 108"/>
                <a:gd name="T28" fmla="*/ 97 w 101"/>
                <a:gd name="T29" fmla="*/ 32 h 108"/>
                <a:gd name="T30" fmla="*/ 100 w 101"/>
                <a:gd name="T31" fmla="*/ 42 h 108"/>
                <a:gd name="T32" fmla="*/ 101 w 101"/>
                <a:gd name="T33" fmla="*/ 55 h 108"/>
                <a:gd name="T34" fmla="*/ 100 w 101"/>
                <a:gd name="T35" fmla="*/ 66 h 108"/>
                <a:gd name="T36" fmla="*/ 97 w 101"/>
                <a:gd name="T37" fmla="*/ 76 h 108"/>
                <a:gd name="T38" fmla="*/ 92 w 101"/>
                <a:gd name="T39" fmla="*/ 85 h 108"/>
                <a:gd name="T40" fmla="*/ 87 w 101"/>
                <a:gd name="T41" fmla="*/ 93 h 108"/>
                <a:gd name="T42" fmla="*/ 80 w 101"/>
                <a:gd name="T43" fmla="*/ 99 h 108"/>
                <a:gd name="T44" fmla="*/ 71 w 101"/>
                <a:gd name="T45" fmla="*/ 103 h 108"/>
                <a:gd name="T46" fmla="*/ 62 w 101"/>
                <a:gd name="T47" fmla="*/ 106 h 108"/>
                <a:gd name="T48" fmla="*/ 51 w 101"/>
                <a:gd name="T49" fmla="*/ 108 h 108"/>
                <a:gd name="T50" fmla="*/ 39 w 101"/>
                <a:gd name="T51" fmla="*/ 106 h 108"/>
                <a:gd name="T52" fmla="*/ 29 w 101"/>
                <a:gd name="T53" fmla="*/ 103 h 108"/>
                <a:gd name="T54" fmla="*/ 20 w 101"/>
                <a:gd name="T55" fmla="*/ 99 h 108"/>
                <a:gd name="T56" fmla="*/ 13 w 101"/>
                <a:gd name="T57" fmla="*/ 93 h 108"/>
                <a:gd name="T58" fmla="*/ 8 w 101"/>
                <a:gd name="T59" fmla="*/ 85 h 108"/>
                <a:gd name="T60" fmla="*/ 3 w 101"/>
                <a:gd name="T61" fmla="*/ 76 h 108"/>
                <a:gd name="T62" fmla="*/ 0 w 101"/>
                <a:gd name="T63" fmla="*/ 66 h 108"/>
                <a:gd name="T64" fmla="*/ 0 w 101"/>
                <a:gd name="T65" fmla="*/ 55 h 108"/>
                <a:gd name="T66" fmla="*/ 67 w 101"/>
                <a:gd name="T67" fmla="*/ 55 h 108"/>
                <a:gd name="T68" fmla="*/ 67 w 101"/>
                <a:gd name="T69" fmla="*/ 55 h 108"/>
                <a:gd name="T70" fmla="*/ 65 w 101"/>
                <a:gd name="T71" fmla="*/ 40 h 108"/>
                <a:gd name="T72" fmla="*/ 62 w 101"/>
                <a:gd name="T73" fmla="*/ 30 h 108"/>
                <a:gd name="T74" fmla="*/ 61 w 101"/>
                <a:gd name="T75" fmla="*/ 27 h 108"/>
                <a:gd name="T76" fmla="*/ 58 w 101"/>
                <a:gd name="T77" fmla="*/ 24 h 108"/>
                <a:gd name="T78" fmla="*/ 54 w 101"/>
                <a:gd name="T79" fmla="*/ 23 h 108"/>
                <a:gd name="T80" fmla="*/ 51 w 101"/>
                <a:gd name="T81" fmla="*/ 23 h 108"/>
                <a:gd name="T82" fmla="*/ 46 w 101"/>
                <a:gd name="T83" fmla="*/ 23 h 108"/>
                <a:gd name="T84" fmla="*/ 44 w 101"/>
                <a:gd name="T85" fmla="*/ 24 h 108"/>
                <a:gd name="T86" fmla="*/ 41 w 101"/>
                <a:gd name="T87" fmla="*/ 27 h 108"/>
                <a:gd name="T88" fmla="*/ 38 w 101"/>
                <a:gd name="T89" fmla="*/ 30 h 108"/>
                <a:gd name="T90" fmla="*/ 35 w 101"/>
                <a:gd name="T91" fmla="*/ 40 h 108"/>
                <a:gd name="T92" fmla="*/ 35 w 101"/>
                <a:gd name="T93" fmla="*/ 55 h 108"/>
                <a:gd name="T94" fmla="*/ 35 w 101"/>
                <a:gd name="T95" fmla="*/ 68 h 108"/>
                <a:gd name="T96" fmla="*/ 38 w 101"/>
                <a:gd name="T97" fmla="*/ 78 h 108"/>
                <a:gd name="T98" fmla="*/ 41 w 101"/>
                <a:gd name="T99" fmla="*/ 81 h 108"/>
                <a:gd name="T100" fmla="*/ 44 w 101"/>
                <a:gd name="T101" fmla="*/ 83 h 108"/>
                <a:gd name="T102" fmla="*/ 46 w 101"/>
                <a:gd name="T103" fmla="*/ 85 h 108"/>
                <a:gd name="T104" fmla="*/ 51 w 101"/>
                <a:gd name="T105" fmla="*/ 85 h 108"/>
                <a:gd name="T106" fmla="*/ 54 w 101"/>
                <a:gd name="T107" fmla="*/ 85 h 108"/>
                <a:gd name="T108" fmla="*/ 58 w 101"/>
                <a:gd name="T109" fmla="*/ 83 h 108"/>
                <a:gd name="T110" fmla="*/ 61 w 101"/>
                <a:gd name="T111" fmla="*/ 81 h 108"/>
                <a:gd name="T112" fmla="*/ 62 w 101"/>
                <a:gd name="T113" fmla="*/ 78 h 108"/>
                <a:gd name="T114" fmla="*/ 65 w 101"/>
                <a:gd name="T115" fmla="*/ 68 h 108"/>
                <a:gd name="T116" fmla="*/ 67 w 101"/>
                <a:gd name="T117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108">
                  <a:moveTo>
                    <a:pt x="0" y="55"/>
                  </a:moveTo>
                  <a:lnTo>
                    <a:pt x="0" y="42"/>
                  </a:lnTo>
                  <a:lnTo>
                    <a:pt x="3" y="32"/>
                  </a:lnTo>
                  <a:lnTo>
                    <a:pt x="8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51" y="0"/>
                  </a:lnTo>
                  <a:lnTo>
                    <a:pt x="62" y="2"/>
                  </a:lnTo>
                  <a:lnTo>
                    <a:pt x="71" y="4"/>
                  </a:lnTo>
                  <a:lnTo>
                    <a:pt x="80" y="9"/>
                  </a:lnTo>
                  <a:lnTo>
                    <a:pt x="87" y="14"/>
                  </a:lnTo>
                  <a:lnTo>
                    <a:pt x="92" y="23"/>
                  </a:lnTo>
                  <a:lnTo>
                    <a:pt x="97" y="32"/>
                  </a:lnTo>
                  <a:lnTo>
                    <a:pt x="100" y="42"/>
                  </a:lnTo>
                  <a:lnTo>
                    <a:pt x="101" y="55"/>
                  </a:lnTo>
                  <a:lnTo>
                    <a:pt x="100" y="66"/>
                  </a:lnTo>
                  <a:lnTo>
                    <a:pt x="97" y="76"/>
                  </a:lnTo>
                  <a:lnTo>
                    <a:pt x="92" y="85"/>
                  </a:lnTo>
                  <a:lnTo>
                    <a:pt x="87" y="93"/>
                  </a:lnTo>
                  <a:lnTo>
                    <a:pt x="80" y="99"/>
                  </a:lnTo>
                  <a:lnTo>
                    <a:pt x="71" y="103"/>
                  </a:lnTo>
                  <a:lnTo>
                    <a:pt x="62" y="106"/>
                  </a:lnTo>
                  <a:lnTo>
                    <a:pt x="51" y="108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3"/>
                  </a:lnTo>
                  <a:lnTo>
                    <a:pt x="8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close/>
                  <a:moveTo>
                    <a:pt x="67" y="55"/>
                  </a:moveTo>
                  <a:lnTo>
                    <a:pt x="67" y="55"/>
                  </a:lnTo>
                  <a:lnTo>
                    <a:pt x="65" y="40"/>
                  </a:lnTo>
                  <a:lnTo>
                    <a:pt x="62" y="30"/>
                  </a:lnTo>
                  <a:lnTo>
                    <a:pt x="61" y="27"/>
                  </a:lnTo>
                  <a:lnTo>
                    <a:pt x="58" y="24"/>
                  </a:lnTo>
                  <a:lnTo>
                    <a:pt x="54" y="23"/>
                  </a:lnTo>
                  <a:lnTo>
                    <a:pt x="51" y="23"/>
                  </a:lnTo>
                  <a:lnTo>
                    <a:pt x="46" y="23"/>
                  </a:lnTo>
                  <a:lnTo>
                    <a:pt x="44" y="24"/>
                  </a:lnTo>
                  <a:lnTo>
                    <a:pt x="41" y="27"/>
                  </a:lnTo>
                  <a:lnTo>
                    <a:pt x="38" y="30"/>
                  </a:lnTo>
                  <a:lnTo>
                    <a:pt x="35" y="40"/>
                  </a:lnTo>
                  <a:lnTo>
                    <a:pt x="35" y="55"/>
                  </a:lnTo>
                  <a:lnTo>
                    <a:pt x="35" y="68"/>
                  </a:lnTo>
                  <a:lnTo>
                    <a:pt x="38" y="78"/>
                  </a:lnTo>
                  <a:lnTo>
                    <a:pt x="41" y="81"/>
                  </a:lnTo>
                  <a:lnTo>
                    <a:pt x="44" y="83"/>
                  </a:lnTo>
                  <a:lnTo>
                    <a:pt x="46" y="85"/>
                  </a:lnTo>
                  <a:lnTo>
                    <a:pt x="51" y="85"/>
                  </a:lnTo>
                  <a:lnTo>
                    <a:pt x="54" y="85"/>
                  </a:lnTo>
                  <a:lnTo>
                    <a:pt x="58" y="83"/>
                  </a:lnTo>
                  <a:lnTo>
                    <a:pt x="61" y="81"/>
                  </a:lnTo>
                  <a:lnTo>
                    <a:pt x="62" y="78"/>
                  </a:lnTo>
                  <a:lnTo>
                    <a:pt x="65" y="68"/>
                  </a:lnTo>
                  <a:lnTo>
                    <a:pt x="67" y="55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1" name="Freeform 45">
              <a:extLst>
                <a:ext uri="{FF2B5EF4-FFF2-40B4-BE49-F238E27FC236}">
                  <a16:creationId xmlns:a16="http://schemas.microsoft.com/office/drawing/2014/main" id="{AD622A93-5C56-DCB0-F52B-50BDAFE6A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5238" y="4217988"/>
              <a:ext cx="31750" cy="101600"/>
            </a:xfrm>
            <a:custGeom>
              <a:avLst/>
              <a:gdLst>
                <a:gd name="T0" fmla="*/ 23 w 61"/>
                <a:gd name="T1" fmla="*/ 46 h 190"/>
                <a:gd name="T2" fmla="*/ 58 w 61"/>
                <a:gd name="T3" fmla="*/ 46 h 190"/>
                <a:gd name="T4" fmla="*/ 58 w 61"/>
                <a:gd name="T5" fmla="*/ 154 h 190"/>
                <a:gd name="T6" fmla="*/ 58 w 61"/>
                <a:gd name="T7" fmla="*/ 162 h 190"/>
                <a:gd name="T8" fmla="*/ 55 w 61"/>
                <a:gd name="T9" fmla="*/ 169 h 190"/>
                <a:gd name="T10" fmla="*/ 52 w 61"/>
                <a:gd name="T11" fmla="*/ 177 h 190"/>
                <a:gd name="T12" fmla="*/ 48 w 61"/>
                <a:gd name="T13" fmla="*/ 181 h 190"/>
                <a:gd name="T14" fmla="*/ 42 w 61"/>
                <a:gd name="T15" fmla="*/ 185 h 190"/>
                <a:gd name="T16" fmla="*/ 35 w 61"/>
                <a:gd name="T17" fmla="*/ 188 h 190"/>
                <a:gd name="T18" fmla="*/ 28 w 61"/>
                <a:gd name="T19" fmla="*/ 190 h 190"/>
                <a:gd name="T20" fmla="*/ 19 w 61"/>
                <a:gd name="T21" fmla="*/ 190 h 190"/>
                <a:gd name="T22" fmla="*/ 9 w 61"/>
                <a:gd name="T23" fmla="*/ 190 h 190"/>
                <a:gd name="T24" fmla="*/ 0 w 61"/>
                <a:gd name="T25" fmla="*/ 187 h 190"/>
                <a:gd name="T26" fmla="*/ 0 w 61"/>
                <a:gd name="T27" fmla="*/ 167 h 190"/>
                <a:gd name="T28" fmla="*/ 6 w 61"/>
                <a:gd name="T29" fmla="*/ 167 h 190"/>
                <a:gd name="T30" fmla="*/ 12 w 61"/>
                <a:gd name="T31" fmla="*/ 168 h 190"/>
                <a:gd name="T32" fmla="*/ 16 w 61"/>
                <a:gd name="T33" fmla="*/ 167 h 190"/>
                <a:gd name="T34" fmla="*/ 19 w 61"/>
                <a:gd name="T35" fmla="*/ 165 h 190"/>
                <a:gd name="T36" fmla="*/ 23 w 61"/>
                <a:gd name="T37" fmla="*/ 161 h 190"/>
                <a:gd name="T38" fmla="*/ 23 w 61"/>
                <a:gd name="T39" fmla="*/ 154 h 190"/>
                <a:gd name="T40" fmla="*/ 23 w 61"/>
                <a:gd name="T41" fmla="*/ 46 h 190"/>
                <a:gd name="T42" fmla="*/ 41 w 61"/>
                <a:gd name="T43" fmla="*/ 39 h 190"/>
                <a:gd name="T44" fmla="*/ 41 w 61"/>
                <a:gd name="T45" fmla="*/ 39 h 190"/>
                <a:gd name="T46" fmla="*/ 36 w 61"/>
                <a:gd name="T47" fmla="*/ 39 h 190"/>
                <a:gd name="T48" fmla="*/ 33 w 61"/>
                <a:gd name="T49" fmla="*/ 37 h 190"/>
                <a:gd name="T50" fmla="*/ 31 w 61"/>
                <a:gd name="T51" fmla="*/ 36 h 190"/>
                <a:gd name="T52" fmla="*/ 28 w 61"/>
                <a:gd name="T53" fmla="*/ 33 h 190"/>
                <a:gd name="T54" fmla="*/ 25 w 61"/>
                <a:gd name="T55" fmla="*/ 30 h 190"/>
                <a:gd name="T56" fmla="*/ 23 w 61"/>
                <a:gd name="T57" fmla="*/ 27 h 190"/>
                <a:gd name="T58" fmla="*/ 22 w 61"/>
                <a:gd name="T59" fmla="*/ 23 h 190"/>
                <a:gd name="T60" fmla="*/ 22 w 61"/>
                <a:gd name="T61" fmla="*/ 20 h 190"/>
                <a:gd name="T62" fmla="*/ 22 w 61"/>
                <a:gd name="T63" fmla="*/ 16 h 190"/>
                <a:gd name="T64" fmla="*/ 23 w 61"/>
                <a:gd name="T65" fmla="*/ 11 h 190"/>
                <a:gd name="T66" fmla="*/ 25 w 61"/>
                <a:gd name="T67" fmla="*/ 9 h 190"/>
                <a:gd name="T68" fmla="*/ 28 w 61"/>
                <a:gd name="T69" fmla="*/ 6 h 190"/>
                <a:gd name="T70" fmla="*/ 31 w 61"/>
                <a:gd name="T71" fmla="*/ 4 h 190"/>
                <a:gd name="T72" fmla="*/ 33 w 61"/>
                <a:gd name="T73" fmla="*/ 1 h 190"/>
                <a:gd name="T74" fmla="*/ 36 w 61"/>
                <a:gd name="T75" fmla="*/ 1 h 190"/>
                <a:gd name="T76" fmla="*/ 41 w 61"/>
                <a:gd name="T77" fmla="*/ 0 h 190"/>
                <a:gd name="T78" fmla="*/ 45 w 61"/>
                <a:gd name="T79" fmla="*/ 1 h 190"/>
                <a:gd name="T80" fmla="*/ 49 w 61"/>
                <a:gd name="T81" fmla="*/ 1 h 190"/>
                <a:gd name="T82" fmla="*/ 52 w 61"/>
                <a:gd name="T83" fmla="*/ 4 h 190"/>
                <a:gd name="T84" fmla="*/ 55 w 61"/>
                <a:gd name="T85" fmla="*/ 6 h 190"/>
                <a:gd name="T86" fmla="*/ 58 w 61"/>
                <a:gd name="T87" fmla="*/ 9 h 190"/>
                <a:gd name="T88" fmla="*/ 59 w 61"/>
                <a:gd name="T89" fmla="*/ 11 h 190"/>
                <a:gd name="T90" fmla="*/ 59 w 61"/>
                <a:gd name="T91" fmla="*/ 16 h 190"/>
                <a:gd name="T92" fmla="*/ 61 w 61"/>
                <a:gd name="T93" fmla="*/ 20 h 190"/>
                <a:gd name="T94" fmla="*/ 59 w 61"/>
                <a:gd name="T95" fmla="*/ 23 h 190"/>
                <a:gd name="T96" fmla="*/ 59 w 61"/>
                <a:gd name="T97" fmla="*/ 27 h 190"/>
                <a:gd name="T98" fmla="*/ 58 w 61"/>
                <a:gd name="T99" fmla="*/ 30 h 190"/>
                <a:gd name="T100" fmla="*/ 55 w 61"/>
                <a:gd name="T101" fmla="*/ 33 h 190"/>
                <a:gd name="T102" fmla="*/ 52 w 61"/>
                <a:gd name="T103" fmla="*/ 36 h 190"/>
                <a:gd name="T104" fmla="*/ 49 w 61"/>
                <a:gd name="T105" fmla="*/ 37 h 190"/>
                <a:gd name="T106" fmla="*/ 45 w 61"/>
                <a:gd name="T107" fmla="*/ 39 h 190"/>
                <a:gd name="T108" fmla="*/ 41 w 61"/>
                <a:gd name="T109" fmla="*/ 3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1" h="190">
                  <a:moveTo>
                    <a:pt x="23" y="46"/>
                  </a:moveTo>
                  <a:lnTo>
                    <a:pt x="58" y="46"/>
                  </a:lnTo>
                  <a:lnTo>
                    <a:pt x="58" y="154"/>
                  </a:lnTo>
                  <a:lnTo>
                    <a:pt x="58" y="162"/>
                  </a:lnTo>
                  <a:lnTo>
                    <a:pt x="55" y="169"/>
                  </a:lnTo>
                  <a:lnTo>
                    <a:pt x="52" y="177"/>
                  </a:lnTo>
                  <a:lnTo>
                    <a:pt x="48" y="181"/>
                  </a:lnTo>
                  <a:lnTo>
                    <a:pt x="42" y="185"/>
                  </a:lnTo>
                  <a:lnTo>
                    <a:pt x="35" y="188"/>
                  </a:lnTo>
                  <a:lnTo>
                    <a:pt x="28" y="190"/>
                  </a:lnTo>
                  <a:lnTo>
                    <a:pt x="19" y="190"/>
                  </a:lnTo>
                  <a:lnTo>
                    <a:pt x="9" y="190"/>
                  </a:lnTo>
                  <a:lnTo>
                    <a:pt x="0" y="187"/>
                  </a:lnTo>
                  <a:lnTo>
                    <a:pt x="0" y="167"/>
                  </a:lnTo>
                  <a:lnTo>
                    <a:pt x="6" y="167"/>
                  </a:lnTo>
                  <a:lnTo>
                    <a:pt x="12" y="168"/>
                  </a:lnTo>
                  <a:lnTo>
                    <a:pt x="16" y="167"/>
                  </a:lnTo>
                  <a:lnTo>
                    <a:pt x="19" y="165"/>
                  </a:lnTo>
                  <a:lnTo>
                    <a:pt x="23" y="161"/>
                  </a:lnTo>
                  <a:lnTo>
                    <a:pt x="23" y="154"/>
                  </a:lnTo>
                  <a:lnTo>
                    <a:pt x="23" y="46"/>
                  </a:lnTo>
                  <a:close/>
                  <a:moveTo>
                    <a:pt x="41" y="39"/>
                  </a:moveTo>
                  <a:lnTo>
                    <a:pt x="41" y="39"/>
                  </a:lnTo>
                  <a:lnTo>
                    <a:pt x="36" y="39"/>
                  </a:lnTo>
                  <a:lnTo>
                    <a:pt x="33" y="37"/>
                  </a:lnTo>
                  <a:lnTo>
                    <a:pt x="31" y="36"/>
                  </a:lnTo>
                  <a:lnTo>
                    <a:pt x="28" y="33"/>
                  </a:lnTo>
                  <a:lnTo>
                    <a:pt x="25" y="30"/>
                  </a:lnTo>
                  <a:lnTo>
                    <a:pt x="23" y="27"/>
                  </a:lnTo>
                  <a:lnTo>
                    <a:pt x="22" y="23"/>
                  </a:lnTo>
                  <a:lnTo>
                    <a:pt x="22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1" y="4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41" y="0"/>
                  </a:lnTo>
                  <a:lnTo>
                    <a:pt x="45" y="1"/>
                  </a:lnTo>
                  <a:lnTo>
                    <a:pt x="49" y="1"/>
                  </a:lnTo>
                  <a:lnTo>
                    <a:pt x="52" y="4"/>
                  </a:lnTo>
                  <a:lnTo>
                    <a:pt x="55" y="6"/>
                  </a:lnTo>
                  <a:lnTo>
                    <a:pt x="58" y="9"/>
                  </a:lnTo>
                  <a:lnTo>
                    <a:pt x="59" y="11"/>
                  </a:lnTo>
                  <a:lnTo>
                    <a:pt x="59" y="16"/>
                  </a:lnTo>
                  <a:lnTo>
                    <a:pt x="61" y="20"/>
                  </a:lnTo>
                  <a:lnTo>
                    <a:pt x="59" y="23"/>
                  </a:lnTo>
                  <a:lnTo>
                    <a:pt x="59" y="27"/>
                  </a:lnTo>
                  <a:lnTo>
                    <a:pt x="58" y="30"/>
                  </a:lnTo>
                  <a:lnTo>
                    <a:pt x="55" y="33"/>
                  </a:lnTo>
                  <a:lnTo>
                    <a:pt x="52" y="36"/>
                  </a:lnTo>
                  <a:lnTo>
                    <a:pt x="49" y="37"/>
                  </a:lnTo>
                  <a:lnTo>
                    <a:pt x="45" y="39"/>
                  </a:lnTo>
                  <a:lnTo>
                    <a:pt x="41" y="39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2" name="Freeform 46">
              <a:extLst>
                <a:ext uri="{FF2B5EF4-FFF2-40B4-BE49-F238E27FC236}">
                  <a16:creationId xmlns:a16="http://schemas.microsoft.com/office/drawing/2014/main" id="{199E4431-D202-D06F-D396-487114F0F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8100" y="4217988"/>
              <a:ext cx="19050" cy="79375"/>
            </a:xfrm>
            <a:custGeom>
              <a:avLst/>
              <a:gdLst>
                <a:gd name="T0" fmla="*/ 18 w 38"/>
                <a:gd name="T1" fmla="*/ 39 h 148"/>
                <a:gd name="T2" fmla="*/ 15 w 38"/>
                <a:gd name="T3" fmla="*/ 39 h 148"/>
                <a:gd name="T4" fmla="*/ 11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2 w 38"/>
                <a:gd name="T11" fmla="*/ 30 h 148"/>
                <a:gd name="T12" fmla="*/ 1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1 w 38"/>
                <a:gd name="T21" fmla="*/ 11 h 148"/>
                <a:gd name="T22" fmla="*/ 2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1 w 38"/>
                <a:gd name="T29" fmla="*/ 1 h 148"/>
                <a:gd name="T30" fmla="*/ 15 w 38"/>
                <a:gd name="T31" fmla="*/ 1 h 148"/>
                <a:gd name="T32" fmla="*/ 18 w 38"/>
                <a:gd name="T33" fmla="*/ 0 h 148"/>
                <a:gd name="T34" fmla="*/ 23 w 38"/>
                <a:gd name="T35" fmla="*/ 1 h 148"/>
                <a:gd name="T36" fmla="*/ 27 w 38"/>
                <a:gd name="T37" fmla="*/ 1 h 148"/>
                <a:gd name="T38" fmla="*/ 30 w 38"/>
                <a:gd name="T39" fmla="*/ 4 h 148"/>
                <a:gd name="T40" fmla="*/ 33 w 38"/>
                <a:gd name="T41" fmla="*/ 6 h 148"/>
                <a:gd name="T42" fmla="*/ 36 w 38"/>
                <a:gd name="T43" fmla="*/ 9 h 148"/>
                <a:gd name="T44" fmla="*/ 37 w 38"/>
                <a:gd name="T45" fmla="*/ 11 h 148"/>
                <a:gd name="T46" fmla="*/ 37 w 38"/>
                <a:gd name="T47" fmla="*/ 16 h 148"/>
                <a:gd name="T48" fmla="*/ 38 w 38"/>
                <a:gd name="T49" fmla="*/ 20 h 148"/>
                <a:gd name="T50" fmla="*/ 37 w 38"/>
                <a:gd name="T51" fmla="*/ 23 h 148"/>
                <a:gd name="T52" fmla="*/ 37 w 38"/>
                <a:gd name="T53" fmla="*/ 27 h 148"/>
                <a:gd name="T54" fmla="*/ 36 w 38"/>
                <a:gd name="T55" fmla="*/ 30 h 148"/>
                <a:gd name="T56" fmla="*/ 33 w 38"/>
                <a:gd name="T57" fmla="*/ 33 h 148"/>
                <a:gd name="T58" fmla="*/ 30 w 38"/>
                <a:gd name="T59" fmla="*/ 36 h 148"/>
                <a:gd name="T60" fmla="*/ 27 w 38"/>
                <a:gd name="T61" fmla="*/ 37 h 148"/>
                <a:gd name="T62" fmla="*/ 23 w 38"/>
                <a:gd name="T63" fmla="*/ 39 h 148"/>
                <a:gd name="T64" fmla="*/ 18 w 38"/>
                <a:gd name="T65" fmla="*/ 39 h 148"/>
                <a:gd name="T66" fmla="*/ 1 w 38"/>
                <a:gd name="T67" fmla="*/ 46 h 148"/>
                <a:gd name="T68" fmla="*/ 1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1 w 38"/>
                <a:gd name="T75" fmla="*/ 148 h 148"/>
                <a:gd name="T76" fmla="*/ 1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8" y="39"/>
                  </a:moveTo>
                  <a:lnTo>
                    <a:pt x="15" y="39"/>
                  </a:lnTo>
                  <a:lnTo>
                    <a:pt x="11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2" y="30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2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1" y="1"/>
                  </a:lnTo>
                  <a:lnTo>
                    <a:pt x="15" y="1"/>
                  </a:lnTo>
                  <a:lnTo>
                    <a:pt x="18" y="0"/>
                  </a:lnTo>
                  <a:lnTo>
                    <a:pt x="23" y="1"/>
                  </a:lnTo>
                  <a:lnTo>
                    <a:pt x="27" y="1"/>
                  </a:lnTo>
                  <a:lnTo>
                    <a:pt x="30" y="4"/>
                  </a:lnTo>
                  <a:lnTo>
                    <a:pt x="33" y="6"/>
                  </a:lnTo>
                  <a:lnTo>
                    <a:pt x="36" y="9"/>
                  </a:lnTo>
                  <a:lnTo>
                    <a:pt x="37" y="11"/>
                  </a:lnTo>
                  <a:lnTo>
                    <a:pt x="37" y="16"/>
                  </a:lnTo>
                  <a:lnTo>
                    <a:pt x="38" y="20"/>
                  </a:lnTo>
                  <a:lnTo>
                    <a:pt x="37" y="23"/>
                  </a:lnTo>
                  <a:lnTo>
                    <a:pt x="37" y="27"/>
                  </a:lnTo>
                  <a:lnTo>
                    <a:pt x="36" y="30"/>
                  </a:lnTo>
                  <a:lnTo>
                    <a:pt x="33" y="33"/>
                  </a:lnTo>
                  <a:lnTo>
                    <a:pt x="30" y="36"/>
                  </a:lnTo>
                  <a:lnTo>
                    <a:pt x="27" y="37"/>
                  </a:lnTo>
                  <a:lnTo>
                    <a:pt x="23" y="39"/>
                  </a:lnTo>
                  <a:lnTo>
                    <a:pt x="18" y="39"/>
                  </a:lnTo>
                  <a:close/>
                  <a:moveTo>
                    <a:pt x="1" y="46"/>
                  </a:moveTo>
                  <a:lnTo>
                    <a:pt x="1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1" y="148"/>
                  </a:lnTo>
                  <a:lnTo>
                    <a:pt x="1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3" name="Freeform 47">
              <a:extLst>
                <a:ext uri="{FF2B5EF4-FFF2-40B4-BE49-F238E27FC236}">
                  <a16:creationId xmlns:a16="http://schemas.microsoft.com/office/drawing/2014/main" id="{1A5925DE-FDE8-08EA-BBF1-0D8C7E25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241800"/>
              <a:ext cx="47625" cy="57150"/>
            </a:xfrm>
            <a:custGeom>
              <a:avLst/>
              <a:gdLst>
                <a:gd name="T0" fmla="*/ 54 w 90"/>
                <a:gd name="T1" fmla="*/ 27 h 108"/>
                <a:gd name="T2" fmla="*/ 46 w 90"/>
                <a:gd name="T3" fmla="*/ 22 h 108"/>
                <a:gd name="T4" fmla="*/ 38 w 90"/>
                <a:gd name="T5" fmla="*/ 22 h 108"/>
                <a:gd name="T6" fmla="*/ 32 w 90"/>
                <a:gd name="T7" fmla="*/ 26 h 108"/>
                <a:gd name="T8" fmla="*/ 31 w 90"/>
                <a:gd name="T9" fmla="*/ 33 h 108"/>
                <a:gd name="T10" fmla="*/ 33 w 90"/>
                <a:gd name="T11" fmla="*/ 36 h 108"/>
                <a:gd name="T12" fmla="*/ 42 w 90"/>
                <a:gd name="T13" fmla="*/ 39 h 108"/>
                <a:gd name="T14" fmla="*/ 65 w 90"/>
                <a:gd name="T15" fmla="*/ 43 h 108"/>
                <a:gd name="T16" fmla="*/ 82 w 90"/>
                <a:gd name="T17" fmla="*/ 52 h 108"/>
                <a:gd name="T18" fmla="*/ 88 w 90"/>
                <a:gd name="T19" fmla="*/ 65 h 108"/>
                <a:gd name="T20" fmla="*/ 88 w 90"/>
                <a:gd name="T21" fmla="*/ 81 h 108"/>
                <a:gd name="T22" fmla="*/ 82 w 90"/>
                <a:gd name="T23" fmla="*/ 93 h 108"/>
                <a:gd name="T24" fmla="*/ 71 w 90"/>
                <a:gd name="T25" fmla="*/ 102 h 108"/>
                <a:gd name="T26" fmla="*/ 55 w 90"/>
                <a:gd name="T27" fmla="*/ 106 h 108"/>
                <a:gd name="T28" fmla="*/ 36 w 90"/>
                <a:gd name="T29" fmla="*/ 106 h 108"/>
                <a:gd name="T30" fmla="*/ 19 w 90"/>
                <a:gd name="T31" fmla="*/ 102 h 108"/>
                <a:gd name="T32" fmla="*/ 7 w 90"/>
                <a:gd name="T33" fmla="*/ 93 h 108"/>
                <a:gd name="T34" fmla="*/ 2 w 90"/>
                <a:gd name="T35" fmla="*/ 82 h 108"/>
                <a:gd name="T36" fmla="*/ 32 w 90"/>
                <a:gd name="T37" fmla="*/ 73 h 108"/>
                <a:gd name="T38" fmla="*/ 36 w 90"/>
                <a:gd name="T39" fmla="*/ 83 h 108"/>
                <a:gd name="T40" fmla="*/ 46 w 90"/>
                <a:gd name="T41" fmla="*/ 86 h 108"/>
                <a:gd name="T42" fmla="*/ 55 w 90"/>
                <a:gd name="T43" fmla="*/ 85 h 108"/>
                <a:gd name="T44" fmla="*/ 59 w 90"/>
                <a:gd name="T45" fmla="*/ 78 h 108"/>
                <a:gd name="T46" fmla="*/ 58 w 90"/>
                <a:gd name="T47" fmla="*/ 73 h 108"/>
                <a:gd name="T48" fmla="*/ 54 w 90"/>
                <a:gd name="T49" fmla="*/ 70 h 108"/>
                <a:gd name="T50" fmla="*/ 38 w 90"/>
                <a:gd name="T51" fmla="*/ 66 h 108"/>
                <a:gd name="T52" fmla="*/ 12 w 90"/>
                <a:gd name="T53" fmla="*/ 58 h 108"/>
                <a:gd name="T54" fmla="*/ 3 w 90"/>
                <a:gd name="T55" fmla="*/ 49 h 108"/>
                <a:gd name="T56" fmla="*/ 0 w 90"/>
                <a:gd name="T57" fmla="*/ 35 h 108"/>
                <a:gd name="T58" fmla="*/ 3 w 90"/>
                <a:gd name="T59" fmla="*/ 20 h 108"/>
                <a:gd name="T60" fmla="*/ 13 w 90"/>
                <a:gd name="T61" fmla="*/ 9 h 108"/>
                <a:gd name="T62" fmla="*/ 26 w 90"/>
                <a:gd name="T63" fmla="*/ 3 h 108"/>
                <a:gd name="T64" fmla="*/ 42 w 90"/>
                <a:gd name="T65" fmla="*/ 0 h 108"/>
                <a:gd name="T66" fmla="*/ 61 w 90"/>
                <a:gd name="T67" fmla="*/ 3 h 108"/>
                <a:gd name="T68" fmla="*/ 75 w 90"/>
                <a:gd name="T69" fmla="*/ 9 h 108"/>
                <a:gd name="T70" fmla="*/ 84 w 90"/>
                <a:gd name="T71" fmla="*/ 19 h 108"/>
                <a:gd name="T72" fmla="*/ 87 w 90"/>
                <a:gd name="T73" fmla="*/ 3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8">
                  <a:moveTo>
                    <a:pt x="54" y="33"/>
                  </a:moveTo>
                  <a:lnTo>
                    <a:pt x="54" y="27"/>
                  </a:lnTo>
                  <a:lnTo>
                    <a:pt x="51" y="24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3" y="23"/>
                  </a:lnTo>
                  <a:lnTo>
                    <a:pt x="32" y="26"/>
                  </a:lnTo>
                  <a:lnTo>
                    <a:pt x="31" y="30"/>
                  </a:lnTo>
                  <a:lnTo>
                    <a:pt x="31" y="33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2" y="39"/>
                  </a:lnTo>
                  <a:lnTo>
                    <a:pt x="52" y="40"/>
                  </a:lnTo>
                  <a:lnTo>
                    <a:pt x="65" y="43"/>
                  </a:lnTo>
                  <a:lnTo>
                    <a:pt x="77" y="49"/>
                  </a:lnTo>
                  <a:lnTo>
                    <a:pt x="82" y="52"/>
                  </a:lnTo>
                  <a:lnTo>
                    <a:pt x="85" y="58"/>
                  </a:lnTo>
                  <a:lnTo>
                    <a:pt x="88" y="65"/>
                  </a:lnTo>
                  <a:lnTo>
                    <a:pt x="90" y="72"/>
                  </a:lnTo>
                  <a:lnTo>
                    <a:pt x="88" y="81"/>
                  </a:lnTo>
                  <a:lnTo>
                    <a:pt x="85" y="88"/>
                  </a:lnTo>
                  <a:lnTo>
                    <a:pt x="82" y="93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8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19" y="102"/>
                  </a:lnTo>
                  <a:lnTo>
                    <a:pt x="13" y="99"/>
                  </a:lnTo>
                  <a:lnTo>
                    <a:pt x="7" y="93"/>
                  </a:lnTo>
                  <a:lnTo>
                    <a:pt x="3" y="88"/>
                  </a:lnTo>
                  <a:lnTo>
                    <a:pt x="2" y="82"/>
                  </a:lnTo>
                  <a:lnTo>
                    <a:pt x="0" y="73"/>
                  </a:lnTo>
                  <a:lnTo>
                    <a:pt x="32" y="73"/>
                  </a:lnTo>
                  <a:lnTo>
                    <a:pt x="33" y="79"/>
                  </a:lnTo>
                  <a:lnTo>
                    <a:pt x="36" y="83"/>
                  </a:lnTo>
                  <a:lnTo>
                    <a:pt x="41" y="86"/>
                  </a:lnTo>
                  <a:lnTo>
                    <a:pt x="46" y="86"/>
                  </a:lnTo>
                  <a:lnTo>
                    <a:pt x="51" y="86"/>
                  </a:lnTo>
                  <a:lnTo>
                    <a:pt x="55" y="85"/>
                  </a:lnTo>
                  <a:lnTo>
                    <a:pt x="58" y="82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58" y="73"/>
                  </a:lnTo>
                  <a:lnTo>
                    <a:pt x="55" y="72"/>
                  </a:lnTo>
                  <a:lnTo>
                    <a:pt x="54" y="70"/>
                  </a:lnTo>
                  <a:lnTo>
                    <a:pt x="46" y="69"/>
                  </a:lnTo>
                  <a:lnTo>
                    <a:pt x="38" y="66"/>
                  </a:lnTo>
                  <a:lnTo>
                    <a:pt x="23" y="63"/>
                  </a:lnTo>
                  <a:lnTo>
                    <a:pt x="12" y="58"/>
                  </a:lnTo>
                  <a:lnTo>
                    <a:pt x="7" y="55"/>
                  </a:lnTo>
                  <a:lnTo>
                    <a:pt x="3" y="49"/>
                  </a:lnTo>
                  <a:lnTo>
                    <a:pt x="2" y="42"/>
                  </a:lnTo>
                  <a:lnTo>
                    <a:pt x="0" y="35"/>
                  </a:lnTo>
                  <a:lnTo>
                    <a:pt x="2" y="26"/>
                  </a:lnTo>
                  <a:lnTo>
                    <a:pt x="3" y="20"/>
                  </a:lnTo>
                  <a:lnTo>
                    <a:pt x="7" y="14"/>
                  </a:lnTo>
                  <a:lnTo>
                    <a:pt x="13" y="9"/>
                  </a:lnTo>
                  <a:lnTo>
                    <a:pt x="19" y="6"/>
                  </a:lnTo>
                  <a:lnTo>
                    <a:pt x="26" y="3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52" y="2"/>
                  </a:lnTo>
                  <a:lnTo>
                    <a:pt x="61" y="3"/>
                  </a:lnTo>
                  <a:lnTo>
                    <a:pt x="69" y="6"/>
                  </a:lnTo>
                  <a:lnTo>
                    <a:pt x="75" y="9"/>
                  </a:lnTo>
                  <a:lnTo>
                    <a:pt x="79" y="13"/>
                  </a:lnTo>
                  <a:lnTo>
                    <a:pt x="84" y="19"/>
                  </a:lnTo>
                  <a:lnTo>
                    <a:pt x="85" y="24"/>
                  </a:lnTo>
                  <a:lnTo>
                    <a:pt x="87" y="33"/>
                  </a:lnTo>
                  <a:lnTo>
                    <a:pt x="54" y="3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4" name="Freeform 48">
              <a:extLst>
                <a:ext uri="{FF2B5EF4-FFF2-40B4-BE49-F238E27FC236}">
                  <a16:creationId xmlns:a16="http://schemas.microsoft.com/office/drawing/2014/main" id="{DBD6A5AD-6AE9-615E-3D49-0200B77EF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9063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1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5 w 73"/>
                <a:gd name="T35" fmla="*/ 103 h 129"/>
                <a:gd name="T36" fmla="*/ 15 w 73"/>
                <a:gd name="T37" fmla="*/ 94 h 129"/>
                <a:gd name="T38" fmla="*/ 15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5 w 73"/>
                <a:gd name="T45" fmla="*/ 24 h 129"/>
                <a:gd name="T46" fmla="*/ 15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1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5" y="103"/>
                  </a:lnTo>
                  <a:lnTo>
                    <a:pt x="15" y="94"/>
                  </a:lnTo>
                  <a:lnTo>
                    <a:pt x="15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5" y="24"/>
                  </a:lnTo>
                  <a:lnTo>
                    <a:pt x="15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5" name="Freeform 49">
              <a:extLst>
                <a:ext uri="{FF2B5EF4-FFF2-40B4-BE49-F238E27FC236}">
                  <a16:creationId xmlns:a16="http://schemas.microsoft.com/office/drawing/2014/main" id="{C78B869B-8E42-E8D2-8D6A-F7769B84E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96688" y="4217988"/>
              <a:ext cx="20638" cy="79375"/>
            </a:xfrm>
            <a:custGeom>
              <a:avLst/>
              <a:gdLst>
                <a:gd name="T0" fmla="*/ 19 w 38"/>
                <a:gd name="T1" fmla="*/ 39 h 148"/>
                <a:gd name="T2" fmla="*/ 15 w 38"/>
                <a:gd name="T3" fmla="*/ 39 h 148"/>
                <a:gd name="T4" fmla="*/ 10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3 w 38"/>
                <a:gd name="T11" fmla="*/ 30 h 148"/>
                <a:gd name="T12" fmla="*/ 0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0 w 38"/>
                <a:gd name="T21" fmla="*/ 11 h 148"/>
                <a:gd name="T22" fmla="*/ 3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0 w 38"/>
                <a:gd name="T29" fmla="*/ 1 h 148"/>
                <a:gd name="T30" fmla="*/ 15 w 38"/>
                <a:gd name="T31" fmla="*/ 1 h 148"/>
                <a:gd name="T32" fmla="*/ 19 w 38"/>
                <a:gd name="T33" fmla="*/ 0 h 148"/>
                <a:gd name="T34" fmla="*/ 23 w 38"/>
                <a:gd name="T35" fmla="*/ 1 h 148"/>
                <a:gd name="T36" fmla="*/ 26 w 38"/>
                <a:gd name="T37" fmla="*/ 1 h 148"/>
                <a:gd name="T38" fmla="*/ 31 w 38"/>
                <a:gd name="T39" fmla="*/ 4 h 148"/>
                <a:gd name="T40" fmla="*/ 32 w 38"/>
                <a:gd name="T41" fmla="*/ 6 h 148"/>
                <a:gd name="T42" fmla="*/ 35 w 38"/>
                <a:gd name="T43" fmla="*/ 9 h 148"/>
                <a:gd name="T44" fmla="*/ 36 w 38"/>
                <a:gd name="T45" fmla="*/ 11 h 148"/>
                <a:gd name="T46" fmla="*/ 38 w 38"/>
                <a:gd name="T47" fmla="*/ 16 h 148"/>
                <a:gd name="T48" fmla="*/ 38 w 38"/>
                <a:gd name="T49" fmla="*/ 20 h 148"/>
                <a:gd name="T50" fmla="*/ 38 w 38"/>
                <a:gd name="T51" fmla="*/ 23 h 148"/>
                <a:gd name="T52" fmla="*/ 36 w 38"/>
                <a:gd name="T53" fmla="*/ 27 h 148"/>
                <a:gd name="T54" fmla="*/ 35 w 38"/>
                <a:gd name="T55" fmla="*/ 30 h 148"/>
                <a:gd name="T56" fmla="*/ 32 w 38"/>
                <a:gd name="T57" fmla="*/ 33 h 148"/>
                <a:gd name="T58" fmla="*/ 31 w 38"/>
                <a:gd name="T59" fmla="*/ 36 h 148"/>
                <a:gd name="T60" fmla="*/ 26 w 38"/>
                <a:gd name="T61" fmla="*/ 37 h 148"/>
                <a:gd name="T62" fmla="*/ 23 w 38"/>
                <a:gd name="T63" fmla="*/ 39 h 148"/>
                <a:gd name="T64" fmla="*/ 19 w 38"/>
                <a:gd name="T65" fmla="*/ 39 h 148"/>
                <a:gd name="T66" fmla="*/ 2 w 38"/>
                <a:gd name="T67" fmla="*/ 46 h 148"/>
                <a:gd name="T68" fmla="*/ 2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2 w 38"/>
                <a:gd name="T75" fmla="*/ 148 h 148"/>
                <a:gd name="T76" fmla="*/ 2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9" y="39"/>
                  </a:moveTo>
                  <a:lnTo>
                    <a:pt x="15" y="39"/>
                  </a:lnTo>
                  <a:lnTo>
                    <a:pt x="10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3" y="30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3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0" y="1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1"/>
                  </a:lnTo>
                  <a:lnTo>
                    <a:pt x="26" y="1"/>
                  </a:lnTo>
                  <a:lnTo>
                    <a:pt x="31" y="4"/>
                  </a:lnTo>
                  <a:lnTo>
                    <a:pt x="32" y="6"/>
                  </a:lnTo>
                  <a:lnTo>
                    <a:pt x="35" y="9"/>
                  </a:lnTo>
                  <a:lnTo>
                    <a:pt x="36" y="11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3"/>
                  </a:lnTo>
                  <a:lnTo>
                    <a:pt x="36" y="27"/>
                  </a:lnTo>
                  <a:lnTo>
                    <a:pt x="35" y="30"/>
                  </a:lnTo>
                  <a:lnTo>
                    <a:pt x="32" y="33"/>
                  </a:lnTo>
                  <a:lnTo>
                    <a:pt x="31" y="36"/>
                  </a:lnTo>
                  <a:lnTo>
                    <a:pt x="26" y="37"/>
                  </a:lnTo>
                  <a:lnTo>
                    <a:pt x="23" y="39"/>
                  </a:lnTo>
                  <a:lnTo>
                    <a:pt x="19" y="39"/>
                  </a:lnTo>
                  <a:close/>
                  <a:moveTo>
                    <a:pt x="2" y="46"/>
                  </a:moveTo>
                  <a:lnTo>
                    <a:pt x="2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2" y="148"/>
                  </a:lnTo>
                  <a:lnTo>
                    <a:pt x="2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6" name="Freeform 50">
              <a:extLst>
                <a:ext uri="{FF2B5EF4-FFF2-40B4-BE49-F238E27FC236}">
                  <a16:creationId xmlns:a16="http://schemas.microsoft.com/office/drawing/2014/main" id="{0BC003C0-7CEB-4EEE-86DF-050663C2D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3675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2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6 w 73"/>
                <a:gd name="T35" fmla="*/ 103 h 129"/>
                <a:gd name="T36" fmla="*/ 16 w 73"/>
                <a:gd name="T37" fmla="*/ 94 h 129"/>
                <a:gd name="T38" fmla="*/ 16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6 w 73"/>
                <a:gd name="T45" fmla="*/ 24 h 129"/>
                <a:gd name="T46" fmla="*/ 16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2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6" y="103"/>
                  </a:lnTo>
                  <a:lnTo>
                    <a:pt x="16" y="94"/>
                  </a:lnTo>
                  <a:lnTo>
                    <a:pt x="16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7" name="Freeform 51">
              <a:extLst>
                <a:ext uri="{FF2B5EF4-FFF2-40B4-BE49-F238E27FC236}">
                  <a16:creationId xmlns:a16="http://schemas.microsoft.com/office/drawing/2014/main" id="{60650915-FC84-12C3-2893-EE34D34C4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9713" y="4241800"/>
              <a:ext cx="49213" cy="57150"/>
            </a:xfrm>
            <a:custGeom>
              <a:avLst/>
              <a:gdLst>
                <a:gd name="T0" fmla="*/ 94 w 95"/>
                <a:gd name="T1" fmla="*/ 73 h 108"/>
                <a:gd name="T2" fmla="*/ 92 w 95"/>
                <a:gd name="T3" fmla="*/ 81 h 108"/>
                <a:gd name="T4" fmla="*/ 89 w 95"/>
                <a:gd name="T5" fmla="*/ 88 h 108"/>
                <a:gd name="T6" fmla="*/ 85 w 95"/>
                <a:gd name="T7" fmla="*/ 93 h 108"/>
                <a:gd name="T8" fmla="*/ 79 w 95"/>
                <a:gd name="T9" fmla="*/ 98 h 108"/>
                <a:gd name="T10" fmla="*/ 72 w 95"/>
                <a:gd name="T11" fmla="*/ 102 h 108"/>
                <a:gd name="T12" fmla="*/ 65 w 95"/>
                <a:gd name="T13" fmla="*/ 105 h 108"/>
                <a:gd name="T14" fmla="*/ 58 w 95"/>
                <a:gd name="T15" fmla="*/ 106 h 108"/>
                <a:gd name="T16" fmla="*/ 48 w 95"/>
                <a:gd name="T17" fmla="*/ 108 h 108"/>
                <a:gd name="T18" fmla="*/ 36 w 95"/>
                <a:gd name="T19" fmla="*/ 106 h 108"/>
                <a:gd name="T20" fmla="*/ 26 w 95"/>
                <a:gd name="T21" fmla="*/ 103 h 108"/>
                <a:gd name="T22" fmla="*/ 19 w 95"/>
                <a:gd name="T23" fmla="*/ 99 h 108"/>
                <a:gd name="T24" fmla="*/ 12 w 95"/>
                <a:gd name="T25" fmla="*/ 93 h 108"/>
                <a:gd name="T26" fmla="*/ 6 w 95"/>
                <a:gd name="T27" fmla="*/ 85 h 108"/>
                <a:gd name="T28" fmla="*/ 3 w 95"/>
                <a:gd name="T29" fmla="*/ 76 h 108"/>
                <a:gd name="T30" fmla="*/ 0 w 95"/>
                <a:gd name="T31" fmla="*/ 66 h 108"/>
                <a:gd name="T32" fmla="*/ 0 w 95"/>
                <a:gd name="T33" fmla="*/ 55 h 108"/>
                <a:gd name="T34" fmla="*/ 0 w 95"/>
                <a:gd name="T35" fmla="*/ 42 h 108"/>
                <a:gd name="T36" fmla="*/ 3 w 95"/>
                <a:gd name="T37" fmla="*/ 32 h 108"/>
                <a:gd name="T38" fmla="*/ 7 w 95"/>
                <a:gd name="T39" fmla="*/ 23 h 108"/>
                <a:gd name="T40" fmla="*/ 13 w 95"/>
                <a:gd name="T41" fmla="*/ 14 h 108"/>
                <a:gd name="T42" fmla="*/ 20 w 95"/>
                <a:gd name="T43" fmla="*/ 9 h 108"/>
                <a:gd name="T44" fmla="*/ 29 w 95"/>
                <a:gd name="T45" fmla="*/ 4 h 108"/>
                <a:gd name="T46" fmla="*/ 38 w 95"/>
                <a:gd name="T47" fmla="*/ 2 h 108"/>
                <a:gd name="T48" fmla="*/ 48 w 95"/>
                <a:gd name="T49" fmla="*/ 0 h 108"/>
                <a:gd name="T50" fmla="*/ 58 w 95"/>
                <a:gd name="T51" fmla="*/ 2 h 108"/>
                <a:gd name="T52" fmla="*/ 68 w 95"/>
                <a:gd name="T53" fmla="*/ 4 h 108"/>
                <a:gd name="T54" fmla="*/ 76 w 95"/>
                <a:gd name="T55" fmla="*/ 9 h 108"/>
                <a:gd name="T56" fmla="*/ 84 w 95"/>
                <a:gd name="T57" fmla="*/ 14 h 108"/>
                <a:gd name="T58" fmla="*/ 88 w 95"/>
                <a:gd name="T59" fmla="*/ 23 h 108"/>
                <a:gd name="T60" fmla="*/ 92 w 95"/>
                <a:gd name="T61" fmla="*/ 33 h 108"/>
                <a:gd name="T62" fmla="*/ 95 w 95"/>
                <a:gd name="T63" fmla="*/ 46 h 108"/>
                <a:gd name="T64" fmla="*/ 94 w 95"/>
                <a:gd name="T65" fmla="*/ 62 h 108"/>
                <a:gd name="T66" fmla="*/ 33 w 95"/>
                <a:gd name="T67" fmla="*/ 62 h 108"/>
                <a:gd name="T68" fmla="*/ 35 w 95"/>
                <a:gd name="T69" fmla="*/ 73 h 108"/>
                <a:gd name="T70" fmla="*/ 38 w 95"/>
                <a:gd name="T71" fmla="*/ 81 h 108"/>
                <a:gd name="T72" fmla="*/ 39 w 95"/>
                <a:gd name="T73" fmla="*/ 82 h 108"/>
                <a:gd name="T74" fmla="*/ 42 w 95"/>
                <a:gd name="T75" fmla="*/ 83 h 108"/>
                <a:gd name="T76" fmla="*/ 45 w 95"/>
                <a:gd name="T77" fmla="*/ 85 h 108"/>
                <a:gd name="T78" fmla="*/ 48 w 95"/>
                <a:gd name="T79" fmla="*/ 85 h 108"/>
                <a:gd name="T80" fmla="*/ 53 w 95"/>
                <a:gd name="T81" fmla="*/ 85 h 108"/>
                <a:gd name="T82" fmla="*/ 56 w 95"/>
                <a:gd name="T83" fmla="*/ 82 h 108"/>
                <a:gd name="T84" fmla="*/ 59 w 95"/>
                <a:gd name="T85" fmla="*/ 79 h 108"/>
                <a:gd name="T86" fmla="*/ 61 w 95"/>
                <a:gd name="T87" fmla="*/ 73 h 108"/>
                <a:gd name="T88" fmla="*/ 94 w 95"/>
                <a:gd name="T89" fmla="*/ 73 h 108"/>
                <a:gd name="T90" fmla="*/ 33 w 95"/>
                <a:gd name="T91" fmla="*/ 43 h 108"/>
                <a:gd name="T92" fmla="*/ 33 w 95"/>
                <a:gd name="T93" fmla="*/ 43 h 108"/>
                <a:gd name="T94" fmla="*/ 62 w 95"/>
                <a:gd name="T95" fmla="*/ 43 h 108"/>
                <a:gd name="T96" fmla="*/ 61 w 95"/>
                <a:gd name="T97" fmla="*/ 33 h 108"/>
                <a:gd name="T98" fmla="*/ 58 w 95"/>
                <a:gd name="T99" fmla="*/ 26 h 108"/>
                <a:gd name="T100" fmla="*/ 53 w 95"/>
                <a:gd name="T101" fmla="*/ 23 h 108"/>
                <a:gd name="T102" fmla="*/ 48 w 95"/>
                <a:gd name="T103" fmla="*/ 22 h 108"/>
                <a:gd name="T104" fmla="*/ 42 w 95"/>
                <a:gd name="T105" fmla="*/ 23 h 108"/>
                <a:gd name="T106" fmla="*/ 38 w 95"/>
                <a:gd name="T107" fmla="*/ 26 h 108"/>
                <a:gd name="T108" fmla="*/ 35 w 95"/>
                <a:gd name="T109" fmla="*/ 33 h 108"/>
                <a:gd name="T110" fmla="*/ 33 w 95"/>
                <a:gd name="T111" fmla="*/ 4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8">
                  <a:moveTo>
                    <a:pt x="94" y="73"/>
                  </a:moveTo>
                  <a:lnTo>
                    <a:pt x="92" y="81"/>
                  </a:lnTo>
                  <a:lnTo>
                    <a:pt x="89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2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8"/>
                  </a:lnTo>
                  <a:lnTo>
                    <a:pt x="36" y="106"/>
                  </a:lnTo>
                  <a:lnTo>
                    <a:pt x="26" y="103"/>
                  </a:lnTo>
                  <a:lnTo>
                    <a:pt x="19" y="99"/>
                  </a:lnTo>
                  <a:lnTo>
                    <a:pt x="12" y="93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lnTo>
                    <a:pt x="0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6" y="9"/>
                  </a:lnTo>
                  <a:lnTo>
                    <a:pt x="84" y="14"/>
                  </a:lnTo>
                  <a:lnTo>
                    <a:pt x="88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4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3" y="85"/>
                  </a:lnTo>
                  <a:lnTo>
                    <a:pt x="56" y="82"/>
                  </a:lnTo>
                  <a:lnTo>
                    <a:pt x="59" y="79"/>
                  </a:lnTo>
                  <a:lnTo>
                    <a:pt x="61" y="73"/>
                  </a:lnTo>
                  <a:lnTo>
                    <a:pt x="94" y="73"/>
                  </a:lnTo>
                  <a:close/>
                  <a:moveTo>
                    <a:pt x="33" y="43"/>
                  </a:moveTo>
                  <a:lnTo>
                    <a:pt x="33" y="43"/>
                  </a:lnTo>
                  <a:lnTo>
                    <a:pt x="62" y="43"/>
                  </a:lnTo>
                  <a:lnTo>
                    <a:pt x="61" y="33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8" y="22"/>
                  </a:lnTo>
                  <a:lnTo>
                    <a:pt x="42" y="23"/>
                  </a:lnTo>
                  <a:lnTo>
                    <a:pt x="38" y="26"/>
                  </a:lnTo>
                  <a:lnTo>
                    <a:pt x="35" y="33"/>
                  </a:lnTo>
                  <a:lnTo>
                    <a:pt x="33" y="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8" name="Rectangle 52">
              <a:extLst>
                <a:ext uri="{FF2B5EF4-FFF2-40B4-BE49-F238E27FC236}">
                  <a16:creationId xmlns:a16="http://schemas.microsoft.com/office/drawing/2014/main" id="{9EBB6F33-C6E8-8117-A10F-1868C7198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0038" y="4221163"/>
              <a:ext cx="17463" cy="76200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9" name="Freeform 53">
              <a:extLst>
                <a:ext uri="{FF2B5EF4-FFF2-40B4-BE49-F238E27FC236}">
                  <a16:creationId xmlns:a16="http://schemas.microsoft.com/office/drawing/2014/main" id="{C974CA2C-91C6-05C9-CF0D-F48D6F80E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0200" y="4217988"/>
              <a:ext cx="50800" cy="80963"/>
            </a:xfrm>
            <a:custGeom>
              <a:avLst/>
              <a:gdLst>
                <a:gd name="T0" fmla="*/ 96 w 96"/>
                <a:gd name="T1" fmla="*/ 46 h 151"/>
                <a:gd name="T2" fmla="*/ 61 w 96"/>
                <a:gd name="T3" fmla="*/ 148 h 151"/>
                <a:gd name="T4" fmla="*/ 53 w 96"/>
                <a:gd name="T5" fmla="*/ 141 h 151"/>
                <a:gd name="T6" fmla="*/ 37 w 96"/>
                <a:gd name="T7" fmla="*/ 149 h 151"/>
                <a:gd name="T8" fmla="*/ 23 w 96"/>
                <a:gd name="T9" fmla="*/ 149 h 151"/>
                <a:gd name="T10" fmla="*/ 12 w 96"/>
                <a:gd name="T11" fmla="*/ 146 h 151"/>
                <a:gd name="T12" fmla="*/ 5 w 96"/>
                <a:gd name="T13" fmla="*/ 139 h 151"/>
                <a:gd name="T14" fmla="*/ 0 w 96"/>
                <a:gd name="T15" fmla="*/ 126 h 151"/>
                <a:gd name="T16" fmla="*/ 0 w 96"/>
                <a:gd name="T17" fmla="*/ 46 h 151"/>
                <a:gd name="T18" fmla="*/ 34 w 96"/>
                <a:gd name="T19" fmla="*/ 111 h 151"/>
                <a:gd name="T20" fmla="*/ 37 w 96"/>
                <a:gd name="T21" fmla="*/ 121 h 151"/>
                <a:gd name="T22" fmla="*/ 46 w 96"/>
                <a:gd name="T23" fmla="*/ 124 h 151"/>
                <a:gd name="T24" fmla="*/ 61 w 96"/>
                <a:gd name="T25" fmla="*/ 116 h 151"/>
                <a:gd name="T26" fmla="*/ 47 w 96"/>
                <a:gd name="T27" fmla="*/ 39 h 151"/>
                <a:gd name="T28" fmla="*/ 43 w 96"/>
                <a:gd name="T29" fmla="*/ 39 h 151"/>
                <a:gd name="T30" fmla="*/ 33 w 96"/>
                <a:gd name="T31" fmla="*/ 36 h 151"/>
                <a:gd name="T32" fmla="*/ 25 w 96"/>
                <a:gd name="T33" fmla="*/ 32 h 151"/>
                <a:gd name="T34" fmla="*/ 21 w 96"/>
                <a:gd name="T35" fmla="*/ 24 h 151"/>
                <a:gd name="T36" fmla="*/ 21 w 96"/>
                <a:gd name="T37" fmla="*/ 16 h 151"/>
                <a:gd name="T38" fmla="*/ 25 w 96"/>
                <a:gd name="T39" fmla="*/ 9 h 151"/>
                <a:gd name="T40" fmla="*/ 33 w 96"/>
                <a:gd name="T41" fmla="*/ 3 h 151"/>
                <a:gd name="T42" fmla="*/ 43 w 96"/>
                <a:gd name="T43" fmla="*/ 0 h 151"/>
                <a:gd name="T44" fmla="*/ 53 w 96"/>
                <a:gd name="T45" fmla="*/ 0 h 151"/>
                <a:gd name="T46" fmla="*/ 63 w 96"/>
                <a:gd name="T47" fmla="*/ 3 h 151"/>
                <a:gd name="T48" fmla="*/ 70 w 96"/>
                <a:gd name="T49" fmla="*/ 9 h 151"/>
                <a:gd name="T50" fmla="*/ 74 w 96"/>
                <a:gd name="T51" fmla="*/ 16 h 151"/>
                <a:gd name="T52" fmla="*/ 74 w 96"/>
                <a:gd name="T53" fmla="*/ 24 h 151"/>
                <a:gd name="T54" fmla="*/ 70 w 96"/>
                <a:gd name="T55" fmla="*/ 32 h 151"/>
                <a:gd name="T56" fmla="*/ 63 w 96"/>
                <a:gd name="T57" fmla="*/ 36 h 151"/>
                <a:gd name="T58" fmla="*/ 53 w 96"/>
                <a:gd name="T59" fmla="*/ 39 h 151"/>
                <a:gd name="T60" fmla="*/ 47 w 96"/>
                <a:gd name="T61" fmla="*/ 13 h 151"/>
                <a:gd name="T62" fmla="*/ 44 w 96"/>
                <a:gd name="T63" fmla="*/ 13 h 151"/>
                <a:gd name="T64" fmla="*/ 40 w 96"/>
                <a:gd name="T65" fmla="*/ 17 h 151"/>
                <a:gd name="T66" fmla="*/ 40 w 96"/>
                <a:gd name="T67" fmla="*/ 23 h 151"/>
                <a:gd name="T68" fmla="*/ 44 w 96"/>
                <a:gd name="T69" fmla="*/ 26 h 151"/>
                <a:gd name="T70" fmla="*/ 51 w 96"/>
                <a:gd name="T71" fmla="*/ 26 h 151"/>
                <a:gd name="T72" fmla="*/ 56 w 96"/>
                <a:gd name="T73" fmla="*/ 23 h 151"/>
                <a:gd name="T74" fmla="*/ 56 w 96"/>
                <a:gd name="T75" fmla="*/ 17 h 151"/>
                <a:gd name="T76" fmla="*/ 51 w 96"/>
                <a:gd name="T7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151">
                  <a:moveTo>
                    <a:pt x="61" y="46"/>
                  </a:moveTo>
                  <a:lnTo>
                    <a:pt x="96" y="46"/>
                  </a:lnTo>
                  <a:lnTo>
                    <a:pt x="96" y="148"/>
                  </a:lnTo>
                  <a:lnTo>
                    <a:pt x="61" y="148"/>
                  </a:lnTo>
                  <a:lnTo>
                    <a:pt x="61" y="134"/>
                  </a:lnTo>
                  <a:lnTo>
                    <a:pt x="53" y="141"/>
                  </a:lnTo>
                  <a:lnTo>
                    <a:pt x="46" y="146"/>
                  </a:lnTo>
                  <a:lnTo>
                    <a:pt x="37" y="149"/>
                  </a:lnTo>
                  <a:lnTo>
                    <a:pt x="27" y="151"/>
                  </a:lnTo>
                  <a:lnTo>
                    <a:pt x="23" y="149"/>
                  </a:lnTo>
                  <a:lnTo>
                    <a:pt x="17" y="149"/>
                  </a:lnTo>
                  <a:lnTo>
                    <a:pt x="12" y="146"/>
                  </a:lnTo>
                  <a:lnTo>
                    <a:pt x="8" y="144"/>
                  </a:lnTo>
                  <a:lnTo>
                    <a:pt x="5" y="139"/>
                  </a:lnTo>
                  <a:lnTo>
                    <a:pt x="2" y="134"/>
                  </a:lnTo>
                  <a:lnTo>
                    <a:pt x="0" y="126"/>
                  </a:lnTo>
                  <a:lnTo>
                    <a:pt x="0" y="116"/>
                  </a:lnTo>
                  <a:lnTo>
                    <a:pt x="0" y="46"/>
                  </a:lnTo>
                  <a:lnTo>
                    <a:pt x="34" y="46"/>
                  </a:lnTo>
                  <a:lnTo>
                    <a:pt x="34" y="111"/>
                  </a:lnTo>
                  <a:lnTo>
                    <a:pt x="36" y="116"/>
                  </a:lnTo>
                  <a:lnTo>
                    <a:pt x="37" y="121"/>
                  </a:lnTo>
                  <a:lnTo>
                    <a:pt x="41" y="122"/>
                  </a:lnTo>
                  <a:lnTo>
                    <a:pt x="46" y="124"/>
                  </a:lnTo>
                  <a:lnTo>
                    <a:pt x="54" y="122"/>
                  </a:lnTo>
                  <a:lnTo>
                    <a:pt x="61" y="116"/>
                  </a:lnTo>
                  <a:lnTo>
                    <a:pt x="61" y="46"/>
                  </a:lnTo>
                  <a:close/>
                  <a:moveTo>
                    <a:pt x="47" y="39"/>
                  </a:moveTo>
                  <a:lnTo>
                    <a:pt x="47" y="39"/>
                  </a:lnTo>
                  <a:lnTo>
                    <a:pt x="43" y="39"/>
                  </a:lnTo>
                  <a:lnTo>
                    <a:pt x="37" y="37"/>
                  </a:lnTo>
                  <a:lnTo>
                    <a:pt x="33" y="36"/>
                  </a:lnTo>
                  <a:lnTo>
                    <a:pt x="28" y="34"/>
                  </a:lnTo>
                  <a:lnTo>
                    <a:pt x="25" y="32"/>
                  </a:lnTo>
                  <a:lnTo>
                    <a:pt x="23" y="27"/>
                  </a:lnTo>
                  <a:lnTo>
                    <a:pt x="21" y="24"/>
                  </a:lnTo>
                  <a:lnTo>
                    <a:pt x="21" y="20"/>
                  </a:lnTo>
                  <a:lnTo>
                    <a:pt x="21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3" y="3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3" y="0"/>
                  </a:lnTo>
                  <a:lnTo>
                    <a:pt x="59" y="1"/>
                  </a:lnTo>
                  <a:lnTo>
                    <a:pt x="63" y="3"/>
                  </a:lnTo>
                  <a:lnTo>
                    <a:pt x="67" y="6"/>
                  </a:lnTo>
                  <a:lnTo>
                    <a:pt x="70" y="9"/>
                  </a:lnTo>
                  <a:lnTo>
                    <a:pt x="73" y="11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3" y="27"/>
                  </a:lnTo>
                  <a:lnTo>
                    <a:pt x="70" y="32"/>
                  </a:lnTo>
                  <a:lnTo>
                    <a:pt x="67" y="34"/>
                  </a:lnTo>
                  <a:lnTo>
                    <a:pt x="63" y="36"/>
                  </a:lnTo>
                  <a:lnTo>
                    <a:pt x="59" y="37"/>
                  </a:lnTo>
                  <a:lnTo>
                    <a:pt x="53" y="39"/>
                  </a:lnTo>
                  <a:lnTo>
                    <a:pt x="47" y="39"/>
                  </a:lnTo>
                  <a:close/>
                  <a:moveTo>
                    <a:pt x="47" y="13"/>
                  </a:moveTo>
                  <a:lnTo>
                    <a:pt x="47" y="13"/>
                  </a:lnTo>
                  <a:lnTo>
                    <a:pt x="44" y="13"/>
                  </a:lnTo>
                  <a:lnTo>
                    <a:pt x="41" y="14"/>
                  </a:lnTo>
                  <a:lnTo>
                    <a:pt x="40" y="17"/>
                  </a:lnTo>
                  <a:lnTo>
                    <a:pt x="40" y="20"/>
                  </a:lnTo>
                  <a:lnTo>
                    <a:pt x="40" y="23"/>
                  </a:lnTo>
                  <a:lnTo>
                    <a:pt x="41" y="24"/>
                  </a:lnTo>
                  <a:lnTo>
                    <a:pt x="44" y="26"/>
                  </a:lnTo>
                  <a:lnTo>
                    <a:pt x="47" y="26"/>
                  </a:lnTo>
                  <a:lnTo>
                    <a:pt x="51" y="26"/>
                  </a:lnTo>
                  <a:lnTo>
                    <a:pt x="53" y="24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6" y="17"/>
                  </a:lnTo>
                  <a:lnTo>
                    <a:pt x="53" y="14"/>
                  </a:lnTo>
                  <a:lnTo>
                    <a:pt x="51" y="13"/>
                  </a:lnTo>
                  <a:lnTo>
                    <a:pt x="47" y="1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0" name="Freeform 54">
              <a:extLst>
                <a:ext uri="{FF2B5EF4-FFF2-40B4-BE49-F238E27FC236}">
                  <a16:creationId xmlns:a16="http://schemas.microsoft.com/office/drawing/2014/main" id="{8CDB7E16-8AD9-1369-F505-4EA05551F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4011613"/>
              <a:ext cx="292100" cy="292100"/>
            </a:xfrm>
            <a:custGeom>
              <a:avLst/>
              <a:gdLst>
                <a:gd name="T0" fmla="*/ 0 w 552"/>
                <a:gd name="T1" fmla="*/ 260 h 553"/>
                <a:gd name="T2" fmla="*/ 6 w 552"/>
                <a:gd name="T3" fmla="*/ 214 h 553"/>
                <a:gd name="T4" fmla="*/ 17 w 552"/>
                <a:gd name="T5" fmla="*/ 171 h 553"/>
                <a:gd name="T6" fmla="*/ 35 w 552"/>
                <a:gd name="T7" fmla="*/ 134 h 553"/>
                <a:gd name="T8" fmla="*/ 65 w 552"/>
                <a:gd name="T9" fmla="*/ 90 h 553"/>
                <a:gd name="T10" fmla="*/ 125 w 552"/>
                <a:gd name="T11" fmla="*/ 40 h 553"/>
                <a:gd name="T12" fmla="*/ 200 w 552"/>
                <a:gd name="T13" fmla="*/ 10 h 553"/>
                <a:gd name="T14" fmla="*/ 285 w 552"/>
                <a:gd name="T15" fmla="*/ 0 h 553"/>
                <a:gd name="T16" fmla="*/ 357 w 552"/>
                <a:gd name="T17" fmla="*/ 7 h 553"/>
                <a:gd name="T18" fmla="*/ 423 w 552"/>
                <a:gd name="T19" fmla="*/ 27 h 553"/>
                <a:gd name="T20" fmla="*/ 480 w 552"/>
                <a:gd name="T21" fmla="*/ 63 h 553"/>
                <a:gd name="T22" fmla="*/ 521 w 552"/>
                <a:gd name="T23" fmla="*/ 118 h 553"/>
                <a:gd name="T24" fmla="*/ 546 w 552"/>
                <a:gd name="T25" fmla="*/ 191 h 553"/>
                <a:gd name="T26" fmla="*/ 360 w 552"/>
                <a:gd name="T27" fmla="*/ 207 h 553"/>
                <a:gd name="T28" fmla="*/ 341 w 552"/>
                <a:gd name="T29" fmla="*/ 171 h 553"/>
                <a:gd name="T30" fmla="*/ 327 w 552"/>
                <a:gd name="T31" fmla="*/ 159 h 553"/>
                <a:gd name="T32" fmla="*/ 289 w 552"/>
                <a:gd name="T33" fmla="*/ 152 h 553"/>
                <a:gd name="T34" fmla="*/ 259 w 552"/>
                <a:gd name="T35" fmla="*/ 157 h 553"/>
                <a:gd name="T36" fmla="*/ 236 w 552"/>
                <a:gd name="T37" fmla="*/ 169 h 553"/>
                <a:gd name="T38" fmla="*/ 219 w 552"/>
                <a:gd name="T39" fmla="*/ 190 h 553"/>
                <a:gd name="T40" fmla="*/ 207 w 552"/>
                <a:gd name="T41" fmla="*/ 220 h 553"/>
                <a:gd name="T42" fmla="*/ 202 w 552"/>
                <a:gd name="T43" fmla="*/ 258 h 553"/>
                <a:gd name="T44" fmla="*/ 202 w 552"/>
                <a:gd name="T45" fmla="*/ 296 h 553"/>
                <a:gd name="T46" fmla="*/ 206 w 552"/>
                <a:gd name="T47" fmla="*/ 336 h 553"/>
                <a:gd name="T48" fmla="*/ 217 w 552"/>
                <a:gd name="T49" fmla="*/ 368 h 553"/>
                <a:gd name="T50" fmla="*/ 236 w 552"/>
                <a:gd name="T51" fmla="*/ 391 h 553"/>
                <a:gd name="T52" fmla="*/ 261 w 552"/>
                <a:gd name="T53" fmla="*/ 405 h 553"/>
                <a:gd name="T54" fmla="*/ 292 w 552"/>
                <a:gd name="T55" fmla="*/ 409 h 553"/>
                <a:gd name="T56" fmla="*/ 330 w 552"/>
                <a:gd name="T57" fmla="*/ 401 h 553"/>
                <a:gd name="T58" fmla="*/ 348 w 552"/>
                <a:gd name="T59" fmla="*/ 389 h 553"/>
                <a:gd name="T60" fmla="*/ 361 w 552"/>
                <a:gd name="T61" fmla="*/ 370 h 553"/>
                <a:gd name="T62" fmla="*/ 373 w 552"/>
                <a:gd name="T63" fmla="*/ 330 h 553"/>
                <a:gd name="T64" fmla="*/ 546 w 552"/>
                <a:gd name="T65" fmla="*/ 378 h 553"/>
                <a:gd name="T66" fmla="*/ 521 w 552"/>
                <a:gd name="T67" fmla="*/ 441 h 553"/>
                <a:gd name="T68" fmla="*/ 480 w 552"/>
                <a:gd name="T69" fmla="*/ 491 h 553"/>
                <a:gd name="T70" fmla="*/ 420 w 552"/>
                <a:gd name="T71" fmla="*/ 528 h 553"/>
                <a:gd name="T72" fmla="*/ 341 w 552"/>
                <a:gd name="T73" fmla="*/ 549 h 553"/>
                <a:gd name="T74" fmla="*/ 251 w 552"/>
                <a:gd name="T75" fmla="*/ 551 h 553"/>
                <a:gd name="T76" fmla="*/ 170 w 552"/>
                <a:gd name="T77" fmla="*/ 536 h 553"/>
                <a:gd name="T78" fmla="*/ 101 w 552"/>
                <a:gd name="T79" fmla="*/ 501 h 553"/>
                <a:gd name="T80" fmla="*/ 48 w 552"/>
                <a:gd name="T81" fmla="*/ 448 h 553"/>
                <a:gd name="T82" fmla="*/ 27 w 552"/>
                <a:gd name="T83" fmla="*/ 414 h 553"/>
                <a:gd name="T84" fmla="*/ 13 w 552"/>
                <a:gd name="T85" fmla="*/ 376 h 553"/>
                <a:gd name="T86" fmla="*/ 3 w 552"/>
                <a:gd name="T87" fmla="*/ 332 h 553"/>
                <a:gd name="T88" fmla="*/ 0 w 552"/>
                <a:gd name="T89" fmla="*/ 28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2" h="553">
                  <a:moveTo>
                    <a:pt x="0" y="284"/>
                  </a:moveTo>
                  <a:lnTo>
                    <a:pt x="0" y="277"/>
                  </a:lnTo>
                  <a:lnTo>
                    <a:pt x="0" y="260"/>
                  </a:lnTo>
                  <a:lnTo>
                    <a:pt x="1" y="244"/>
                  </a:lnTo>
                  <a:lnTo>
                    <a:pt x="3" y="228"/>
                  </a:lnTo>
                  <a:lnTo>
                    <a:pt x="6" y="214"/>
                  </a:lnTo>
                  <a:lnTo>
                    <a:pt x="9" y="198"/>
                  </a:lnTo>
                  <a:lnTo>
                    <a:pt x="13" y="185"/>
                  </a:lnTo>
                  <a:lnTo>
                    <a:pt x="17" y="171"/>
                  </a:lnTo>
                  <a:lnTo>
                    <a:pt x="22" y="158"/>
                  </a:lnTo>
                  <a:lnTo>
                    <a:pt x="27" y="145"/>
                  </a:lnTo>
                  <a:lnTo>
                    <a:pt x="35" y="134"/>
                  </a:lnTo>
                  <a:lnTo>
                    <a:pt x="40" y="122"/>
                  </a:lnTo>
                  <a:lnTo>
                    <a:pt x="49" y="111"/>
                  </a:lnTo>
                  <a:lnTo>
                    <a:pt x="65" y="90"/>
                  </a:lnTo>
                  <a:lnTo>
                    <a:pt x="84" y="72"/>
                  </a:lnTo>
                  <a:lnTo>
                    <a:pt x="104" y="55"/>
                  </a:lnTo>
                  <a:lnTo>
                    <a:pt x="125" y="40"/>
                  </a:lnTo>
                  <a:lnTo>
                    <a:pt x="148" y="29"/>
                  </a:lnTo>
                  <a:lnTo>
                    <a:pt x="174" y="19"/>
                  </a:lnTo>
                  <a:lnTo>
                    <a:pt x="200" y="10"/>
                  </a:lnTo>
                  <a:lnTo>
                    <a:pt x="228" y="6"/>
                  </a:lnTo>
                  <a:lnTo>
                    <a:pt x="255" y="1"/>
                  </a:lnTo>
                  <a:lnTo>
                    <a:pt x="285" y="0"/>
                  </a:lnTo>
                  <a:lnTo>
                    <a:pt x="310" y="1"/>
                  </a:lnTo>
                  <a:lnTo>
                    <a:pt x="334" y="3"/>
                  </a:lnTo>
                  <a:lnTo>
                    <a:pt x="357" y="7"/>
                  </a:lnTo>
                  <a:lnTo>
                    <a:pt x="380" y="11"/>
                  </a:lnTo>
                  <a:lnTo>
                    <a:pt x="402" y="19"/>
                  </a:lnTo>
                  <a:lnTo>
                    <a:pt x="423" y="27"/>
                  </a:lnTo>
                  <a:lnTo>
                    <a:pt x="444" y="37"/>
                  </a:lnTo>
                  <a:lnTo>
                    <a:pt x="462" y="49"/>
                  </a:lnTo>
                  <a:lnTo>
                    <a:pt x="480" y="63"/>
                  </a:lnTo>
                  <a:lnTo>
                    <a:pt x="495" y="79"/>
                  </a:lnTo>
                  <a:lnTo>
                    <a:pt x="510" y="98"/>
                  </a:lnTo>
                  <a:lnTo>
                    <a:pt x="521" y="118"/>
                  </a:lnTo>
                  <a:lnTo>
                    <a:pt x="531" y="139"/>
                  </a:lnTo>
                  <a:lnTo>
                    <a:pt x="540" y="165"/>
                  </a:lnTo>
                  <a:lnTo>
                    <a:pt x="546" y="191"/>
                  </a:lnTo>
                  <a:lnTo>
                    <a:pt x="549" y="221"/>
                  </a:lnTo>
                  <a:lnTo>
                    <a:pt x="361" y="221"/>
                  </a:lnTo>
                  <a:lnTo>
                    <a:pt x="360" y="207"/>
                  </a:lnTo>
                  <a:lnTo>
                    <a:pt x="356" y="192"/>
                  </a:lnTo>
                  <a:lnTo>
                    <a:pt x="350" y="181"/>
                  </a:lnTo>
                  <a:lnTo>
                    <a:pt x="341" y="171"/>
                  </a:lnTo>
                  <a:lnTo>
                    <a:pt x="337" y="167"/>
                  </a:lnTo>
                  <a:lnTo>
                    <a:pt x="333" y="162"/>
                  </a:lnTo>
                  <a:lnTo>
                    <a:pt x="327" y="159"/>
                  </a:lnTo>
                  <a:lnTo>
                    <a:pt x="321" y="157"/>
                  </a:lnTo>
                  <a:lnTo>
                    <a:pt x="307" y="154"/>
                  </a:lnTo>
                  <a:lnTo>
                    <a:pt x="289" y="152"/>
                  </a:lnTo>
                  <a:lnTo>
                    <a:pt x="279" y="152"/>
                  </a:lnTo>
                  <a:lnTo>
                    <a:pt x="269" y="154"/>
                  </a:lnTo>
                  <a:lnTo>
                    <a:pt x="259" y="157"/>
                  </a:lnTo>
                  <a:lnTo>
                    <a:pt x="251" y="159"/>
                  </a:lnTo>
                  <a:lnTo>
                    <a:pt x="243" y="164"/>
                  </a:lnTo>
                  <a:lnTo>
                    <a:pt x="236" y="169"/>
                  </a:lnTo>
                  <a:lnTo>
                    <a:pt x="229" y="175"/>
                  </a:lnTo>
                  <a:lnTo>
                    <a:pt x="223" y="182"/>
                  </a:lnTo>
                  <a:lnTo>
                    <a:pt x="219" y="190"/>
                  </a:lnTo>
                  <a:lnTo>
                    <a:pt x="213" y="200"/>
                  </a:lnTo>
                  <a:lnTo>
                    <a:pt x="210" y="210"/>
                  </a:lnTo>
                  <a:lnTo>
                    <a:pt x="207" y="220"/>
                  </a:lnTo>
                  <a:lnTo>
                    <a:pt x="204" y="231"/>
                  </a:lnTo>
                  <a:lnTo>
                    <a:pt x="203" y="244"/>
                  </a:lnTo>
                  <a:lnTo>
                    <a:pt x="202" y="258"/>
                  </a:lnTo>
                  <a:lnTo>
                    <a:pt x="202" y="273"/>
                  </a:lnTo>
                  <a:lnTo>
                    <a:pt x="202" y="280"/>
                  </a:lnTo>
                  <a:lnTo>
                    <a:pt x="202" y="296"/>
                  </a:lnTo>
                  <a:lnTo>
                    <a:pt x="203" y="310"/>
                  </a:lnTo>
                  <a:lnTo>
                    <a:pt x="204" y="325"/>
                  </a:lnTo>
                  <a:lnTo>
                    <a:pt x="206" y="336"/>
                  </a:lnTo>
                  <a:lnTo>
                    <a:pt x="210" y="347"/>
                  </a:lnTo>
                  <a:lnTo>
                    <a:pt x="213" y="359"/>
                  </a:lnTo>
                  <a:lnTo>
                    <a:pt x="217" y="368"/>
                  </a:lnTo>
                  <a:lnTo>
                    <a:pt x="223" y="376"/>
                  </a:lnTo>
                  <a:lnTo>
                    <a:pt x="229" y="385"/>
                  </a:lnTo>
                  <a:lnTo>
                    <a:pt x="236" y="391"/>
                  </a:lnTo>
                  <a:lnTo>
                    <a:pt x="243" y="396"/>
                  </a:lnTo>
                  <a:lnTo>
                    <a:pt x="252" y="401"/>
                  </a:lnTo>
                  <a:lnTo>
                    <a:pt x="261" y="405"/>
                  </a:lnTo>
                  <a:lnTo>
                    <a:pt x="271" y="406"/>
                  </a:lnTo>
                  <a:lnTo>
                    <a:pt x="281" y="408"/>
                  </a:lnTo>
                  <a:lnTo>
                    <a:pt x="292" y="409"/>
                  </a:lnTo>
                  <a:lnTo>
                    <a:pt x="310" y="408"/>
                  </a:lnTo>
                  <a:lnTo>
                    <a:pt x="324" y="403"/>
                  </a:lnTo>
                  <a:lnTo>
                    <a:pt x="330" y="401"/>
                  </a:lnTo>
                  <a:lnTo>
                    <a:pt x="337" y="398"/>
                  </a:lnTo>
                  <a:lnTo>
                    <a:pt x="343" y="393"/>
                  </a:lnTo>
                  <a:lnTo>
                    <a:pt x="348" y="389"/>
                  </a:lnTo>
                  <a:lnTo>
                    <a:pt x="353" y="383"/>
                  </a:lnTo>
                  <a:lnTo>
                    <a:pt x="357" y="378"/>
                  </a:lnTo>
                  <a:lnTo>
                    <a:pt x="361" y="370"/>
                  </a:lnTo>
                  <a:lnTo>
                    <a:pt x="364" y="363"/>
                  </a:lnTo>
                  <a:lnTo>
                    <a:pt x="370" y="347"/>
                  </a:lnTo>
                  <a:lnTo>
                    <a:pt x="373" y="330"/>
                  </a:lnTo>
                  <a:lnTo>
                    <a:pt x="552" y="330"/>
                  </a:lnTo>
                  <a:lnTo>
                    <a:pt x="549" y="355"/>
                  </a:lnTo>
                  <a:lnTo>
                    <a:pt x="546" y="378"/>
                  </a:lnTo>
                  <a:lnTo>
                    <a:pt x="540" y="401"/>
                  </a:lnTo>
                  <a:lnTo>
                    <a:pt x="531" y="422"/>
                  </a:lnTo>
                  <a:lnTo>
                    <a:pt x="521" y="441"/>
                  </a:lnTo>
                  <a:lnTo>
                    <a:pt x="510" y="459"/>
                  </a:lnTo>
                  <a:lnTo>
                    <a:pt x="495" y="477"/>
                  </a:lnTo>
                  <a:lnTo>
                    <a:pt x="480" y="491"/>
                  </a:lnTo>
                  <a:lnTo>
                    <a:pt x="462" y="505"/>
                  </a:lnTo>
                  <a:lnTo>
                    <a:pt x="442" y="517"/>
                  </a:lnTo>
                  <a:lnTo>
                    <a:pt x="420" y="528"/>
                  </a:lnTo>
                  <a:lnTo>
                    <a:pt x="396" y="537"/>
                  </a:lnTo>
                  <a:lnTo>
                    <a:pt x="370" y="543"/>
                  </a:lnTo>
                  <a:lnTo>
                    <a:pt x="341" y="549"/>
                  </a:lnTo>
                  <a:lnTo>
                    <a:pt x="312" y="551"/>
                  </a:lnTo>
                  <a:lnTo>
                    <a:pt x="279" y="553"/>
                  </a:lnTo>
                  <a:lnTo>
                    <a:pt x="251" y="551"/>
                  </a:lnTo>
                  <a:lnTo>
                    <a:pt x="222" y="549"/>
                  </a:lnTo>
                  <a:lnTo>
                    <a:pt x="196" y="543"/>
                  </a:lnTo>
                  <a:lnTo>
                    <a:pt x="170" y="536"/>
                  </a:lnTo>
                  <a:lnTo>
                    <a:pt x="145" y="526"/>
                  </a:lnTo>
                  <a:lnTo>
                    <a:pt x="122" y="514"/>
                  </a:lnTo>
                  <a:lnTo>
                    <a:pt x="101" y="501"/>
                  </a:lnTo>
                  <a:lnTo>
                    <a:pt x="81" y="485"/>
                  </a:lnTo>
                  <a:lnTo>
                    <a:pt x="63" y="468"/>
                  </a:lnTo>
                  <a:lnTo>
                    <a:pt x="48" y="448"/>
                  </a:lnTo>
                  <a:lnTo>
                    <a:pt x="40" y="437"/>
                  </a:lnTo>
                  <a:lnTo>
                    <a:pt x="33" y="425"/>
                  </a:lnTo>
                  <a:lnTo>
                    <a:pt x="27" y="414"/>
                  </a:lnTo>
                  <a:lnTo>
                    <a:pt x="22" y="402"/>
                  </a:lnTo>
                  <a:lnTo>
                    <a:pt x="17" y="389"/>
                  </a:lnTo>
                  <a:lnTo>
                    <a:pt x="13" y="376"/>
                  </a:lnTo>
                  <a:lnTo>
                    <a:pt x="9" y="362"/>
                  </a:lnTo>
                  <a:lnTo>
                    <a:pt x="6" y="347"/>
                  </a:lnTo>
                  <a:lnTo>
                    <a:pt x="3" y="332"/>
                  </a:lnTo>
                  <a:lnTo>
                    <a:pt x="1" y="317"/>
                  </a:lnTo>
                  <a:lnTo>
                    <a:pt x="0" y="302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1" name="Freeform 55">
              <a:extLst>
                <a:ext uri="{FF2B5EF4-FFF2-40B4-BE49-F238E27FC236}">
                  <a16:creationId xmlns:a16="http://schemas.microsoft.com/office/drawing/2014/main" id="{D36C0BC8-E1B4-A312-F155-C25BA823D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913" y="3894138"/>
              <a:ext cx="287338" cy="403225"/>
            </a:xfrm>
            <a:custGeom>
              <a:avLst/>
              <a:gdLst>
                <a:gd name="T0" fmla="*/ 197 w 541"/>
                <a:gd name="T1" fmla="*/ 0 h 761"/>
                <a:gd name="T2" fmla="*/ 197 w 541"/>
                <a:gd name="T3" fmla="*/ 435 h 761"/>
                <a:gd name="T4" fmla="*/ 325 w 541"/>
                <a:gd name="T5" fmla="*/ 235 h 761"/>
                <a:gd name="T6" fmla="*/ 528 w 541"/>
                <a:gd name="T7" fmla="*/ 235 h 761"/>
                <a:gd name="T8" fmla="*/ 367 w 541"/>
                <a:gd name="T9" fmla="*/ 471 h 761"/>
                <a:gd name="T10" fmla="*/ 541 w 541"/>
                <a:gd name="T11" fmla="*/ 761 h 761"/>
                <a:gd name="T12" fmla="*/ 322 w 541"/>
                <a:gd name="T13" fmla="*/ 761 h 761"/>
                <a:gd name="T14" fmla="*/ 197 w 541"/>
                <a:gd name="T15" fmla="*/ 541 h 761"/>
                <a:gd name="T16" fmla="*/ 197 w 541"/>
                <a:gd name="T17" fmla="*/ 761 h 761"/>
                <a:gd name="T18" fmla="*/ 0 w 541"/>
                <a:gd name="T19" fmla="*/ 761 h 761"/>
                <a:gd name="T20" fmla="*/ 0 w 541"/>
                <a:gd name="T21" fmla="*/ 0 h 761"/>
                <a:gd name="T22" fmla="*/ 197 w 541"/>
                <a:gd name="T2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1" h="761">
                  <a:moveTo>
                    <a:pt x="197" y="0"/>
                  </a:moveTo>
                  <a:lnTo>
                    <a:pt x="197" y="435"/>
                  </a:lnTo>
                  <a:lnTo>
                    <a:pt x="325" y="235"/>
                  </a:lnTo>
                  <a:lnTo>
                    <a:pt x="528" y="235"/>
                  </a:lnTo>
                  <a:lnTo>
                    <a:pt x="367" y="471"/>
                  </a:lnTo>
                  <a:lnTo>
                    <a:pt x="541" y="761"/>
                  </a:lnTo>
                  <a:lnTo>
                    <a:pt x="322" y="761"/>
                  </a:lnTo>
                  <a:lnTo>
                    <a:pt x="197" y="541"/>
                  </a:lnTo>
                  <a:lnTo>
                    <a:pt x="197" y="761"/>
                  </a:lnTo>
                  <a:lnTo>
                    <a:pt x="0" y="761"/>
                  </a:lnTo>
                  <a:lnTo>
                    <a:pt x="0" y="0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2" name="Freeform 56">
              <a:extLst>
                <a:ext uri="{FF2B5EF4-FFF2-40B4-BE49-F238E27FC236}">
                  <a16:creationId xmlns:a16="http://schemas.microsoft.com/office/drawing/2014/main" id="{2BAE5DA5-17E6-4859-8A5C-3CCCA0217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02950" y="4011613"/>
              <a:ext cx="307975" cy="377825"/>
            </a:xfrm>
            <a:custGeom>
              <a:avLst/>
              <a:gdLst>
                <a:gd name="T0" fmla="*/ 199 w 580"/>
                <a:gd name="T1" fmla="*/ 90 h 714"/>
                <a:gd name="T2" fmla="*/ 233 w 580"/>
                <a:gd name="T3" fmla="*/ 49 h 714"/>
                <a:gd name="T4" fmla="*/ 261 w 580"/>
                <a:gd name="T5" fmla="*/ 27 h 714"/>
                <a:gd name="T6" fmla="*/ 294 w 580"/>
                <a:gd name="T7" fmla="*/ 11 h 714"/>
                <a:gd name="T8" fmla="*/ 331 w 580"/>
                <a:gd name="T9" fmla="*/ 3 h 714"/>
                <a:gd name="T10" fmla="*/ 382 w 580"/>
                <a:gd name="T11" fmla="*/ 1 h 714"/>
                <a:gd name="T12" fmla="*/ 445 w 580"/>
                <a:gd name="T13" fmla="*/ 17 h 714"/>
                <a:gd name="T14" fmla="*/ 500 w 580"/>
                <a:gd name="T15" fmla="*/ 52 h 714"/>
                <a:gd name="T16" fmla="*/ 541 w 580"/>
                <a:gd name="T17" fmla="*/ 106 h 714"/>
                <a:gd name="T18" fmla="*/ 570 w 580"/>
                <a:gd name="T19" fmla="*/ 179 h 714"/>
                <a:gd name="T20" fmla="*/ 580 w 580"/>
                <a:gd name="T21" fmla="*/ 273 h 714"/>
                <a:gd name="T22" fmla="*/ 576 w 580"/>
                <a:gd name="T23" fmla="*/ 346 h 714"/>
                <a:gd name="T24" fmla="*/ 553 w 580"/>
                <a:gd name="T25" fmla="*/ 425 h 714"/>
                <a:gd name="T26" fmla="*/ 514 w 580"/>
                <a:gd name="T27" fmla="*/ 485 h 714"/>
                <a:gd name="T28" fmla="*/ 464 w 580"/>
                <a:gd name="T29" fmla="*/ 527 h 714"/>
                <a:gd name="T30" fmla="*/ 403 w 580"/>
                <a:gd name="T31" fmla="*/ 549 h 714"/>
                <a:gd name="T32" fmla="*/ 344 w 580"/>
                <a:gd name="T33" fmla="*/ 551 h 714"/>
                <a:gd name="T34" fmla="*/ 305 w 580"/>
                <a:gd name="T35" fmla="*/ 546 h 714"/>
                <a:gd name="T36" fmla="*/ 271 w 580"/>
                <a:gd name="T37" fmla="*/ 533 h 714"/>
                <a:gd name="T38" fmla="*/ 240 w 580"/>
                <a:gd name="T39" fmla="*/ 514 h 714"/>
                <a:gd name="T40" fmla="*/ 216 w 580"/>
                <a:gd name="T41" fmla="*/ 491 h 714"/>
                <a:gd name="T42" fmla="*/ 199 w 580"/>
                <a:gd name="T43" fmla="*/ 464 h 714"/>
                <a:gd name="T44" fmla="*/ 0 w 580"/>
                <a:gd name="T45" fmla="*/ 14 h 714"/>
                <a:gd name="T46" fmla="*/ 379 w 580"/>
                <a:gd name="T47" fmla="*/ 271 h 714"/>
                <a:gd name="T48" fmla="*/ 376 w 580"/>
                <a:gd name="T49" fmla="*/ 228 h 714"/>
                <a:gd name="T50" fmla="*/ 364 w 580"/>
                <a:gd name="T51" fmla="*/ 195 h 714"/>
                <a:gd name="T52" fmla="*/ 348 w 580"/>
                <a:gd name="T53" fmla="*/ 171 h 714"/>
                <a:gd name="T54" fmla="*/ 325 w 580"/>
                <a:gd name="T55" fmla="*/ 155 h 714"/>
                <a:gd name="T56" fmla="*/ 297 w 580"/>
                <a:gd name="T57" fmla="*/ 148 h 714"/>
                <a:gd name="T58" fmla="*/ 265 w 580"/>
                <a:gd name="T59" fmla="*/ 149 h 714"/>
                <a:gd name="T60" fmla="*/ 238 w 580"/>
                <a:gd name="T61" fmla="*/ 159 h 714"/>
                <a:gd name="T62" fmla="*/ 217 w 580"/>
                <a:gd name="T63" fmla="*/ 179 h 714"/>
                <a:gd name="T64" fmla="*/ 203 w 580"/>
                <a:gd name="T65" fmla="*/ 207 h 714"/>
                <a:gd name="T66" fmla="*/ 196 w 580"/>
                <a:gd name="T67" fmla="*/ 243 h 714"/>
                <a:gd name="T68" fmla="*/ 194 w 580"/>
                <a:gd name="T69" fmla="*/ 280 h 714"/>
                <a:gd name="T70" fmla="*/ 197 w 580"/>
                <a:gd name="T71" fmla="*/ 320 h 714"/>
                <a:gd name="T72" fmla="*/ 207 w 580"/>
                <a:gd name="T73" fmla="*/ 353 h 714"/>
                <a:gd name="T74" fmla="*/ 223 w 580"/>
                <a:gd name="T75" fmla="*/ 378 h 714"/>
                <a:gd name="T76" fmla="*/ 246 w 580"/>
                <a:gd name="T77" fmla="*/ 393 h 714"/>
                <a:gd name="T78" fmla="*/ 275 w 580"/>
                <a:gd name="T79" fmla="*/ 402 h 714"/>
                <a:gd name="T80" fmla="*/ 307 w 580"/>
                <a:gd name="T81" fmla="*/ 399 h 714"/>
                <a:gd name="T82" fmla="*/ 334 w 580"/>
                <a:gd name="T83" fmla="*/ 389 h 714"/>
                <a:gd name="T84" fmla="*/ 354 w 580"/>
                <a:gd name="T85" fmla="*/ 370 h 714"/>
                <a:gd name="T86" fmla="*/ 370 w 580"/>
                <a:gd name="T87" fmla="*/ 343 h 714"/>
                <a:gd name="T88" fmla="*/ 377 w 580"/>
                <a:gd name="T89" fmla="*/ 307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0" h="714">
                  <a:moveTo>
                    <a:pt x="0" y="14"/>
                  </a:moveTo>
                  <a:lnTo>
                    <a:pt x="199" y="14"/>
                  </a:lnTo>
                  <a:lnTo>
                    <a:pt x="199" y="90"/>
                  </a:lnTo>
                  <a:lnTo>
                    <a:pt x="210" y="73"/>
                  </a:lnTo>
                  <a:lnTo>
                    <a:pt x="225" y="56"/>
                  </a:lnTo>
                  <a:lnTo>
                    <a:pt x="233" y="49"/>
                  </a:lnTo>
                  <a:lnTo>
                    <a:pt x="242" y="40"/>
                  </a:lnTo>
                  <a:lnTo>
                    <a:pt x="251" y="33"/>
                  </a:lnTo>
                  <a:lnTo>
                    <a:pt x="261" y="27"/>
                  </a:lnTo>
                  <a:lnTo>
                    <a:pt x="271" y="22"/>
                  </a:lnTo>
                  <a:lnTo>
                    <a:pt x="282" y="16"/>
                  </a:lnTo>
                  <a:lnTo>
                    <a:pt x="294" y="11"/>
                  </a:lnTo>
                  <a:lnTo>
                    <a:pt x="305" y="7"/>
                  </a:lnTo>
                  <a:lnTo>
                    <a:pt x="318" y="4"/>
                  </a:lnTo>
                  <a:lnTo>
                    <a:pt x="331" y="3"/>
                  </a:lnTo>
                  <a:lnTo>
                    <a:pt x="346" y="1"/>
                  </a:lnTo>
                  <a:lnTo>
                    <a:pt x="360" y="0"/>
                  </a:lnTo>
                  <a:lnTo>
                    <a:pt x="382" y="1"/>
                  </a:lnTo>
                  <a:lnTo>
                    <a:pt x="403" y="4"/>
                  </a:lnTo>
                  <a:lnTo>
                    <a:pt x="425" y="10"/>
                  </a:lnTo>
                  <a:lnTo>
                    <a:pt x="445" y="17"/>
                  </a:lnTo>
                  <a:lnTo>
                    <a:pt x="464" y="27"/>
                  </a:lnTo>
                  <a:lnTo>
                    <a:pt x="482" y="39"/>
                  </a:lnTo>
                  <a:lnTo>
                    <a:pt x="500" y="52"/>
                  </a:lnTo>
                  <a:lnTo>
                    <a:pt x="515" y="67"/>
                  </a:lnTo>
                  <a:lnTo>
                    <a:pt x="528" y="86"/>
                  </a:lnTo>
                  <a:lnTo>
                    <a:pt x="541" y="106"/>
                  </a:lnTo>
                  <a:lnTo>
                    <a:pt x="553" y="129"/>
                  </a:lnTo>
                  <a:lnTo>
                    <a:pt x="563" y="154"/>
                  </a:lnTo>
                  <a:lnTo>
                    <a:pt x="570" y="179"/>
                  </a:lnTo>
                  <a:lnTo>
                    <a:pt x="576" y="210"/>
                  </a:lnTo>
                  <a:lnTo>
                    <a:pt x="579" y="240"/>
                  </a:lnTo>
                  <a:lnTo>
                    <a:pt x="580" y="273"/>
                  </a:lnTo>
                  <a:lnTo>
                    <a:pt x="580" y="281"/>
                  </a:lnTo>
                  <a:lnTo>
                    <a:pt x="579" y="314"/>
                  </a:lnTo>
                  <a:lnTo>
                    <a:pt x="576" y="346"/>
                  </a:lnTo>
                  <a:lnTo>
                    <a:pt x="570" y="375"/>
                  </a:lnTo>
                  <a:lnTo>
                    <a:pt x="563" y="401"/>
                  </a:lnTo>
                  <a:lnTo>
                    <a:pt x="553" y="425"/>
                  </a:lnTo>
                  <a:lnTo>
                    <a:pt x="541" y="448"/>
                  </a:lnTo>
                  <a:lnTo>
                    <a:pt x="528" y="468"/>
                  </a:lnTo>
                  <a:lnTo>
                    <a:pt x="514" y="485"/>
                  </a:lnTo>
                  <a:lnTo>
                    <a:pt x="498" y="501"/>
                  </a:lnTo>
                  <a:lnTo>
                    <a:pt x="481" y="516"/>
                  </a:lnTo>
                  <a:lnTo>
                    <a:pt x="464" y="527"/>
                  </a:lnTo>
                  <a:lnTo>
                    <a:pt x="443" y="536"/>
                  </a:lnTo>
                  <a:lnTo>
                    <a:pt x="423" y="543"/>
                  </a:lnTo>
                  <a:lnTo>
                    <a:pt x="403" y="549"/>
                  </a:lnTo>
                  <a:lnTo>
                    <a:pt x="382" y="551"/>
                  </a:lnTo>
                  <a:lnTo>
                    <a:pt x="359" y="553"/>
                  </a:lnTo>
                  <a:lnTo>
                    <a:pt x="344" y="551"/>
                  </a:lnTo>
                  <a:lnTo>
                    <a:pt x="331" y="550"/>
                  </a:lnTo>
                  <a:lnTo>
                    <a:pt x="317" y="549"/>
                  </a:lnTo>
                  <a:lnTo>
                    <a:pt x="305" y="546"/>
                  </a:lnTo>
                  <a:lnTo>
                    <a:pt x="292" y="543"/>
                  </a:lnTo>
                  <a:lnTo>
                    <a:pt x="281" y="538"/>
                  </a:lnTo>
                  <a:lnTo>
                    <a:pt x="271" y="533"/>
                  </a:lnTo>
                  <a:lnTo>
                    <a:pt x="259" y="527"/>
                  </a:lnTo>
                  <a:lnTo>
                    <a:pt x="249" y="521"/>
                  </a:lnTo>
                  <a:lnTo>
                    <a:pt x="240" y="514"/>
                  </a:lnTo>
                  <a:lnTo>
                    <a:pt x="232" y="507"/>
                  </a:lnTo>
                  <a:lnTo>
                    <a:pt x="225" y="500"/>
                  </a:lnTo>
                  <a:lnTo>
                    <a:pt x="216" y="491"/>
                  </a:lnTo>
                  <a:lnTo>
                    <a:pt x="210" y="482"/>
                  </a:lnTo>
                  <a:lnTo>
                    <a:pt x="204" y="474"/>
                  </a:lnTo>
                  <a:lnTo>
                    <a:pt x="199" y="464"/>
                  </a:lnTo>
                  <a:lnTo>
                    <a:pt x="199" y="714"/>
                  </a:lnTo>
                  <a:lnTo>
                    <a:pt x="0" y="714"/>
                  </a:lnTo>
                  <a:lnTo>
                    <a:pt x="0" y="14"/>
                  </a:lnTo>
                  <a:close/>
                  <a:moveTo>
                    <a:pt x="379" y="280"/>
                  </a:moveTo>
                  <a:lnTo>
                    <a:pt x="379" y="280"/>
                  </a:lnTo>
                  <a:lnTo>
                    <a:pt x="379" y="271"/>
                  </a:lnTo>
                  <a:lnTo>
                    <a:pt x="379" y="256"/>
                  </a:lnTo>
                  <a:lnTo>
                    <a:pt x="377" y="241"/>
                  </a:lnTo>
                  <a:lnTo>
                    <a:pt x="376" y="228"/>
                  </a:lnTo>
                  <a:lnTo>
                    <a:pt x="373" y="217"/>
                  </a:lnTo>
                  <a:lnTo>
                    <a:pt x="369" y="205"/>
                  </a:lnTo>
                  <a:lnTo>
                    <a:pt x="364" y="195"/>
                  </a:lnTo>
                  <a:lnTo>
                    <a:pt x="360" y="185"/>
                  </a:lnTo>
                  <a:lnTo>
                    <a:pt x="354" y="178"/>
                  </a:lnTo>
                  <a:lnTo>
                    <a:pt x="348" y="171"/>
                  </a:lnTo>
                  <a:lnTo>
                    <a:pt x="341" y="164"/>
                  </a:lnTo>
                  <a:lnTo>
                    <a:pt x="333" y="159"/>
                  </a:lnTo>
                  <a:lnTo>
                    <a:pt x="325" y="155"/>
                  </a:lnTo>
                  <a:lnTo>
                    <a:pt x="315" y="151"/>
                  </a:lnTo>
                  <a:lnTo>
                    <a:pt x="307" y="149"/>
                  </a:lnTo>
                  <a:lnTo>
                    <a:pt x="297" y="148"/>
                  </a:lnTo>
                  <a:lnTo>
                    <a:pt x="285" y="146"/>
                  </a:lnTo>
                  <a:lnTo>
                    <a:pt x="275" y="148"/>
                  </a:lnTo>
                  <a:lnTo>
                    <a:pt x="265" y="149"/>
                  </a:lnTo>
                  <a:lnTo>
                    <a:pt x="255" y="152"/>
                  </a:lnTo>
                  <a:lnTo>
                    <a:pt x="246" y="155"/>
                  </a:lnTo>
                  <a:lnTo>
                    <a:pt x="238" y="159"/>
                  </a:lnTo>
                  <a:lnTo>
                    <a:pt x="230" y="165"/>
                  </a:lnTo>
                  <a:lnTo>
                    <a:pt x="223" y="172"/>
                  </a:lnTo>
                  <a:lnTo>
                    <a:pt x="217" y="179"/>
                  </a:lnTo>
                  <a:lnTo>
                    <a:pt x="212" y="188"/>
                  </a:lnTo>
                  <a:lnTo>
                    <a:pt x="207" y="197"/>
                  </a:lnTo>
                  <a:lnTo>
                    <a:pt x="203" y="207"/>
                  </a:lnTo>
                  <a:lnTo>
                    <a:pt x="200" y="218"/>
                  </a:lnTo>
                  <a:lnTo>
                    <a:pt x="197" y="230"/>
                  </a:lnTo>
                  <a:lnTo>
                    <a:pt x="196" y="243"/>
                  </a:lnTo>
                  <a:lnTo>
                    <a:pt x="194" y="257"/>
                  </a:lnTo>
                  <a:lnTo>
                    <a:pt x="194" y="271"/>
                  </a:lnTo>
                  <a:lnTo>
                    <a:pt x="194" y="280"/>
                  </a:lnTo>
                  <a:lnTo>
                    <a:pt x="194" y="294"/>
                  </a:lnTo>
                  <a:lnTo>
                    <a:pt x="196" y="309"/>
                  </a:lnTo>
                  <a:lnTo>
                    <a:pt x="197" y="320"/>
                  </a:lnTo>
                  <a:lnTo>
                    <a:pt x="200" y="333"/>
                  </a:lnTo>
                  <a:lnTo>
                    <a:pt x="203" y="343"/>
                  </a:lnTo>
                  <a:lnTo>
                    <a:pt x="207" y="353"/>
                  </a:lnTo>
                  <a:lnTo>
                    <a:pt x="212" y="363"/>
                  </a:lnTo>
                  <a:lnTo>
                    <a:pt x="217" y="370"/>
                  </a:lnTo>
                  <a:lnTo>
                    <a:pt x="223" y="378"/>
                  </a:lnTo>
                  <a:lnTo>
                    <a:pt x="230" y="385"/>
                  </a:lnTo>
                  <a:lnTo>
                    <a:pt x="238" y="389"/>
                  </a:lnTo>
                  <a:lnTo>
                    <a:pt x="246" y="393"/>
                  </a:lnTo>
                  <a:lnTo>
                    <a:pt x="255" y="398"/>
                  </a:lnTo>
                  <a:lnTo>
                    <a:pt x="265" y="401"/>
                  </a:lnTo>
                  <a:lnTo>
                    <a:pt x="275" y="402"/>
                  </a:lnTo>
                  <a:lnTo>
                    <a:pt x="287" y="402"/>
                  </a:lnTo>
                  <a:lnTo>
                    <a:pt x="297" y="402"/>
                  </a:lnTo>
                  <a:lnTo>
                    <a:pt x="307" y="399"/>
                  </a:lnTo>
                  <a:lnTo>
                    <a:pt x="317" y="398"/>
                  </a:lnTo>
                  <a:lnTo>
                    <a:pt x="325" y="393"/>
                  </a:lnTo>
                  <a:lnTo>
                    <a:pt x="334" y="389"/>
                  </a:lnTo>
                  <a:lnTo>
                    <a:pt x="341" y="385"/>
                  </a:lnTo>
                  <a:lnTo>
                    <a:pt x="348" y="378"/>
                  </a:lnTo>
                  <a:lnTo>
                    <a:pt x="354" y="370"/>
                  </a:lnTo>
                  <a:lnTo>
                    <a:pt x="360" y="362"/>
                  </a:lnTo>
                  <a:lnTo>
                    <a:pt x="366" y="353"/>
                  </a:lnTo>
                  <a:lnTo>
                    <a:pt x="370" y="343"/>
                  </a:lnTo>
                  <a:lnTo>
                    <a:pt x="373" y="333"/>
                  </a:lnTo>
                  <a:lnTo>
                    <a:pt x="376" y="320"/>
                  </a:lnTo>
                  <a:lnTo>
                    <a:pt x="377" y="307"/>
                  </a:lnTo>
                  <a:lnTo>
                    <a:pt x="379" y="294"/>
                  </a:lnTo>
                  <a:lnTo>
                    <a:pt x="379" y="28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3" name="Freeform 57">
              <a:extLst>
                <a:ext uri="{FF2B5EF4-FFF2-40B4-BE49-F238E27FC236}">
                  <a16:creationId xmlns:a16="http://schemas.microsoft.com/office/drawing/2014/main" id="{6FBDB2DD-9E51-2B7E-8B58-6B7AE3CDD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0663" y="3894138"/>
              <a:ext cx="114300" cy="57150"/>
            </a:xfrm>
            <a:custGeom>
              <a:avLst/>
              <a:gdLst>
                <a:gd name="T0" fmla="*/ 108 w 216"/>
                <a:gd name="T1" fmla="*/ 46 h 108"/>
                <a:gd name="T2" fmla="*/ 98 w 216"/>
                <a:gd name="T3" fmla="*/ 44 h 108"/>
                <a:gd name="T4" fmla="*/ 89 w 216"/>
                <a:gd name="T5" fmla="*/ 41 h 108"/>
                <a:gd name="T6" fmla="*/ 82 w 216"/>
                <a:gd name="T7" fmla="*/ 37 h 108"/>
                <a:gd name="T8" fmla="*/ 75 w 216"/>
                <a:gd name="T9" fmla="*/ 33 h 108"/>
                <a:gd name="T10" fmla="*/ 69 w 216"/>
                <a:gd name="T11" fmla="*/ 26 h 108"/>
                <a:gd name="T12" fmla="*/ 65 w 216"/>
                <a:gd name="T13" fmla="*/ 17 h 108"/>
                <a:gd name="T14" fmla="*/ 62 w 216"/>
                <a:gd name="T15" fmla="*/ 8 h 108"/>
                <a:gd name="T16" fmla="*/ 62 w 216"/>
                <a:gd name="T17" fmla="*/ 0 h 108"/>
                <a:gd name="T18" fmla="*/ 0 w 216"/>
                <a:gd name="T19" fmla="*/ 0 h 108"/>
                <a:gd name="T20" fmla="*/ 0 w 216"/>
                <a:gd name="T21" fmla="*/ 11 h 108"/>
                <a:gd name="T22" fmla="*/ 2 w 216"/>
                <a:gd name="T23" fmla="*/ 21 h 108"/>
                <a:gd name="T24" fmla="*/ 4 w 216"/>
                <a:gd name="T25" fmla="*/ 31 h 108"/>
                <a:gd name="T26" fmla="*/ 7 w 216"/>
                <a:gd name="T27" fmla="*/ 41 h 108"/>
                <a:gd name="T28" fmla="*/ 13 w 216"/>
                <a:gd name="T29" fmla="*/ 52 h 108"/>
                <a:gd name="T30" fmla="*/ 17 w 216"/>
                <a:gd name="T31" fmla="*/ 60 h 108"/>
                <a:gd name="T32" fmla="*/ 25 w 216"/>
                <a:gd name="T33" fmla="*/ 69 h 108"/>
                <a:gd name="T34" fmla="*/ 32 w 216"/>
                <a:gd name="T35" fmla="*/ 76 h 108"/>
                <a:gd name="T36" fmla="*/ 39 w 216"/>
                <a:gd name="T37" fmla="*/ 83 h 108"/>
                <a:gd name="T38" fmla="*/ 48 w 216"/>
                <a:gd name="T39" fmla="*/ 89 h 108"/>
                <a:gd name="T40" fmla="*/ 56 w 216"/>
                <a:gd name="T41" fmla="*/ 95 h 108"/>
                <a:gd name="T42" fmla="*/ 65 w 216"/>
                <a:gd name="T43" fmla="*/ 99 h 108"/>
                <a:gd name="T44" fmla="*/ 75 w 216"/>
                <a:gd name="T45" fmla="*/ 103 h 108"/>
                <a:gd name="T46" fmla="*/ 87 w 216"/>
                <a:gd name="T47" fmla="*/ 106 h 108"/>
                <a:gd name="T48" fmla="*/ 97 w 216"/>
                <a:gd name="T49" fmla="*/ 108 h 108"/>
                <a:gd name="T50" fmla="*/ 108 w 216"/>
                <a:gd name="T51" fmla="*/ 108 h 108"/>
                <a:gd name="T52" fmla="*/ 118 w 216"/>
                <a:gd name="T53" fmla="*/ 108 h 108"/>
                <a:gd name="T54" fmla="*/ 130 w 216"/>
                <a:gd name="T55" fmla="*/ 106 h 108"/>
                <a:gd name="T56" fmla="*/ 140 w 216"/>
                <a:gd name="T57" fmla="*/ 103 h 108"/>
                <a:gd name="T58" fmla="*/ 150 w 216"/>
                <a:gd name="T59" fmla="*/ 99 h 108"/>
                <a:gd name="T60" fmla="*/ 160 w 216"/>
                <a:gd name="T61" fmla="*/ 95 h 108"/>
                <a:gd name="T62" fmla="*/ 169 w 216"/>
                <a:gd name="T63" fmla="*/ 89 h 108"/>
                <a:gd name="T64" fmla="*/ 176 w 216"/>
                <a:gd name="T65" fmla="*/ 83 h 108"/>
                <a:gd name="T66" fmla="*/ 184 w 216"/>
                <a:gd name="T67" fmla="*/ 76 h 108"/>
                <a:gd name="T68" fmla="*/ 192 w 216"/>
                <a:gd name="T69" fmla="*/ 69 h 108"/>
                <a:gd name="T70" fmla="*/ 197 w 216"/>
                <a:gd name="T71" fmla="*/ 60 h 108"/>
                <a:gd name="T72" fmla="*/ 203 w 216"/>
                <a:gd name="T73" fmla="*/ 52 h 108"/>
                <a:gd name="T74" fmla="*/ 207 w 216"/>
                <a:gd name="T75" fmla="*/ 41 h 108"/>
                <a:gd name="T76" fmla="*/ 212 w 216"/>
                <a:gd name="T77" fmla="*/ 31 h 108"/>
                <a:gd name="T78" fmla="*/ 213 w 216"/>
                <a:gd name="T79" fmla="*/ 21 h 108"/>
                <a:gd name="T80" fmla="*/ 215 w 216"/>
                <a:gd name="T81" fmla="*/ 11 h 108"/>
                <a:gd name="T82" fmla="*/ 216 w 216"/>
                <a:gd name="T83" fmla="*/ 0 h 108"/>
                <a:gd name="T84" fmla="*/ 154 w 216"/>
                <a:gd name="T85" fmla="*/ 0 h 108"/>
                <a:gd name="T86" fmla="*/ 153 w 216"/>
                <a:gd name="T87" fmla="*/ 8 h 108"/>
                <a:gd name="T88" fmla="*/ 150 w 216"/>
                <a:gd name="T89" fmla="*/ 17 h 108"/>
                <a:gd name="T90" fmla="*/ 146 w 216"/>
                <a:gd name="T91" fmla="*/ 26 h 108"/>
                <a:gd name="T92" fmla="*/ 140 w 216"/>
                <a:gd name="T93" fmla="*/ 33 h 108"/>
                <a:gd name="T94" fmla="*/ 134 w 216"/>
                <a:gd name="T95" fmla="*/ 37 h 108"/>
                <a:gd name="T96" fmla="*/ 125 w 216"/>
                <a:gd name="T97" fmla="*/ 41 h 108"/>
                <a:gd name="T98" fmla="*/ 117 w 216"/>
                <a:gd name="T99" fmla="*/ 44 h 108"/>
                <a:gd name="T100" fmla="*/ 108 w 216"/>
                <a:gd name="T101" fmla="*/ 4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6" h="108">
                  <a:moveTo>
                    <a:pt x="108" y="46"/>
                  </a:moveTo>
                  <a:lnTo>
                    <a:pt x="98" y="44"/>
                  </a:lnTo>
                  <a:lnTo>
                    <a:pt x="89" y="41"/>
                  </a:lnTo>
                  <a:lnTo>
                    <a:pt x="82" y="37"/>
                  </a:lnTo>
                  <a:lnTo>
                    <a:pt x="75" y="33"/>
                  </a:lnTo>
                  <a:lnTo>
                    <a:pt x="69" y="26"/>
                  </a:lnTo>
                  <a:lnTo>
                    <a:pt x="65" y="17"/>
                  </a:lnTo>
                  <a:lnTo>
                    <a:pt x="62" y="8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" y="21"/>
                  </a:lnTo>
                  <a:lnTo>
                    <a:pt x="4" y="31"/>
                  </a:lnTo>
                  <a:lnTo>
                    <a:pt x="7" y="41"/>
                  </a:lnTo>
                  <a:lnTo>
                    <a:pt x="13" y="52"/>
                  </a:lnTo>
                  <a:lnTo>
                    <a:pt x="17" y="60"/>
                  </a:lnTo>
                  <a:lnTo>
                    <a:pt x="25" y="69"/>
                  </a:lnTo>
                  <a:lnTo>
                    <a:pt x="32" y="76"/>
                  </a:lnTo>
                  <a:lnTo>
                    <a:pt x="39" y="83"/>
                  </a:lnTo>
                  <a:lnTo>
                    <a:pt x="48" y="89"/>
                  </a:lnTo>
                  <a:lnTo>
                    <a:pt x="56" y="95"/>
                  </a:lnTo>
                  <a:lnTo>
                    <a:pt x="65" y="99"/>
                  </a:lnTo>
                  <a:lnTo>
                    <a:pt x="75" y="103"/>
                  </a:lnTo>
                  <a:lnTo>
                    <a:pt x="87" y="106"/>
                  </a:lnTo>
                  <a:lnTo>
                    <a:pt x="97" y="108"/>
                  </a:lnTo>
                  <a:lnTo>
                    <a:pt x="108" y="108"/>
                  </a:lnTo>
                  <a:lnTo>
                    <a:pt x="118" y="108"/>
                  </a:lnTo>
                  <a:lnTo>
                    <a:pt x="130" y="106"/>
                  </a:lnTo>
                  <a:lnTo>
                    <a:pt x="140" y="103"/>
                  </a:lnTo>
                  <a:lnTo>
                    <a:pt x="150" y="99"/>
                  </a:lnTo>
                  <a:lnTo>
                    <a:pt x="160" y="95"/>
                  </a:lnTo>
                  <a:lnTo>
                    <a:pt x="169" y="89"/>
                  </a:lnTo>
                  <a:lnTo>
                    <a:pt x="176" y="83"/>
                  </a:lnTo>
                  <a:lnTo>
                    <a:pt x="184" y="76"/>
                  </a:lnTo>
                  <a:lnTo>
                    <a:pt x="192" y="69"/>
                  </a:lnTo>
                  <a:lnTo>
                    <a:pt x="197" y="60"/>
                  </a:lnTo>
                  <a:lnTo>
                    <a:pt x="203" y="52"/>
                  </a:lnTo>
                  <a:lnTo>
                    <a:pt x="207" y="41"/>
                  </a:lnTo>
                  <a:lnTo>
                    <a:pt x="212" y="31"/>
                  </a:lnTo>
                  <a:lnTo>
                    <a:pt x="213" y="21"/>
                  </a:lnTo>
                  <a:lnTo>
                    <a:pt x="215" y="11"/>
                  </a:lnTo>
                  <a:lnTo>
                    <a:pt x="216" y="0"/>
                  </a:lnTo>
                  <a:lnTo>
                    <a:pt x="154" y="0"/>
                  </a:lnTo>
                  <a:lnTo>
                    <a:pt x="153" y="8"/>
                  </a:lnTo>
                  <a:lnTo>
                    <a:pt x="150" y="17"/>
                  </a:lnTo>
                  <a:lnTo>
                    <a:pt x="146" y="26"/>
                  </a:lnTo>
                  <a:lnTo>
                    <a:pt x="140" y="33"/>
                  </a:lnTo>
                  <a:lnTo>
                    <a:pt x="134" y="37"/>
                  </a:lnTo>
                  <a:lnTo>
                    <a:pt x="125" y="41"/>
                  </a:lnTo>
                  <a:lnTo>
                    <a:pt x="117" y="44"/>
                  </a:lnTo>
                  <a:lnTo>
                    <a:pt x="108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4" name="Freeform 58">
              <a:extLst>
                <a:ext uri="{FF2B5EF4-FFF2-40B4-BE49-F238E27FC236}">
                  <a16:creationId xmlns:a16="http://schemas.microsoft.com/office/drawing/2014/main" id="{A58CF3DA-C774-7D81-AB5B-3C2D0A09D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0975" y="3894138"/>
              <a:ext cx="193675" cy="96838"/>
            </a:xfrm>
            <a:custGeom>
              <a:avLst/>
              <a:gdLst>
                <a:gd name="T0" fmla="*/ 305 w 368"/>
                <a:gd name="T1" fmla="*/ 13 h 184"/>
                <a:gd name="T2" fmla="*/ 301 w 368"/>
                <a:gd name="T3" fmla="*/ 36 h 184"/>
                <a:gd name="T4" fmla="*/ 291 w 368"/>
                <a:gd name="T5" fmla="*/ 57 h 184"/>
                <a:gd name="T6" fmla="*/ 278 w 368"/>
                <a:gd name="T7" fmla="*/ 77 h 184"/>
                <a:gd name="T8" fmla="*/ 262 w 368"/>
                <a:gd name="T9" fmla="*/ 93 h 184"/>
                <a:gd name="T10" fmla="*/ 242 w 368"/>
                <a:gd name="T11" fmla="*/ 106 h 184"/>
                <a:gd name="T12" fmla="*/ 220 w 368"/>
                <a:gd name="T13" fmla="*/ 116 h 184"/>
                <a:gd name="T14" fmla="*/ 196 w 368"/>
                <a:gd name="T15" fmla="*/ 120 h 184"/>
                <a:gd name="T16" fmla="*/ 171 w 368"/>
                <a:gd name="T17" fmla="*/ 120 h 184"/>
                <a:gd name="T18" fmla="*/ 148 w 368"/>
                <a:gd name="T19" fmla="*/ 116 h 184"/>
                <a:gd name="T20" fmla="*/ 125 w 368"/>
                <a:gd name="T21" fmla="*/ 106 h 184"/>
                <a:gd name="T22" fmla="*/ 106 w 368"/>
                <a:gd name="T23" fmla="*/ 93 h 184"/>
                <a:gd name="T24" fmla="*/ 89 w 368"/>
                <a:gd name="T25" fmla="*/ 77 h 184"/>
                <a:gd name="T26" fmla="*/ 76 w 368"/>
                <a:gd name="T27" fmla="*/ 57 h 184"/>
                <a:gd name="T28" fmla="*/ 67 w 368"/>
                <a:gd name="T29" fmla="*/ 36 h 184"/>
                <a:gd name="T30" fmla="*/ 62 w 368"/>
                <a:gd name="T31" fmla="*/ 13 h 184"/>
                <a:gd name="T32" fmla="*/ 0 w 368"/>
                <a:gd name="T33" fmla="*/ 0 h 184"/>
                <a:gd name="T34" fmla="*/ 3 w 368"/>
                <a:gd name="T35" fmla="*/ 37 h 184"/>
                <a:gd name="T36" fmla="*/ 14 w 368"/>
                <a:gd name="T37" fmla="*/ 72 h 184"/>
                <a:gd name="T38" fmla="*/ 31 w 368"/>
                <a:gd name="T39" fmla="*/ 102 h 184"/>
                <a:gd name="T40" fmla="*/ 53 w 368"/>
                <a:gd name="T41" fmla="*/ 129 h 184"/>
                <a:gd name="T42" fmla="*/ 80 w 368"/>
                <a:gd name="T43" fmla="*/ 152 h 184"/>
                <a:gd name="T44" fmla="*/ 112 w 368"/>
                <a:gd name="T45" fmla="*/ 169 h 184"/>
                <a:gd name="T46" fmla="*/ 147 w 368"/>
                <a:gd name="T47" fmla="*/ 179 h 184"/>
                <a:gd name="T48" fmla="*/ 184 w 368"/>
                <a:gd name="T49" fmla="*/ 184 h 184"/>
                <a:gd name="T50" fmla="*/ 220 w 368"/>
                <a:gd name="T51" fmla="*/ 179 h 184"/>
                <a:gd name="T52" fmla="*/ 256 w 368"/>
                <a:gd name="T53" fmla="*/ 169 h 184"/>
                <a:gd name="T54" fmla="*/ 286 w 368"/>
                <a:gd name="T55" fmla="*/ 152 h 184"/>
                <a:gd name="T56" fmla="*/ 314 w 368"/>
                <a:gd name="T57" fmla="*/ 129 h 184"/>
                <a:gd name="T58" fmla="*/ 337 w 368"/>
                <a:gd name="T59" fmla="*/ 102 h 184"/>
                <a:gd name="T60" fmla="*/ 354 w 368"/>
                <a:gd name="T61" fmla="*/ 72 h 184"/>
                <a:gd name="T62" fmla="*/ 364 w 368"/>
                <a:gd name="T63" fmla="*/ 37 h 184"/>
                <a:gd name="T64" fmla="*/ 368 w 368"/>
                <a:gd name="T6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8" h="184">
                  <a:moveTo>
                    <a:pt x="305" y="0"/>
                  </a:moveTo>
                  <a:lnTo>
                    <a:pt x="305" y="13"/>
                  </a:lnTo>
                  <a:lnTo>
                    <a:pt x="304" y="24"/>
                  </a:lnTo>
                  <a:lnTo>
                    <a:pt x="301" y="36"/>
                  </a:lnTo>
                  <a:lnTo>
                    <a:pt x="296" y="47"/>
                  </a:lnTo>
                  <a:lnTo>
                    <a:pt x="291" y="57"/>
                  </a:lnTo>
                  <a:lnTo>
                    <a:pt x="285" y="67"/>
                  </a:lnTo>
                  <a:lnTo>
                    <a:pt x="278" y="77"/>
                  </a:lnTo>
                  <a:lnTo>
                    <a:pt x="271" y="86"/>
                  </a:lnTo>
                  <a:lnTo>
                    <a:pt x="262" y="93"/>
                  </a:lnTo>
                  <a:lnTo>
                    <a:pt x="252" y="100"/>
                  </a:lnTo>
                  <a:lnTo>
                    <a:pt x="242" y="106"/>
                  </a:lnTo>
                  <a:lnTo>
                    <a:pt x="232" y="112"/>
                  </a:lnTo>
                  <a:lnTo>
                    <a:pt x="220" y="116"/>
                  </a:lnTo>
                  <a:lnTo>
                    <a:pt x="209" y="119"/>
                  </a:lnTo>
                  <a:lnTo>
                    <a:pt x="196" y="120"/>
                  </a:lnTo>
                  <a:lnTo>
                    <a:pt x="184" y="122"/>
                  </a:lnTo>
                  <a:lnTo>
                    <a:pt x="171" y="120"/>
                  </a:lnTo>
                  <a:lnTo>
                    <a:pt x="160" y="119"/>
                  </a:lnTo>
                  <a:lnTo>
                    <a:pt x="148" y="116"/>
                  </a:lnTo>
                  <a:lnTo>
                    <a:pt x="137" y="112"/>
                  </a:lnTo>
                  <a:lnTo>
                    <a:pt x="125" y="106"/>
                  </a:lnTo>
                  <a:lnTo>
                    <a:pt x="115" y="100"/>
                  </a:lnTo>
                  <a:lnTo>
                    <a:pt x="106" y="93"/>
                  </a:lnTo>
                  <a:lnTo>
                    <a:pt x="98" y="86"/>
                  </a:lnTo>
                  <a:lnTo>
                    <a:pt x="89" y="77"/>
                  </a:lnTo>
                  <a:lnTo>
                    <a:pt x="82" y="67"/>
                  </a:lnTo>
                  <a:lnTo>
                    <a:pt x="76" y="57"/>
                  </a:lnTo>
                  <a:lnTo>
                    <a:pt x="72" y="47"/>
                  </a:lnTo>
                  <a:lnTo>
                    <a:pt x="67" y="36"/>
                  </a:lnTo>
                  <a:lnTo>
                    <a:pt x="65" y="24"/>
                  </a:lnTo>
                  <a:lnTo>
                    <a:pt x="62" y="13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3" y="37"/>
                  </a:lnTo>
                  <a:lnTo>
                    <a:pt x="7" y="54"/>
                  </a:lnTo>
                  <a:lnTo>
                    <a:pt x="14" y="72"/>
                  </a:lnTo>
                  <a:lnTo>
                    <a:pt x="21" y="87"/>
                  </a:lnTo>
                  <a:lnTo>
                    <a:pt x="31" y="102"/>
                  </a:lnTo>
                  <a:lnTo>
                    <a:pt x="42" y="116"/>
                  </a:lnTo>
                  <a:lnTo>
                    <a:pt x="53" y="129"/>
                  </a:lnTo>
                  <a:lnTo>
                    <a:pt x="66" y="142"/>
                  </a:lnTo>
                  <a:lnTo>
                    <a:pt x="80" y="152"/>
                  </a:lnTo>
                  <a:lnTo>
                    <a:pt x="96" y="161"/>
                  </a:lnTo>
                  <a:lnTo>
                    <a:pt x="112" y="169"/>
                  </a:lnTo>
                  <a:lnTo>
                    <a:pt x="129" y="175"/>
                  </a:lnTo>
                  <a:lnTo>
                    <a:pt x="147" y="179"/>
                  </a:lnTo>
                  <a:lnTo>
                    <a:pt x="165" y="182"/>
                  </a:lnTo>
                  <a:lnTo>
                    <a:pt x="184" y="184"/>
                  </a:lnTo>
                  <a:lnTo>
                    <a:pt x="203" y="182"/>
                  </a:lnTo>
                  <a:lnTo>
                    <a:pt x="220" y="179"/>
                  </a:lnTo>
                  <a:lnTo>
                    <a:pt x="239" y="175"/>
                  </a:lnTo>
                  <a:lnTo>
                    <a:pt x="256" y="169"/>
                  </a:lnTo>
                  <a:lnTo>
                    <a:pt x="272" y="161"/>
                  </a:lnTo>
                  <a:lnTo>
                    <a:pt x="286" y="152"/>
                  </a:lnTo>
                  <a:lnTo>
                    <a:pt x="301" y="142"/>
                  </a:lnTo>
                  <a:lnTo>
                    <a:pt x="314" y="129"/>
                  </a:lnTo>
                  <a:lnTo>
                    <a:pt x="325" y="116"/>
                  </a:lnTo>
                  <a:lnTo>
                    <a:pt x="337" y="102"/>
                  </a:lnTo>
                  <a:lnTo>
                    <a:pt x="345" y="87"/>
                  </a:lnTo>
                  <a:lnTo>
                    <a:pt x="354" y="72"/>
                  </a:lnTo>
                  <a:lnTo>
                    <a:pt x="360" y="54"/>
                  </a:lnTo>
                  <a:lnTo>
                    <a:pt x="364" y="37"/>
                  </a:lnTo>
                  <a:lnTo>
                    <a:pt x="367" y="19"/>
                  </a:lnTo>
                  <a:lnTo>
                    <a:pt x="368" y="0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055" name="Freeform 59">
            <a:extLst>
              <a:ext uri="{FF2B5EF4-FFF2-40B4-BE49-F238E27FC236}">
                <a16:creationId xmlns:a16="http://schemas.microsoft.com/office/drawing/2014/main" id="{2DFFDBD3-7F36-8A8D-3478-2BFDFDDD2516}"/>
              </a:ext>
            </a:extLst>
          </p:cNvPr>
          <p:cNvSpPr>
            <a:spLocks noEditPoints="1"/>
          </p:cNvSpPr>
          <p:nvPr/>
        </p:nvSpPr>
        <p:spPr bwMode="auto">
          <a:xfrm>
            <a:off x="671513" y="6011863"/>
            <a:ext cx="2755900" cy="222250"/>
          </a:xfrm>
          <a:custGeom>
            <a:avLst/>
            <a:gdLst>
              <a:gd name="T0" fmla="*/ 4971 w 5206"/>
              <a:gd name="T1" fmla="*/ 260 h 418"/>
              <a:gd name="T2" fmla="*/ 4831 w 5206"/>
              <a:gd name="T3" fmla="*/ 213 h 418"/>
              <a:gd name="T4" fmla="*/ 4970 w 5206"/>
              <a:gd name="T5" fmla="*/ 164 h 418"/>
              <a:gd name="T6" fmla="*/ 4797 w 5206"/>
              <a:gd name="T7" fmla="*/ 177 h 418"/>
              <a:gd name="T8" fmla="*/ 4751 w 5206"/>
              <a:gd name="T9" fmla="*/ 326 h 418"/>
              <a:gd name="T10" fmla="*/ 4710 w 5206"/>
              <a:gd name="T11" fmla="*/ 305 h 418"/>
              <a:gd name="T12" fmla="*/ 4520 w 5206"/>
              <a:gd name="T13" fmla="*/ 285 h 418"/>
              <a:gd name="T14" fmla="*/ 4536 w 5206"/>
              <a:gd name="T15" fmla="*/ 329 h 418"/>
              <a:gd name="T16" fmla="*/ 4245 w 5206"/>
              <a:gd name="T17" fmla="*/ 269 h 418"/>
              <a:gd name="T18" fmla="*/ 4293 w 5206"/>
              <a:gd name="T19" fmla="*/ 134 h 418"/>
              <a:gd name="T20" fmla="*/ 4366 w 5206"/>
              <a:gd name="T21" fmla="*/ 257 h 418"/>
              <a:gd name="T22" fmla="*/ 4404 w 5206"/>
              <a:gd name="T23" fmla="*/ 269 h 418"/>
              <a:gd name="T24" fmla="*/ 4277 w 5206"/>
              <a:gd name="T25" fmla="*/ 98 h 418"/>
              <a:gd name="T26" fmla="*/ 4226 w 5206"/>
              <a:gd name="T27" fmla="*/ 303 h 418"/>
              <a:gd name="T28" fmla="*/ 3956 w 5206"/>
              <a:gd name="T29" fmla="*/ 229 h 418"/>
              <a:gd name="T30" fmla="*/ 4071 w 5206"/>
              <a:gd name="T31" fmla="*/ 143 h 418"/>
              <a:gd name="T32" fmla="*/ 4064 w 5206"/>
              <a:gd name="T33" fmla="*/ 286 h 418"/>
              <a:gd name="T34" fmla="*/ 3987 w 5206"/>
              <a:gd name="T35" fmla="*/ 318 h 418"/>
              <a:gd name="T36" fmla="*/ 4144 w 5206"/>
              <a:gd name="T37" fmla="*/ 177 h 418"/>
              <a:gd name="T38" fmla="*/ 3758 w 5206"/>
              <a:gd name="T39" fmla="*/ 102 h 418"/>
              <a:gd name="T40" fmla="*/ 3724 w 5206"/>
              <a:gd name="T41" fmla="*/ 15 h 418"/>
              <a:gd name="T42" fmla="*/ 3616 w 5206"/>
              <a:gd name="T43" fmla="*/ 180 h 418"/>
              <a:gd name="T44" fmla="*/ 3386 w 5206"/>
              <a:gd name="T45" fmla="*/ 289 h 418"/>
              <a:gd name="T46" fmla="*/ 3365 w 5206"/>
              <a:gd name="T47" fmla="*/ 147 h 418"/>
              <a:gd name="T48" fmla="*/ 3488 w 5206"/>
              <a:gd name="T49" fmla="*/ 222 h 418"/>
              <a:gd name="T50" fmla="*/ 3347 w 5206"/>
              <a:gd name="T51" fmla="*/ 121 h 418"/>
              <a:gd name="T52" fmla="*/ 3494 w 5206"/>
              <a:gd name="T53" fmla="*/ 296 h 418"/>
              <a:gd name="T54" fmla="*/ 3426 w 5206"/>
              <a:gd name="T55" fmla="*/ 97 h 418"/>
              <a:gd name="T56" fmla="*/ 3220 w 5206"/>
              <a:gd name="T57" fmla="*/ 115 h 418"/>
              <a:gd name="T58" fmla="*/ 3102 w 5206"/>
              <a:gd name="T59" fmla="*/ 206 h 418"/>
              <a:gd name="T60" fmla="*/ 3135 w 5206"/>
              <a:gd name="T61" fmla="*/ 288 h 418"/>
              <a:gd name="T62" fmla="*/ 3243 w 5206"/>
              <a:gd name="T63" fmla="*/ 285 h 418"/>
              <a:gd name="T64" fmla="*/ 2949 w 5206"/>
              <a:gd name="T65" fmla="*/ 97 h 418"/>
              <a:gd name="T66" fmla="*/ 2941 w 5206"/>
              <a:gd name="T67" fmla="*/ 133 h 418"/>
              <a:gd name="T68" fmla="*/ 2984 w 5206"/>
              <a:gd name="T69" fmla="*/ 102 h 418"/>
              <a:gd name="T70" fmla="*/ 2683 w 5206"/>
              <a:gd name="T71" fmla="*/ 133 h 418"/>
              <a:gd name="T72" fmla="*/ 2658 w 5206"/>
              <a:gd name="T73" fmla="*/ 98 h 418"/>
              <a:gd name="T74" fmla="*/ 2608 w 5206"/>
              <a:gd name="T75" fmla="*/ 303 h 418"/>
              <a:gd name="T76" fmla="*/ 2697 w 5206"/>
              <a:gd name="T77" fmla="*/ 292 h 418"/>
              <a:gd name="T78" fmla="*/ 2462 w 5206"/>
              <a:gd name="T79" fmla="*/ 417 h 418"/>
              <a:gd name="T80" fmla="*/ 2523 w 5206"/>
              <a:gd name="T81" fmla="*/ 51 h 418"/>
              <a:gd name="T82" fmla="*/ 2483 w 5206"/>
              <a:gd name="T83" fmla="*/ 54 h 418"/>
              <a:gd name="T84" fmla="*/ 2318 w 5206"/>
              <a:gd name="T85" fmla="*/ 133 h 418"/>
              <a:gd name="T86" fmla="*/ 2294 w 5206"/>
              <a:gd name="T87" fmla="*/ 98 h 418"/>
              <a:gd name="T88" fmla="*/ 2244 w 5206"/>
              <a:gd name="T89" fmla="*/ 303 h 418"/>
              <a:gd name="T90" fmla="*/ 2333 w 5206"/>
              <a:gd name="T91" fmla="*/ 292 h 418"/>
              <a:gd name="T92" fmla="*/ 1910 w 5206"/>
              <a:gd name="T93" fmla="*/ 279 h 418"/>
              <a:gd name="T94" fmla="*/ 1930 w 5206"/>
              <a:gd name="T95" fmla="*/ 137 h 418"/>
              <a:gd name="T96" fmla="*/ 2026 w 5206"/>
              <a:gd name="T97" fmla="*/ 245 h 418"/>
              <a:gd name="T98" fmla="*/ 2045 w 5206"/>
              <a:gd name="T99" fmla="*/ 288 h 418"/>
              <a:gd name="T100" fmla="*/ 1954 w 5206"/>
              <a:gd name="T101" fmla="*/ 97 h 418"/>
              <a:gd name="T102" fmla="*/ 1863 w 5206"/>
              <a:gd name="T103" fmla="*/ 288 h 418"/>
              <a:gd name="T104" fmla="*/ 1469 w 5206"/>
              <a:gd name="T105" fmla="*/ 292 h 418"/>
              <a:gd name="T106" fmla="*/ 1404 w 5206"/>
              <a:gd name="T107" fmla="*/ 168 h 418"/>
              <a:gd name="T108" fmla="*/ 1545 w 5206"/>
              <a:gd name="T109" fmla="*/ 189 h 418"/>
              <a:gd name="T110" fmla="*/ 1541 w 5206"/>
              <a:gd name="T111" fmla="*/ 130 h 418"/>
              <a:gd name="T112" fmla="*/ 1352 w 5206"/>
              <a:gd name="T113" fmla="*/ 213 h 418"/>
              <a:gd name="T114" fmla="*/ 1541 w 5206"/>
              <a:gd name="T115" fmla="*/ 295 h 418"/>
              <a:gd name="T116" fmla="*/ 1161 w 5206"/>
              <a:gd name="T117" fmla="*/ 166 h 418"/>
              <a:gd name="T118" fmla="*/ 1300 w 5206"/>
              <a:gd name="T119" fmla="*/ 141 h 418"/>
              <a:gd name="T120" fmla="*/ 1057 w 5206"/>
              <a:gd name="T121" fmla="*/ 289 h 418"/>
              <a:gd name="T122" fmla="*/ 966 w 5206"/>
              <a:gd name="T123" fmla="*/ 102 h 418"/>
              <a:gd name="T124" fmla="*/ 412 w 5206"/>
              <a:gd name="T125" fmla="*/ 324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206" h="418">
                <a:moveTo>
                  <a:pt x="5088" y="286"/>
                </a:moveTo>
                <a:lnTo>
                  <a:pt x="5201" y="128"/>
                </a:lnTo>
                <a:lnTo>
                  <a:pt x="5201" y="102"/>
                </a:lnTo>
                <a:lnTo>
                  <a:pt x="5040" y="102"/>
                </a:lnTo>
                <a:lnTo>
                  <a:pt x="5040" y="138"/>
                </a:lnTo>
                <a:lnTo>
                  <a:pt x="5148" y="138"/>
                </a:lnTo>
                <a:lnTo>
                  <a:pt x="5034" y="298"/>
                </a:lnTo>
                <a:lnTo>
                  <a:pt x="5034" y="324"/>
                </a:lnTo>
                <a:lnTo>
                  <a:pt x="5206" y="324"/>
                </a:lnTo>
                <a:lnTo>
                  <a:pt x="5206" y="286"/>
                </a:lnTo>
                <a:lnTo>
                  <a:pt x="5088" y="286"/>
                </a:lnTo>
                <a:close/>
                <a:moveTo>
                  <a:pt x="4909" y="329"/>
                </a:moveTo>
                <a:lnTo>
                  <a:pt x="4909" y="329"/>
                </a:lnTo>
                <a:lnTo>
                  <a:pt x="4925" y="328"/>
                </a:lnTo>
                <a:lnTo>
                  <a:pt x="4941" y="325"/>
                </a:lnTo>
                <a:lnTo>
                  <a:pt x="4955" y="321"/>
                </a:lnTo>
                <a:lnTo>
                  <a:pt x="4968" y="313"/>
                </a:lnTo>
                <a:lnTo>
                  <a:pt x="4981" y="305"/>
                </a:lnTo>
                <a:lnTo>
                  <a:pt x="4993" y="295"/>
                </a:lnTo>
                <a:lnTo>
                  <a:pt x="5001" y="285"/>
                </a:lnTo>
                <a:lnTo>
                  <a:pt x="5010" y="272"/>
                </a:lnTo>
                <a:lnTo>
                  <a:pt x="4977" y="253"/>
                </a:lnTo>
                <a:lnTo>
                  <a:pt x="4971" y="260"/>
                </a:lnTo>
                <a:lnTo>
                  <a:pt x="4965" y="269"/>
                </a:lnTo>
                <a:lnTo>
                  <a:pt x="4958" y="275"/>
                </a:lnTo>
                <a:lnTo>
                  <a:pt x="4949" y="280"/>
                </a:lnTo>
                <a:lnTo>
                  <a:pt x="4941" y="285"/>
                </a:lnTo>
                <a:lnTo>
                  <a:pt x="4931" y="289"/>
                </a:lnTo>
                <a:lnTo>
                  <a:pt x="4921" y="290"/>
                </a:lnTo>
                <a:lnTo>
                  <a:pt x="4909" y="290"/>
                </a:lnTo>
                <a:lnTo>
                  <a:pt x="4900" y="290"/>
                </a:lnTo>
                <a:lnTo>
                  <a:pt x="4893" y="289"/>
                </a:lnTo>
                <a:lnTo>
                  <a:pt x="4886" y="288"/>
                </a:lnTo>
                <a:lnTo>
                  <a:pt x="4879" y="285"/>
                </a:lnTo>
                <a:lnTo>
                  <a:pt x="4872" y="282"/>
                </a:lnTo>
                <a:lnTo>
                  <a:pt x="4864" y="278"/>
                </a:lnTo>
                <a:lnTo>
                  <a:pt x="4859" y="273"/>
                </a:lnTo>
                <a:lnTo>
                  <a:pt x="4853" y="269"/>
                </a:lnTo>
                <a:lnTo>
                  <a:pt x="4849" y="263"/>
                </a:lnTo>
                <a:lnTo>
                  <a:pt x="4844" y="257"/>
                </a:lnTo>
                <a:lnTo>
                  <a:pt x="4840" y="250"/>
                </a:lnTo>
                <a:lnTo>
                  <a:pt x="4837" y="243"/>
                </a:lnTo>
                <a:lnTo>
                  <a:pt x="4834" y="236"/>
                </a:lnTo>
                <a:lnTo>
                  <a:pt x="4833" y="229"/>
                </a:lnTo>
                <a:lnTo>
                  <a:pt x="4831" y="222"/>
                </a:lnTo>
                <a:lnTo>
                  <a:pt x="4831" y="213"/>
                </a:lnTo>
                <a:lnTo>
                  <a:pt x="4831" y="204"/>
                </a:lnTo>
                <a:lnTo>
                  <a:pt x="4833" y="197"/>
                </a:lnTo>
                <a:lnTo>
                  <a:pt x="4834" y="189"/>
                </a:lnTo>
                <a:lnTo>
                  <a:pt x="4837" y="181"/>
                </a:lnTo>
                <a:lnTo>
                  <a:pt x="4840" y="174"/>
                </a:lnTo>
                <a:lnTo>
                  <a:pt x="4844" y="168"/>
                </a:lnTo>
                <a:lnTo>
                  <a:pt x="4849" y="163"/>
                </a:lnTo>
                <a:lnTo>
                  <a:pt x="4853" y="157"/>
                </a:lnTo>
                <a:lnTo>
                  <a:pt x="4859" y="151"/>
                </a:lnTo>
                <a:lnTo>
                  <a:pt x="4864" y="147"/>
                </a:lnTo>
                <a:lnTo>
                  <a:pt x="4872" y="143"/>
                </a:lnTo>
                <a:lnTo>
                  <a:pt x="4879" y="140"/>
                </a:lnTo>
                <a:lnTo>
                  <a:pt x="4886" y="137"/>
                </a:lnTo>
                <a:lnTo>
                  <a:pt x="4893" y="135"/>
                </a:lnTo>
                <a:lnTo>
                  <a:pt x="4900" y="134"/>
                </a:lnTo>
                <a:lnTo>
                  <a:pt x="4909" y="134"/>
                </a:lnTo>
                <a:lnTo>
                  <a:pt x="4921" y="134"/>
                </a:lnTo>
                <a:lnTo>
                  <a:pt x="4931" y="137"/>
                </a:lnTo>
                <a:lnTo>
                  <a:pt x="4941" y="140"/>
                </a:lnTo>
                <a:lnTo>
                  <a:pt x="4949" y="144"/>
                </a:lnTo>
                <a:lnTo>
                  <a:pt x="4957" y="150"/>
                </a:lnTo>
                <a:lnTo>
                  <a:pt x="4964" y="157"/>
                </a:lnTo>
                <a:lnTo>
                  <a:pt x="4970" y="164"/>
                </a:lnTo>
                <a:lnTo>
                  <a:pt x="4975" y="173"/>
                </a:lnTo>
                <a:lnTo>
                  <a:pt x="5007" y="154"/>
                </a:lnTo>
                <a:lnTo>
                  <a:pt x="5000" y="141"/>
                </a:lnTo>
                <a:lnTo>
                  <a:pt x="4991" y="130"/>
                </a:lnTo>
                <a:lnTo>
                  <a:pt x="4981" y="121"/>
                </a:lnTo>
                <a:lnTo>
                  <a:pt x="4968" y="112"/>
                </a:lnTo>
                <a:lnTo>
                  <a:pt x="4955" y="105"/>
                </a:lnTo>
                <a:lnTo>
                  <a:pt x="4941" y="101"/>
                </a:lnTo>
                <a:lnTo>
                  <a:pt x="4925" y="97"/>
                </a:lnTo>
                <a:lnTo>
                  <a:pt x="4909" y="97"/>
                </a:lnTo>
                <a:lnTo>
                  <a:pt x="4898" y="97"/>
                </a:lnTo>
                <a:lnTo>
                  <a:pt x="4885" y="98"/>
                </a:lnTo>
                <a:lnTo>
                  <a:pt x="4873" y="101"/>
                </a:lnTo>
                <a:lnTo>
                  <a:pt x="4863" y="105"/>
                </a:lnTo>
                <a:lnTo>
                  <a:pt x="4853" y="110"/>
                </a:lnTo>
                <a:lnTo>
                  <a:pt x="4843" y="115"/>
                </a:lnTo>
                <a:lnTo>
                  <a:pt x="4834" y="122"/>
                </a:lnTo>
                <a:lnTo>
                  <a:pt x="4826" y="130"/>
                </a:lnTo>
                <a:lnTo>
                  <a:pt x="4818" y="138"/>
                </a:lnTo>
                <a:lnTo>
                  <a:pt x="4811" y="147"/>
                </a:lnTo>
                <a:lnTo>
                  <a:pt x="4805" y="157"/>
                </a:lnTo>
                <a:lnTo>
                  <a:pt x="4801" y="167"/>
                </a:lnTo>
                <a:lnTo>
                  <a:pt x="4797" y="177"/>
                </a:lnTo>
                <a:lnTo>
                  <a:pt x="4795" y="189"/>
                </a:lnTo>
                <a:lnTo>
                  <a:pt x="4792" y="200"/>
                </a:lnTo>
                <a:lnTo>
                  <a:pt x="4792" y="213"/>
                </a:lnTo>
                <a:lnTo>
                  <a:pt x="4792" y="224"/>
                </a:lnTo>
                <a:lnTo>
                  <a:pt x="4795" y="236"/>
                </a:lnTo>
                <a:lnTo>
                  <a:pt x="4797" y="247"/>
                </a:lnTo>
                <a:lnTo>
                  <a:pt x="4801" y="259"/>
                </a:lnTo>
                <a:lnTo>
                  <a:pt x="4805" y="269"/>
                </a:lnTo>
                <a:lnTo>
                  <a:pt x="4811" y="279"/>
                </a:lnTo>
                <a:lnTo>
                  <a:pt x="4818" y="288"/>
                </a:lnTo>
                <a:lnTo>
                  <a:pt x="4826" y="296"/>
                </a:lnTo>
                <a:lnTo>
                  <a:pt x="4834" y="303"/>
                </a:lnTo>
                <a:lnTo>
                  <a:pt x="4843" y="309"/>
                </a:lnTo>
                <a:lnTo>
                  <a:pt x="4853" y="315"/>
                </a:lnTo>
                <a:lnTo>
                  <a:pt x="4863" y="321"/>
                </a:lnTo>
                <a:lnTo>
                  <a:pt x="4873" y="324"/>
                </a:lnTo>
                <a:lnTo>
                  <a:pt x="4885" y="326"/>
                </a:lnTo>
                <a:lnTo>
                  <a:pt x="4898" y="329"/>
                </a:lnTo>
                <a:lnTo>
                  <a:pt x="4909" y="329"/>
                </a:lnTo>
                <a:close/>
                <a:moveTo>
                  <a:pt x="4739" y="328"/>
                </a:moveTo>
                <a:lnTo>
                  <a:pt x="4739" y="328"/>
                </a:lnTo>
                <a:lnTo>
                  <a:pt x="4745" y="328"/>
                </a:lnTo>
                <a:lnTo>
                  <a:pt x="4751" y="326"/>
                </a:lnTo>
                <a:lnTo>
                  <a:pt x="4755" y="324"/>
                </a:lnTo>
                <a:lnTo>
                  <a:pt x="4759" y="321"/>
                </a:lnTo>
                <a:lnTo>
                  <a:pt x="4764" y="316"/>
                </a:lnTo>
                <a:lnTo>
                  <a:pt x="4765" y="311"/>
                </a:lnTo>
                <a:lnTo>
                  <a:pt x="4768" y="305"/>
                </a:lnTo>
                <a:lnTo>
                  <a:pt x="4768" y="299"/>
                </a:lnTo>
                <a:lnTo>
                  <a:pt x="4768" y="293"/>
                </a:lnTo>
                <a:lnTo>
                  <a:pt x="4765" y="289"/>
                </a:lnTo>
                <a:lnTo>
                  <a:pt x="4764" y="283"/>
                </a:lnTo>
                <a:lnTo>
                  <a:pt x="4759" y="279"/>
                </a:lnTo>
                <a:lnTo>
                  <a:pt x="4755" y="276"/>
                </a:lnTo>
                <a:lnTo>
                  <a:pt x="4751" y="273"/>
                </a:lnTo>
                <a:lnTo>
                  <a:pt x="4745" y="272"/>
                </a:lnTo>
                <a:lnTo>
                  <a:pt x="4739" y="270"/>
                </a:lnTo>
                <a:lnTo>
                  <a:pt x="4733" y="272"/>
                </a:lnTo>
                <a:lnTo>
                  <a:pt x="4728" y="273"/>
                </a:lnTo>
                <a:lnTo>
                  <a:pt x="4723" y="276"/>
                </a:lnTo>
                <a:lnTo>
                  <a:pt x="4719" y="279"/>
                </a:lnTo>
                <a:lnTo>
                  <a:pt x="4715" y="283"/>
                </a:lnTo>
                <a:lnTo>
                  <a:pt x="4712" y="289"/>
                </a:lnTo>
                <a:lnTo>
                  <a:pt x="4710" y="293"/>
                </a:lnTo>
                <a:lnTo>
                  <a:pt x="4710" y="299"/>
                </a:lnTo>
                <a:lnTo>
                  <a:pt x="4710" y="305"/>
                </a:lnTo>
                <a:lnTo>
                  <a:pt x="4712" y="311"/>
                </a:lnTo>
                <a:lnTo>
                  <a:pt x="4715" y="316"/>
                </a:lnTo>
                <a:lnTo>
                  <a:pt x="4719" y="321"/>
                </a:lnTo>
                <a:lnTo>
                  <a:pt x="4723" y="324"/>
                </a:lnTo>
                <a:lnTo>
                  <a:pt x="4728" y="326"/>
                </a:lnTo>
                <a:lnTo>
                  <a:pt x="4733" y="328"/>
                </a:lnTo>
                <a:lnTo>
                  <a:pt x="4739" y="328"/>
                </a:lnTo>
                <a:close/>
                <a:moveTo>
                  <a:pt x="4617" y="102"/>
                </a:moveTo>
                <a:lnTo>
                  <a:pt x="4617" y="102"/>
                </a:lnTo>
                <a:lnTo>
                  <a:pt x="4617" y="219"/>
                </a:lnTo>
                <a:lnTo>
                  <a:pt x="4615" y="237"/>
                </a:lnTo>
                <a:lnTo>
                  <a:pt x="4612" y="253"/>
                </a:lnTo>
                <a:lnTo>
                  <a:pt x="4610" y="259"/>
                </a:lnTo>
                <a:lnTo>
                  <a:pt x="4607" y="266"/>
                </a:lnTo>
                <a:lnTo>
                  <a:pt x="4602" y="270"/>
                </a:lnTo>
                <a:lnTo>
                  <a:pt x="4598" y="276"/>
                </a:lnTo>
                <a:lnTo>
                  <a:pt x="4589" y="283"/>
                </a:lnTo>
                <a:lnTo>
                  <a:pt x="4578" y="289"/>
                </a:lnTo>
                <a:lnTo>
                  <a:pt x="4566" y="292"/>
                </a:lnTo>
                <a:lnTo>
                  <a:pt x="4553" y="292"/>
                </a:lnTo>
                <a:lnTo>
                  <a:pt x="4540" y="292"/>
                </a:lnTo>
                <a:lnTo>
                  <a:pt x="4530" y="289"/>
                </a:lnTo>
                <a:lnTo>
                  <a:pt x="4520" y="285"/>
                </a:lnTo>
                <a:lnTo>
                  <a:pt x="4513" y="278"/>
                </a:lnTo>
                <a:lnTo>
                  <a:pt x="4506" y="270"/>
                </a:lnTo>
                <a:lnTo>
                  <a:pt x="4502" y="260"/>
                </a:lnTo>
                <a:lnTo>
                  <a:pt x="4499" y="249"/>
                </a:lnTo>
                <a:lnTo>
                  <a:pt x="4497" y="236"/>
                </a:lnTo>
                <a:lnTo>
                  <a:pt x="4497" y="102"/>
                </a:lnTo>
                <a:lnTo>
                  <a:pt x="4458" y="102"/>
                </a:lnTo>
                <a:lnTo>
                  <a:pt x="4458" y="237"/>
                </a:lnTo>
                <a:lnTo>
                  <a:pt x="4460" y="249"/>
                </a:lnTo>
                <a:lnTo>
                  <a:pt x="4461" y="259"/>
                </a:lnTo>
                <a:lnTo>
                  <a:pt x="4463" y="267"/>
                </a:lnTo>
                <a:lnTo>
                  <a:pt x="4466" y="276"/>
                </a:lnTo>
                <a:lnTo>
                  <a:pt x="4468" y="285"/>
                </a:lnTo>
                <a:lnTo>
                  <a:pt x="4473" y="292"/>
                </a:lnTo>
                <a:lnTo>
                  <a:pt x="4477" y="299"/>
                </a:lnTo>
                <a:lnTo>
                  <a:pt x="4483" y="305"/>
                </a:lnTo>
                <a:lnTo>
                  <a:pt x="4489" y="311"/>
                </a:lnTo>
                <a:lnTo>
                  <a:pt x="4494" y="315"/>
                </a:lnTo>
                <a:lnTo>
                  <a:pt x="4502" y="319"/>
                </a:lnTo>
                <a:lnTo>
                  <a:pt x="4510" y="324"/>
                </a:lnTo>
                <a:lnTo>
                  <a:pt x="4517" y="326"/>
                </a:lnTo>
                <a:lnTo>
                  <a:pt x="4526" y="328"/>
                </a:lnTo>
                <a:lnTo>
                  <a:pt x="4536" y="329"/>
                </a:lnTo>
                <a:lnTo>
                  <a:pt x="4545" y="329"/>
                </a:lnTo>
                <a:lnTo>
                  <a:pt x="4556" y="329"/>
                </a:lnTo>
                <a:lnTo>
                  <a:pt x="4568" y="326"/>
                </a:lnTo>
                <a:lnTo>
                  <a:pt x="4578" y="325"/>
                </a:lnTo>
                <a:lnTo>
                  <a:pt x="4586" y="321"/>
                </a:lnTo>
                <a:lnTo>
                  <a:pt x="4595" y="315"/>
                </a:lnTo>
                <a:lnTo>
                  <a:pt x="4604" y="309"/>
                </a:lnTo>
                <a:lnTo>
                  <a:pt x="4611" y="301"/>
                </a:lnTo>
                <a:lnTo>
                  <a:pt x="4617" y="292"/>
                </a:lnTo>
                <a:lnTo>
                  <a:pt x="4617" y="324"/>
                </a:lnTo>
                <a:lnTo>
                  <a:pt x="4656" y="324"/>
                </a:lnTo>
                <a:lnTo>
                  <a:pt x="4656" y="102"/>
                </a:lnTo>
                <a:lnTo>
                  <a:pt x="4617" y="102"/>
                </a:lnTo>
                <a:close/>
                <a:moveTo>
                  <a:pt x="4301" y="292"/>
                </a:moveTo>
                <a:lnTo>
                  <a:pt x="4301" y="292"/>
                </a:lnTo>
                <a:lnTo>
                  <a:pt x="4293" y="290"/>
                </a:lnTo>
                <a:lnTo>
                  <a:pt x="4284" y="290"/>
                </a:lnTo>
                <a:lnTo>
                  <a:pt x="4277" y="288"/>
                </a:lnTo>
                <a:lnTo>
                  <a:pt x="4270" y="286"/>
                </a:lnTo>
                <a:lnTo>
                  <a:pt x="4262" y="282"/>
                </a:lnTo>
                <a:lnTo>
                  <a:pt x="4257" y="279"/>
                </a:lnTo>
                <a:lnTo>
                  <a:pt x="4251" y="273"/>
                </a:lnTo>
                <a:lnTo>
                  <a:pt x="4245" y="269"/>
                </a:lnTo>
                <a:lnTo>
                  <a:pt x="4239" y="263"/>
                </a:lnTo>
                <a:lnTo>
                  <a:pt x="4235" y="257"/>
                </a:lnTo>
                <a:lnTo>
                  <a:pt x="4232" y="250"/>
                </a:lnTo>
                <a:lnTo>
                  <a:pt x="4228" y="245"/>
                </a:lnTo>
                <a:lnTo>
                  <a:pt x="4226" y="236"/>
                </a:lnTo>
                <a:lnTo>
                  <a:pt x="4224" y="229"/>
                </a:lnTo>
                <a:lnTo>
                  <a:pt x="4222" y="222"/>
                </a:lnTo>
                <a:lnTo>
                  <a:pt x="4222" y="213"/>
                </a:lnTo>
                <a:lnTo>
                  <a:pt x="4222" y="204"/>
                </a:lnTo>
                <a:lnTo>
                  <a:pt x="4224" y="197"/>
                </a:lnTo>
                <a:lnTo>
                  <a:pt x="4226" y="189"/>
                </a:lnTo>
                <a:lnTo>
                  <a:pt x="4228" y="181"/>
                </a:lnTo>
                <a:lnTo>
                  <a:pt x="4232" y="174"/>
                </a:lnTo>
                <a:lnTo>
                  <a:pt x="4235" y="168"/>
                </a:lnTo>
                <a:lnTo>
                  <a:pt x="4239" y="163"/>
                </a:lnTo>
                <a:lnTo>
                  <a:pt x="4245" y="157"/>
                </a:lnTo>
                <a:lnTo>
                  <a:pt x="4251" y="151"/>
                </a:lnTo>
                <a:lnTo>
                  <a:pt x="4257" y="147"/>
                </a:lnTo>
                <a:lnTo>
                  <a:pt x="4262" y="143"/>
                </a:lnTo>
                <a:lnTo>
                  <a:pt x="4270" y="140"/>
                </a:lnTo>
                <a:lnTo>
                  <a:pt x="4277" y="137"/>
                </a:lnTo>
                <a:lnTo>
                  <a:pt x="4284" y="135"/>
                </a:lnTo>
                <a:lnTo>
                  <a:pt x="4293" y="134"/>
                </a:lnTo>
                <a:lnTo>
                  <a:pt x="4301" y="134"/>
                </a:lnTo>
                <a:lnTo>
                  <a:pt x="4309" y="134"/>
                </a:lnTo>
                <a:lnTo>
                  <a:pt x="4317" y="135"/>
                </a:lnTo>
                <a:lnTo>
                  <a:pt x="4324" y="137"/>
                </a:lnTo>
                <a:lnTo>
                  <a:pt x="4332" y="140"/>
                </a:lnTo>
                <a:lnTo>
                  <a:pt x="4339" y="143"/>
                </a:lnTo>
                <a:lnTo>
                  <a:pt x="4345" y="147"/>
                </a:lnTo>
                <a:lnTo>
                  <a:pt x="4352" y="151"/>
                </a:lnTo>
                <a:lnTo>
                  <a:pt x="4356" y="157"/>
                </a:lnTo>
                <a:lnTo>
                  <a:pt x="4362" y="163"/>
                </a:lnTo>
                <a:lnTo>
                  <a:pt x="4366" y="168"/>
                </a:lnTo>
                <a:lnTo>
                  <a:pt x="4370" y="174"/>
                </a:lnTo>
                <a:lnTo>
                  <a:pt x="4373" y="181"/>
                </a:lnTo>
                <a:lnTo>
                  <a:pt x="4376" y="189"/>
                </a:lnTo>
                <a:lnTo>
                  <a:pt x="4378" y="197"/>
                </a:lnTo>
                <a:lnTo>
                  <a:pt x="4379" y="204"/>
                </a:lnTo>
                <a:lnTo>
                  <a:pt x="4379" y="213"/>
                </a:lnTo>
                <a:lnTo>
                  <a:pt x="4379" y="222"/>
                </a:lnTo>
                <a:lnTo>
                  <a:pt x="4378" y="229"/>
                </a:lnTo>
                <a:lnTo>
                  <a:pt x="4376" y="236"/>
                </a:lnTo>
                <a:lnTo>
                  <a:pt x="4373" y="245"/>
                </a:lnTo>
                <a:lnTo>
                  <a:pt x="4370" y="250"/>
                </a:lnTo>
                <a:lnTo>
                  <a:pt x="4366" y="257"/>
                </a:lnTo>
                <a:lnTo>
                  <a:pt x="4362" y="263"/>
                </a:lnTo>
                <a:lnTo>
                  <a:pt x="4356" y="269"/>
                </a:lnTo>
                <a:lnTo>
                  <a:pt x="4352" y="273"/>
                </a:lnTo>
                <a:lnTo>
                  <a:pt x="4345" y="279"/>
                </a:lnTo>
                <a:lnTo>
                  <a:pt x="4339" y="282"/>
                </a:lnTo>
                <a:lnTo>
                  <a:pt x="4332" y="286"/>
                </a:lnTo>
                <a:lnTo>
                  <a:pt x="4324" y="288"/>
                </a:lnTo>
                <a:lnTo>
                  <a:pt x="4317" y="290"/>
                </a:lnTo>
                <a:lnTo>
                  <a:pt x="4309" y="290"/>
                </a:lnTo>
                <a:lnTo>
                  <a:pt x="4301" y="292"/>
                </a:lnTo>
                <a:close/>
                <a:moveTo>
                  <a:pt x="4301" y="329"/>
                </a:moveTo>
                <a:lnTo>
                  <a:pt x="4301" y="329"/>
                </a:lnTo>
                <a:lnTo>
                  <a:pt x="4313" y="329"/>
                </a:lnTo>
                <a:lnTo>
                  <a:pt x="4324" y="326"/>
                </a:lnTo>
                <a:lnTo>
                  <a:pt x="4336" y="324"/>
                </a:lnTo>
                <a:lnTo>
                  <a:pt x="4346" y="321"/>
                </a:lnTo>
                <a:lnTo>
                  <a:pt x="4356" y="315"/>
                </a:lnTo>
                <a:lnTo>
                  <a:pt x="4366" y="309"/>
                </a:lnTo>
                <a:lnTo>
                  <a:pt x="4375" y="303"/>
                </a:lnTo>
                <a:lnTo>
                  <a:pt x="4383" y="296"/>
                </a:lnTo>
                <a:lnTo>
                  <a:pt x="4391" y="288"/>
                </a:lnTo>
                <a:lnTo>
                  <a:pt x="4398" y="279"/>
                </a:lnTo>
                <a:lnTo>
                  <a:pt x="4404" y="269"/>
                </a:lnTo>
                <a:lnTo>
                  <a:pt x="4409" y="259"/>
                </a:lnTo>
                <a:lnTo>
                  <a:pt x="4412" y="247"/>
                </a:lnTo>
                <a:lnTo>
                  <a:pt x="4415" y="236"/>
                </a:lnTo>
                <a:lnTo>
                  <a:pt x="4418" y="224"/>
                </a:lnTo>
                <a:lnTo>
                  <a:pt x="4418" y="213"/>
                </a:lnTo>
                <a:lnTo>
                  <a:pt x="4418" y="200"/>
                </a:lnTo>
                <a:lnTo>
                  <a:pt x="4415" y="189"/>
                </a:lnTo>
                <a:lnTo>
                  <a:pt x="4412" y="177"/>
                </a:lnTo>
                <a:lnTo>
                  <a:pt x="4409" y="167"/>
                </a:lnTo>
                <a:lnTo>
                  <a:pt x="4404" y="157"/>
                </a:lnTo>
                <a:lnTo>
                  <a:pt x="4398" y="147"/>
                </a:lnTo>
                <a:lnTo>
                  <a:pt x="4391" y="138"/>
                </a:lnTo>
                <a:lnTo>
                  <a:pt x="4383" y="130"/>
                </a:lnTo>
                <a:lnTo>
                  <a:pt x="4375" y="122"/>
                </a:lnTo>
                <a:lnTo>
                  <a:pt x="4366" y="115"/>
                </a:lnTo>
                <a:lnTo>
                  <a:pt x="4356" y="110"/>
                </a:lnTo>
                <a:lnTo>
                  <a:pt x="4346" y="105"/>
                </a:lnTo>
                <a:lnTo>
                  <a:pt x="4336" y="101"/>
                </a:lnTo>
                <a:lnTo>
                  <a:pt x="4324" y="98"/>
                </a:lnTo>
                <a:lnTo>
                  <a:pt x="4313" y="97"/>
                </a:lnTo>
                <a:lnTo>
                  <a:pt x="4301" y="97"/>
                </a:lnTo>
                <a:lnTo>
                  <a:pt x="4288" y="97"/>
                </a:lnTo>
                <a:lnTo>
                  <a:pt x="4277" y="98"/>
                </a:lnTo>
                <a:lnTo>
                  <a:pt x="4265" y="101"/>
                </a:lnTo>
                <a:lnTo>
                  <a:pt x="4255" y="105"/>
                </a:lnTo>
                <a:lnTo>
                  <a:pt x="4245" y="110"/>
                </a:lnTo>
                <a:lnTo>
                  <a:pt x="4235" y="115"/>
                </a:lnTo>
                <a:lnTo>
                  <a:pt x="4226" y="122"/>
                </a:lnTo>
                <a:lnTo>
                  <a:pt x="4218" y="130"/>
                </a:lnTo>
                <a:lnTo>
                  <a:pt x="4211" y="138"/>
                </a:lnTo>
                <a:lnTo>
                  <a:pt x="4203" y="147"/>
                </a:lnTo>
                <a:lnTo>
                  <a:pt x="4198" y="157"/>
                </a:lnTo>
                <a:lnTo>
                  <a:pt x="4193" y="167"/>
                </a:lnTo>
                <a:lnTo>
                  <a:pt x="4189" y="177"/>
                </a:lnTo>
                <a:lnTo>
                  <a:pt x="4186" y="189"/>
                </a:lnTo>
                <a:lnTo>
                  <a:pt x="4185" y="200"/>
                </a:lnTo>
                <a:lnTo>
                  <a:pt x="4183" y="213"/>
                </a:lnTo>
                <a:lnTo>
                  <a:pt x="4185" y="224"/>
                </a:lnTo>
                <a:lnTo>
                  <a:pt x="4186" y="236"/>
                </a:lnTo>
                <a:lnTo>
                  <a:pt x="4189" y="247"/>
                </a:lnTo>
                <a:lnTo>
                  <a:pt x="4193" y="259"/>
                </a:lnTo>
                <a:lnTo>
                  <a:pt x="4198" y="269"/>
                </a:lnTo>
                <a:lnTo>
                  <a:pt x="4203" y="279"/>
                </a:lnTo>
                <a:lnTo>
                  <a:pt x="4211" y="288"/>
                </a:lnTo>
                <a:lnTo>
                  <a:pt x="4218" y="296"/>
                </a:lnTo>
                <a:lnTo>
                  <a:pt x="4226" y="303"/>
                </a:lnTo>
                <a:lnTo>
                  <a:pt x="4235" y="309"/>
                </a:lnTo>
                <a:lnTo>
                  <a:pt x="4245" y="315"/>
                </a:lnTo>
                <a:lnTo>
                  <a:pt x="4255" y="321"/>
                </a:lnTo>
                <a:lnTo>
                  <a:pt x="4265" y="324"/>
                </a:lnTo>
                <a:lnTo>
                  <a:pt x="4277" y="326"/>
                </a:lnTo>
                <a:lnTo>
                  <a:pt x="4288" y="329"/>
                </a:lnTo>
                <a:lnTo>
                  <a:pt x="4301" y="329"/>
                </a:lnTo>
                <a:close/>
                <a:moveTo>
                  <a:pt x="4032" y="292"/>
                </a:moveTo>
                <a:lnTo>
                  <a:pt x="4032" y="292"/>
                </a:lnTo>
                <a:lnTo>
                  <a:pt x="4025" y="292"/>
                </a:lnTo>
                <a:lnTo>
                  <a:pt x="4016" y="290"/>
                </a:lnTo>
                <a:lnTo>
                  <a:pt x="4009" y="289"/>
                </a:lnTo>
                <a:lnTo>
                  <a:pt x="4002" y="286"/>
                </a:lnTo>
                <a:lnTo>
                  <a:pt x="3995" y="283"/>
                </a:lnTo>
                <a:lnTo>
                  <a:pt x="3987" y="279"/>
                </a:lnTo>
                <a:lnTo>
                  <a:pt x="3982" y="275"/>
                </a:lnTo>
                <a:lnTo>
                  <a:pt x="3976" y="269"/>
                </a:lnTo>
                <a:lnTo>
                  <a:pt x="3972" y="263"/>
                </a:lnTo>
                <a:lnTo>
                  <a:pt x="3967" y="257"/>
                </a:lnTo>
                <a:lnTo>
                  <a:pt x="3963" y="252"/>
                </a:lnTo>
                <a:lnTo>
                  <a:pt x="3960" y="245"/>
                </a:lnTo>
                <a:lnTo>
                  <a:pt x="3957" y="237"/>
                </a:lnTo>
                <a:lnTo>
                  <a:pt x="3956" y="229"/>
                </a:lnTo>
                <a:lnTo>
                  <a:pt x="3954" y="222"/>
                </a:lnTo>
                <a:lnTo>
                  <a:pt x="3953" y="213"/>
                </a:lnTo>
                <a:lnTo>
                  <a:pt x="3954" y="204"/>
                </a:lnTo>
                <a:lnTo>
                  <a:pt x="3956" y="196"/>
                </a:lnTo>
                <a:lnTo>
                  <a:pt x="3957" y="189"/>
                </a:lnTo>
                <a:lnTo>
                  <a:pt x="3960" y="181"/>
                </a:lnTo>
                <a:lnTo>
                  <a:pt x="3963" y="174"/>
                </a:lnTo>
                <a:lnTo>
                  <a:pt x="3967" y="168"/>
                </a:lnTo>
                <a:lnTo>
                  <a:pt x="3972" y="161"/>
                </a:lnTo>
                <a:lnTo>
                  <a:pt x="3976" y="155"/>
                </a:lnTo>
                <a:lnTo>
                  <a:pt x="3982" y="151"/>
                </a:lnTo>
                <a:lnTo>
                  <a:pt x="3987" y="147"/>
                </a:lnTo>
                <a:lnTo>
                  <a:pt x="3995" y="143"/>
                </a:lnTo>
                <a:lnTo>
                  <a:pt x="4002" y="140"/>
                </a:lnTo>
                <a:lnTo>
                  <a:pt x="4009" y="137"/>
                </a:lnTo>
                <a:lnTo>
                  <a:pt x="4016" y="135"/>
                </a:lnTo>
                <a:lnTo>
                  <a:pt x="4025" y="134"/>
                </a:lnTo>
                <a:lnTo>
                  <a:pt x="4032" y="134"/>
                </a:lnTo>
                <a:lnTo>
                  <a:pt x="4041" y="134"/>
                </a:lnTo>
                <a:lnTo>
                  <a:pt x="4049" y="135"/>
                </a:lnTo>
                <a:lnTo>
                  <a:pt x="4057" y="137"/>
                </a:lnTo>
                <a:lnTo>
                  <a:pt x="4064" y="140"/>
                </a:lnTo>
                <a:lnTo>
                  <a:pt x="4071" y="143"/>
                </a:lnTo>
                <a:lnTo>
                  <a:pt x="4077" y="147"/>
                </a:lnTo>
                <a:lnTo>
                  <a:pt x="4082" y="151"/>
                </a:lnTo>
                <a:lnTo>
                  <a:pt x="4088" y="155"/>
                </a:lnTo>
                <a:lnTo>
                  <a:pt x="4094" y="161"/>
                </a:lnTo>
                <a:lnTo>
                  <a:pt x="4098" y="168"/>
                </a:lnTo>
                <a:lnTo>
                  <a:pt x="4103" y="174"/>
                </a:lnTo>
                <a:lnTo>
                  <a:pt x="4106" y="181"/>
                </a:lnTo>
                <a:lnTo>
                  <a:pt x="4108" y="189"/>
                </a:lnTo>
                <a:lnTo>
                  <a:pt x="4110" y="196"/>
                </a:lnTo>
                <a:lnTo>
                  <a:pt x="4111" y="204"/>
                </a:lnTo>
                <a:lnTo>
                  <a:pt x="4111" y="213"/>
                </a:lnTo>
                <a:lnTo>
                  <a:pt x="4111" y="222"/>
                </a:lnTo>
                <a:lnTo>
                  <a:pt x="4110" y="229"/>
                </a:lnTo>
                <a:lnTo>
                  <a:pt x="4108" y="237"/>
                </a:lnTo>
                <a:lnTo>
                  <a:pt x="4106" y="245"/>
                </a:lnTo>
                <a:lnTo>
                  <a:pt x="4103" y="252"/>
                </a:lnTo>
                <a:lnTo>
                  <a:pt x="4098" y="257"/>
                </a:lnTo>
                <a:lnTo>
                  <a:pt x="4094" y="263"/>
                </a:lnTo>
                <a:lnTo>
                  <a:pt x="4088" y="269"/>
                </a:lnTo>
                <a:lnTo>
                  <a:pt x="4082" y="275"/>
                </a:lnTo>
                <a:lnTo>
                  <a:pt x="4077" y="279"/>
                </a:lnTo>
                <a:lnTo>
                  <a:pt x="4071" y="283"/>
                </a:lnTo>
                <a:lnTo>
                  <a:pt x="4064" y="286"/>
                </a:lnTo>
                <a:lnTo>
                  <a:pt x="4057" y="289"/>
                </a:lnTo>
                <a:lnTo>
                  <a:pt x="4049" y="290"/>
                </a:lnTo>
                <a:lnTo>
                  <a:pt x="4041" y="292"/>
                </a:lnTo>
                <a:lnTo>
                  <a:pt x="4032" y="292"/>
                </a:lnTo>
                <a:close/>
                <a:moveTo>
                  <a:pt x="4038" y="97"/>
                </a:moveTo>
                <a:lnTo>
                  <a:pt x="4038" y="97"/>
                </a:lnTo>
                <a:lnTo>
                  <a:pt x="4023" y="97"/>
                </a:lnTo>
                <a:lnTo>
                  <a:pt x="4010" y="99"/>
                </a:lnTo>
                <a:lnTo>
                  <a:pt x="3999" y="102"/>
                </a:lnTo>
                <a:lnTo>
                  <a:pt x="3987" y="108"/>
                </a:lnTo>
                <a:lnTo>
                  <a:pt x="3977" y="114"/>
                </a:lnTo>
                <a:lnTo>
                  <a:pt x="3969" y="121"/>
                </a:lnTo>
                <a:lnTo>
                  <a:pt x="3960" y="130"/>
                </a:lnTo>
                <a:lnTo>
                  <a:pt x="3953" y="140"/>
                </a:lnTo>
                <a:lnTo>
                  <a:pt x="3953" y="13"/>
                </a:lnTo>
                <a:lnTo>
                  <a:pt x="3915" y="13"/>
                </a:lnTo>
                <a:lnTo>
                  <a:pt x="3915" y="324"/>
                </a:lnTo>
                <a:lnTo>
                  <a:pt x="3953" y="324"/>
                </a:lnTo>
                <a:lnTo>
                  <a:pt x="3953" y="285"/>
                </a:lnTo>
                <a:lnTo>
                  <a:pt x="3960" y="295"/>
                </a:lnTo>
                <a:lnTo>
                  <a:pt x="3969" y="303"/>
                </a:lnTo>
                <a:lnTo>
                  <a:pt x="3977" y="311"/>
                </a:lnTo>
                <a:lnTo>
                  <a:pt x="3987" y="318"/>
                </a:lnTo>
                <a:lnTo>
                  <a:pt x="3999" y="322"/>
                </a:lnTo>
                <a:lnTo>
                  <a:pt x="4010" y="326"/>
                </a:lnTo>
                <a:lnTo>
                  <a:pt x="4023" y="328"/>
                </a:lnTo>
                <a:lnTo>
                  <a:pt x="4038" y="329"/>
                </a:lnTo>
                <a:lnTo>
                  <a:pt x="4049" y="329"/>
                </a:lnTo>
                <a:lnTo>
                  <a:pt x="4059" y="326"/>
                </a:lnTo>
                <a:lnTo>
                  <a:pt x="4071" y="324"/>
                </a:lnTo>
                <a:lnTo>
                  <a:pt x="4081" y="321"/>
                </a:lnTo>
                <a:lnTo>
                  <a:pt x="4091" y="315"/>
                </a:lnTo>
                <a:lnTo>
                  <a:pt x="4100" y="309"/>
                </a:lnTo>
                <a:lnTo>
                  <a:pt x="4108" y="303"/>
                </a:lnTo>
                <a:lnTo>
                  <a:pt x="4117" y="296"/>
                </a:lnTo>
                <a:lnTo>
                  <a:pt x="4124" y="288"/>
                </a:lnTo>
                <a:lnTo>
                  <a:pt x="4131" y="279"/>
                </a:lnTo>
                <a:lnTo>
                  <a:pt x="4136" y="269"/>
                </a:lnTo>
                <a:lnTo>
                  <a:pt x="4142" y="259"/>
                </a:lnTo>
                <a:lnTo>
                  <a:pt x="4144" y="247"/>
                </a:lnTo>
                <a:lnTo>
                  <a:pt x="4147" y="236"/>
                </a:lnTo>
                <a:lnTo>
                  <a:pt x="4150" y="224"/>
                </a:lnTo>
                <a:lnTo>
                  <a:pt x="4150" y="213"/>
                </a:lnTo>
                <a:lnTo>
                  <a:pt x="4150" y="200"/>
                </a:lnTo>
                <a:lnTo>
                  <a:pt x="4147" y="189"/>
                </a:lnTo>
                <a:lnTo>
                  <a:pt x="4144" y="177"/>
                </a:lnTo>
                <a:lnTo>
                  <a:pt x="4142" y="167"/>
                </a:lnTo>
                <a:lnTo>
                  <a:pt x="4136" y="157"/>
                </a:lnTo>
                <a:lnTo>
                  <a:pt x="4131" y="147"/>
                </a:lnTo>
                <a:lnTo>
                  <a:pt x="4124" y="138"/>
                </a:lnTo>
                <a:lnTo>
                  <a:pt x="4117" y="130"/>
                </a:lnTo>
                <a:lnTo>
                  <a:pt x="4108" y="122"/>
                </a:lnTo>
                <a:lnTo>
                  <a:pt x="4100" y="115"/>
                </a:lnTo>
                <a:lnTo>
                  <a:pt x="4091" y="110"/>
                </a:lnTo>
                <a:lnTo>
                  <a:pt x="4081" y="105"/>
                </a:lnTo>
                <a:lnTo>
                  <a:pt x="4071" y="101"/>
                </a:lnTo>
                <a:lnTo>
                  <a:pt x="4059" y="98"/>
                </a:lnTo>
                <a:lnTo>
                  <a:pt x="4049" y="97"/>
                </a:lnTo>
                <a:lnTo>
                  <a:pt x="4038" y="97"/>
                </a:lnTo>
                <a:close/>
                <a:moveTo>
                  <a:pt x="3818" y="324"/>
                </a:moveTo>
                <a:lnTo>
                  <a:pt x="3818" y="324"/>
                </a:lnTo>
                <a:lnTo>
                  <a:pt x="3856" y="324"/>
                </a:lnTo>
                <a:lnTo>
                  <a:pt x="3856" y="0"/>
                </a:lnTo>
                <a:lnTo>
                  <a:pt x="3818" y="0"/>
                </a:lnTo>
                <a:lnTo>
                  <a:pt x="3818" y="324"/>
                </a:lnTo>
                <a:close/>
                <a:moveTo>
                  <a:pt x="3720" y="324"/>
                </a:moveTo>
                <a:lnTo>
                  <a:pt x="3720" y="324"/>
                </a:lnTo>
                <a:lnTo>
                  <a:pt x="3758" y="324"/>
                </a:lnTo>
                <a:lnTo>
                  <a:pt x="3758" y="102"/>
                </a:lnTo>
                <a:lnTo>
                  <a:pt x="3720" y="102"/>
                </a:lnTo>
                <a:lnTo>
                  <a:pt x="3720" y="324"/>
                </a:lnTo>
                <a:close/>
                <a:moveTo>
                  <a:pt x="3738" y="62"/>
                </a:moveTo>
                <a:lnTo>
                  <a:pt x="3738" y="62"/>
                </a:lnTo>
                <a:lnTo>
                  <a:pt x="3744" y="61"/>
                </a:lnTo>
                <a:lnTo>
                  <a:pt x="3748" y="59"/>
                </a:lnTo>
                <a:lnTo>
                  <a:pt x="3753" y="58"/>
                </a:lnTo>
                <a:lnTo>
                  <a:pt x="3757" y="54"/>
                </a:lnTo>
                <a:lnTo>
                  <a:pt x="3760" y="51"/>
                </a:lnTo>
                <a:lnTo>
                  <a:pt x="3763" y="46"/>
                </a:lnTo>
                <a:lnTo>
                  <a:pt x="3764" y="41"/>
                </a:lnTo>
                <a:lnTo>
                  <a:pt x="3764" y="36"/>
                </a:lnTo>
                <a:lnTo>
                  <a:pt x="3764" y="31"/>
                </a:lnTo>
                <a:lnTo>
                  <a:pt x="3763" y="26"/>
                </a:lnTo>
                <a:lnTo>
                  <a:pt x="3760" y="22"/>
                </a:lnTo>
                <a:lnTo>
                  <a:pt x="3757" y="18"/>
                </a:lnTo>
                <a:lnTo>
                  <a:pt x="3753" y="15"/>
                </a:lnTo>
                <a:lnTo>
                  <a:pt x="3748" y="12"/>
                </a:lnTo>
                <a:lnTo>
                  <a:pt x="3744" y="10"/>
                </a:lnTo>
                <a:lnTo>
                  <a:pt x="3738" y="9"/>
                </a:lnTo>
                <a:lnTo>
                  <a:pt x="3734" y="10"/>
                </a:lnTo>
                <a:lnTo>
                  <a:pt x="3728" y="12"/>
                </a:lnTo>
                <a:lnTo>
                  <a:pt x="3724" y="15"/>
                </a:lnTo>
                <a:lnTo>
                  <a:pt x="3720" y="18"/>
                </a:lnTo>
                <a:lnTo>
                  <a:pt x="3717" y="22"/>
                </a:lnTo>
                <a:lnTo>
                  <a:pt x="3715" y="26"/>
                </a:lnTo>
                <a:lnTo>
                  <a:pt x="3714" y="31"/>
                </a:lnTo>
                <a:lnTo>
                  <a:pt x="3712" y="36"/>
                </a:lnTo>
                <a:lnTo>
                  <a:pt x="3714" y="41"/>
                </a:lnTo>
                <a:lnTo>
                  <a:pt x="3715" y="46"/>
                </a:lnTo>
                <a:lnTo>
                  <a:pt x="3717" y="51"/>
                </a:lnTo>
                <a:lnTo>
                  <a:pt x="3720" y="54"/>
                </a:lnTo>
                <a:lnTo>
                  <a:pt x="3724" y="58"/>
                </a:lnTo>
                <a:lnTo>
                  <a:pt x="3728" y="59"/>
                </a:lnTo>
                <a:lnTo>
                  <a:pt x="3734" y="61"/>
                </a:lnTo>
                <a:lnTo>
                  <a:pt x="3738" y="62"/>
                </a:lnTo>
                <a:close/>
                <a:moveTo>
                  <a:pt x="3612" y="140"/>
                </a:moveTo>
                <a:lnTo>
                  <a:pt x="3612" y="140"/>
                </a:lnTo>
                <a:lnTo>
                  <a:pt x="3612" y="102"/>
                </a:lnTo>
                <a:lnTo>
                  <a:pt x="3574" y="102"/>
                </a:lnTo>
                <a:lnTo>
                  <a:pt x="3574" y="324"/>
                </a:lnTo>
                <a:lnTo>
                  <a:pt x="3612" y="324"/>
                </a:lnTo>
                <a:lnTo>
                  <a:pt x="3612" y="206"/>
                </a:lnTo>
                <a:lnTo>
                  <a:pt x="3613" y="197"/>
                </a:lnTo>
                <a:lnTo>
                  <a:pt x="3614" y="189"/>
                </a:lnTo>
                <a:lnTo>
                  <a:pt x="3616" y="180"/>
                </a:lnTo>
                <a:lnTo>
                  <a:pt x="3619" y="173"/>
                </a:lnTo>
                <a:lnTo>
                  <a:pt x="3622" y="167"/>
                </a:lnTo>
                <a:lnTo>
                  <a:pt x="3626" y="161"/>
                </a:lnTo>
                <a:lnTo>
                  <a:pt x="3630" y="157"/>
                </a:lnTo>
                <a:lnTo>
                  <a:pt x="3635" y="153"/>
                </a:lnTo>
                <a:lnTo>
                  <a:pt x="3645" y="145"/>
                </a:lnTo>
                <a:lnTo>
                  <a:pt x="3656" y="141"/>
                </a:lnTo>
                <a:lnTo>
                  <a:pt x="3669" y="138"/>
                </a:lnTo>
                <a:lnTo>
                  <a:pt x="3682" y="138"/>
                </a:lnTo>
                <a:lnTo>
                  <a:pt x="3682" y="98"/>
                </a:lnTo>
                <a:lnTo>
                  <a:pt x="3671" y="98"/>
                </a:lnTo>
                <a:lnTo>
                  <a:pt x="3661" y="99"/>
                </a:lnTo>
                <a:lnTo>
                  <a:pt x="3650" y="102"/>
                </a:lnTo>
                <a:lnTo>
                  <a:pt x="3642" y="107"/>
                </a:lnTo>
                <a:lnTo>
                  <a:pt x="3633" y="112"/>
                </a:lnTo>
                <a:lnTo>
                  <a:pt x="3625" y="120"/>
                </a:lnTo>
                <a:lnTo>
                  <a:pt x="3619" y="128"/>
                </a:lnTo>
                <a:lnTo>
                  <a:pt x="3612" y="140"/>
                </a:lnTo>
                <a:close/>
                <a:moveTo>
                  <a:pt x="3410" y="292"/>
                </a:moveTo>
                <a:lnTo>
                  <a:pt x="3410" y="292"/>
                </a:lnTo>
                <a:lnTo>
                  <a:pt x="3401" y="292"/>
                </a:lnTo>
                <a:lnTo>
                  <a:pt x="3394" y="290"/>
                </a:lnTo>
                <a:lnTo>
                  <a:pt x="3386" y="289"/>
                </a:lnTo>
                <a:lnTo>
                  <a:pt x="3378" y="286"/>
                </a:lnTo>
                <a:lnTo>
                  <a:pt x="3371" y="283"/>
                </a:lnTo>
                <a:lnTo>
                  <a:pt x="3365" y="279"/>
                </a:lnTo>
                <a:lnTo>
                  <a:pt x="3360" y="275"/>
                </a:lnTo>
                <a:lnTo>
                  <a:pt x="3354" y="269"/>
                </a:lnTo>
                <a:lnTo>
                  <a:pt x="3348" y="263"/>
                </a:lnTo>
                <a:lnTo>
                  <a:pt x="3344" y="257"/>
                </a:lnTo>
                <a:lnTo>
                  <a:pt x="3339" y="252"/>
                </a:lnTo>
                <a:lnTo>
                  <a:pt x="3337" y="245"/>
                </a:lnTo>
                <a:lnTo>
                  <a:pt x="3334" y="237"/>
                </a:lnTo>
                <a:lnTo>
                  <a:pt x="3332" y="229"/>
                </a:lnTo>
                <a:lnTo>
                  <a:pt x="3331" y="222"/>
                </a:lnTo>
                <a:lnTo>
                  <a:pt x="3331" y="213"/>
                </a:lnTo>
                <a:lnTo>
                  <a:pt x="3331" y="204"/>
                </a:lnTo>
                <a:lnTo>
                  <a:pt x="3332" y="196"/>
                </a:lnTo>
                <a:lnTo>
                  <a:pt x="3334" y="189"/>
                </a:lnTo>
                <a:lnTo>
                  <a:pt x="3337" y="181"/>
                </a:lnTo>
                <a:lnTo>
                  <a:pt x="3339" y="174"/>
                </a:lnTo>
                <a:lnTo>
                  <a:pt x="3344" y="168"/>
                </a:lnTo>
                <a:lnTo>
                  <a:pt x="3348" y="161"/>
                </a:lnTo>
                <a:lnTo>
                  <a:pt x="3354" y="155"/>
                </a:lnTo>
                <a:lnTo>
                  <a:pt x="3360" y="151"/>
                </a:lnTo>
                <a:lnTo>
                  <a:pt x="3365" y="147"/>
                </a:lnTo>
                <a:lnTo>
                  <a:pt x="3371" y="143"/>
                </a:lnTo>
                <a:lnTo>
                  <a:pt x="3378" y="140"/>
                </a:lnTo>
                <a:lnTo>
                  <a:pt x="3386" y="137"/>
                </a:lnTo>
                <a:lnTo>
                  <a:pt x="3394" y="135"/>
                </a:lnTo>
                <a:lnTo>
                  <a:pt x="3401" y="134"/>
                </a:lnTo>
                <a:lnTo>
                  <a:pt x="3410" y="134"/>
                </a:lnTo>
                <a:lnTo>
                  <a:pt x="3419" y="134"/>
                </a:lnTo>
                <a:lnTo>
                  <a:pt x="3426" y="135"/>
                </a:lnTo>
                <a:lnTo>
                  <a:pt x="3433" y="137"/>
                </a:lnTo>
                <a:lnTo>
                  <a:pt x="3442" y="140"/>
                </a:lnTo>
                <a:lnTo>
                  <a:pt x="3447" y="143"/>
                </a:lnTo>
                <a:lnTo>
                  <a:pt x="3455" y="147"/>
                </a:lnTo>
                <a:lnTo>
                  <a:pt x="3460" y="151"/>
                </a:lnTo>
                <a:lnTo>
                  <a:pt x="3466" y="155"/>
                </a:lnTo>
                <a:lnTo>
                  <a:pt x="3470" y="161"/>
                </a:lnTo>
                <a:lnTo>
                  <a:pt x="3475" y="168"/>
                </a:lnTo>
                <a:lnTo>
                  <a:pt x="3479" y="174"/>
                </a:lnTo>
                <a:lnTo>
                  <a:pt x="3482" y="181"/>
                </a:lnTo>
                <a:lnTo>
                  <a:pt x="3485" y="189"/>
                </a:lnTo>
                <a:lnTo>
                  <a:pt x="3488" y="196"/>
                </a:lnTo>
                <a:lnTo>
                  <a:pt x="3488" y="204"/>
                </a:lnTo>
                <a:lnTo>
                  <a:pt x="3489" y="213"/>
                </a:lnTo>
                <a:lnTo>
                  <a:pt x="3488" y="222"/>
                </a:lnTo>
                <a:lnTo>
                  <a:pt x="3488" y="229"/>
                </a:lnTo>
                <a:lnTo>
                  <a:pt x="3485" y="237"/>
                </a:lnTo>
                <a:lnTo>
                  <a:pt x="3482" y="245"/>
                </a:lnTo>
                <a:lnTo>
                  <a:pt x="3479" y="252"/>
                </a:lnTo>
                <a:lnTo>
                  <a:pt x="3475" y="257"/>
                </a:lnTo>
                <a:lnTo>
                  <a:pt x="3470" y="263"/>
                </a:lnTo>
                <a:lnTo>
                  <a:pt x="3466" y="269"/>
                </a:lnTo>
                <a:lnTo>
                  <a:pt x="3460" y="275"/>
                </a:lnTo>
                <a:lnTo>
                  <a:pt x="3455" y="279"/>
                </a:lnTo>
                <a:lnTo>
                  <a:pt x="3447" y="283"/>
                </a:lnTo>
                <a:lnTo>
                  <a:pt x="3442" y="286"/>
                </a:lnTo>
                <a:lnTo>
                  <a:pt x="3433" y="289"/>
                </a:lnTo>
                <a:lnTo>
                  <a:pt x="3426" y="290"/>
                </a:lnTo>
                <a:lnTo>
                  <a:pt x="3419" y="292"/>
                </a:lnTo>
                <a:lnTo>
                  <a:pt x="3410" y="292"/>
                </a:lnTo>
                <a:close/>
                <a:moveTo>
                  <a:pt x="3414" y="97"/>
                </a:moveTo>
                <a:lnTo>
                  <a:pt x="3414" y="97"/>
                </a:lnTo>
                <a:lnTo>
                  <a:pt x="3401" y="97"/>
                </a:lnTo>
                <a:lnTo>
                  <a:pt x="3388" y="99"/>
                </a:lnTo>
                <a:lnTo>
                  <a:pt x="3377" y="102"/>
                </a:lnTo>
                <a:lnTo>
                  <a:pt x="3365" y="108"/>
                </a:lnTo>
                <a:lnTo>
                  <a:pt x="3355" y="114"/>
                </a:lnTo>
                <a:lnTo>
                  <a:pt x="3347" y="121"/>
                </a:lnTo>
                <a:lnTo>
                  <a:pt x="3338" y="130"/>
                </a:lnTo>
                <a:lnTo>
                  <a:pt x="3331" y="140"/>
                </a:lnTo>
                <a:lnTo>
                  <a:pt x="3331" y="102"/>
                </a:lnTo>
                <a:lnTo>
                  <a:pt x="3292" y="102"/>
                </a:lnTo>
                <a:lnTo>
                  <a:pt x="3292" y="413"/>
                </a:lnTo>
                <a:lnTo>
                  <a:pt x="3331" y="413"/>
                </a:lnTo>
                <a:lnTo>
                  <a:pt x="3331" y="285"/>
                </a:lnTo>
                <a:lnTo>
                  <a:pt x="3338" y="295"/>
                </a:lnTo>
                <a:lnTo>
                  <a:pt x="3347" y="303"/>
                </a:lnTo>
                <a:lnTo>
                  <a:pt x="3355" y="311"/>
                </a:lnTo>
                <a:lnTo>
                  <a:pt x="3365" y="318"/>
                </a:lnTo>
                <a:lnTo>
                  <a:pt x="3377" y="322"/>
                </a:lnTo>
                <a:lnTo>
                  <a:pt x="3388" y="326"/>
                </a:lnTo>
                <a:lnTo>
                  <a:pt x="3401" y="328"/>
                </a:lnTo>
                <a:lnTo>
                  <a:pt x="3414" y="329"/>
                </a:lnTo>
                <a:lnTo>
                  <a:pt x="3426" y="329"/>
                </a:lnTo>
                <a:lnTo>
                  <a:pt x="3437" y="326"/>
                </a:lnTo>
                <a:lnTo>
                  <a:pt x="3449" y="324"/>
                </a:lnTo>
                <a:lnTo>
                  <a:pt x="3459" y="321"/>
                </a:lnTo>
                <a:lnTo>
                  <a:pt x="3468" y="315"/>
                </a:lnTo>
                <a:lnTo>
                  <a:pt x="3478" y="309"/>
                </a:lnTo>
                <a:lnTo>
                  <a:pt x="3486" y="303"/>
                </a:lnTo>
                <a:lnTo>
                  <a:pt x="3494" y="296"/>
                </a:lnTo>
                <a:lnTo>
                  <a:pt x="3502" y="288"/>
                </a:lnTo>
                <a:lnTo>
                  <a:pt x="3508" y="279"/>
                </a:lnTo>
                <a:lnTo>
                  <a:pt x="3514" y="269"/>
                </a:lnTo>
                <a:lnTo>
                  <a:pt x="3518" y="259"/>
                </a:lnTo>
                <a:lnTo>
                  <a:pt x="3522" y="247"/>
                </a:lnTo>
                <a:lnTo>
                  <a:pt x="3525" y="236"/>
                </a:lnTo>
                <a:lnTo>
                  <a:pt x="3527" y="224"/>
                </a:lnTo>
                <a:lnTo>
                  <a:pt x="3527" y="213"/>
                </a:lnTo>
                <a:lnTo>
                  <a:pt x="3527" y="200"/>
                </a:lnTo>
                <a:lnTo>
                  <a:pt x="3525" y="189"/>
                </a:lnTo>
                <a:lnTo>
                  <a:pt x="3522" y="177"/>
                </a:lnTo>
                <a:lnTo>
                  <a:pt x="3518" y="167"/>
                </a:lnTo>
                <a:lnTo>
                  <a:pt x="3514" y="157"/>
                </a:lnTo>
                <a:lnTo>
                  <a:pt x="3508" y="147"/>
                </a:lnTo>
                <a:lnTo>
                  <a:pt x="3502" y="138"/>
                </a:lnTo>
                <a:lnTo>
                  <a:pt x="3494" y="130"/>
                </a:lnTo>
                <a:lnTo>
                  <a:pt x="3486" y="122"/>
                </a:lnTo>
                <a:lnTo>
                  <a:pt x="3478" y="115"/>
                </a:lnTo>
                <a:lnTo>
                  <a:pt x="3468" y="110"/>
                </a:lnTo>
                <a:lnTo>
                  <a:pt x="3459" y="105"/>
                </a:lnTo>
                <a:lnTo>
                  <a:pt x="3449" y="101"/>
                </a:lnTo>
                <a:lnTo>
                  <a:pt x="3437" y="98"/>
                </a:lnTo>
                <a:lnTo>
                  <a:pt x="3426" y="97"/>
                </a:lnTo>
                <a:lnTo>
                  <a:pt x="3414" y="97"/>
                </a:lnTo>
                <a:close/>
                <a:moveTo>
                  <a:pt x="3122" y="161"/>
                </a:moveTo>
                <a:lnTo>
                  <a:pt x="3122" y="161"/>
                </a:lnTo>
                <a:lnTo>
                  <a:pt x="3123" y="154"/>
                </a:lnTo>
                <a:lnTo>
                  <a:pt x="3125" y="148"/>
                </a:lnTo>
                <a:lnTo>
                  <a:pt x="3129" y="144"/>
                </a:lnTo>
                <a:lnTo>
                  <a:pt x="3134" y="140"/>
                </a:lnTo>
                <a:lnTo>
                  <a:pt x="3141" y="137"/>
                </a:lnTo>
                <a:lnTo>
                  <a:pt x="3146" y="134"/>
                </a:lnTo>
                <a:lnTo>
                  <a:pt x="3154" y="133"/>
                </a:lnTo>
                <a:lnTo>
                  <a:pt x="3161" y="133"/>
                </a:lnTo>
                <a:lnTo>
                  <a:pt x="3168" y="133"/>
                </a:lnTo>
                <a:lnTo>
                  <a:pt x="3175" y="134"/>
                </a:lnTo>
                <a:lnTo>
                  <a:pt x="3182" y="135"/>
                </a:lnTo>
                <a:lnTo>
                  <a:pt x="3190" y="138"/>
                </a:lnTo>
                <a:lnTo>
                  <a:pt x="3195" y="143"/>
                </a:lnTo>
                <a:lnTo>
                  <a:pt x="3201" y="147"/>
                </a:lnTo>
                <a:lnTo>
                  <a:pt x="3206" y="154"/>
                </a:lnTo>
                <a:lnTo>
                  <a:pt x="3208" y="160"/>
                </a:lnTo>
                <a:lnTo>
                  <a:pt x="3242" y="143"/>
                </a:lnTo>
                <a:lnTo>
                  <a:pt x="3236" y="133"/>
                </a:lnTo>
                <a:lnTo>
                  <a:pt x="3229" y="122"/>
                </a:lnTo>
                <a:lnTo>
                  <a:pt x="3220" y="115"/>
                </a:lnTo>
                <a:lnTo>
                  <a:pt x="3210" y="108"/>
                </a:lnTo>
                <a:lnTo>
                  <a:pt x="3200" y="104"/>
                </a:lnTo>
                <a:lnTo>
                  <a:pt x="3187" y="99"/>
                </a:lnTo>
                <a:lnTo>
                  <a:pt x="3175" y="97"/>
                </a:lnTo>
                <a:lnTo>
                  <a:pt x="3161" y="97"/>
                </a:lnTo>
                <a:lnTo>
                  <a:pt x="3145" y="98"/>
                </a:lnTo>
                <a:lnTo>
                  <a:pt x="3131" y="101"/>
                </a:lnTo>
                <a:lnTo>
                  <a:pt x="3116" y="107"/>
                </a:lnTo>
                <a:lnTo>
                  <a:pt x="3105" y="114"/>
                </a:lnTo>
                <a:lnTo>
                  <a:pt x="3100" y="120"/>
                </a:lnTo>
                <a:lnTo>
                  <a:pt x="3096" y="124"/>
                </a:lnTo>
                <a:lnTo>
                  <a:pt x="3092" y="130"/>
                </a:lnTo>
                <a:lnTo>
                  <a:pt x="3089" y="135"/>
                </a:lnTo>
                <a:lnTo>
                  <a:pt x="3086" y="141"/>
                </a:lnTo>
                <a:lnTo>
                  <a:pt x="3085" y="148"/>
                </a:lnTo>
                <a:lnTo>
                  <a:pt x="3083" y="155"/>
                </a:lnTo>
                <a:lnTo>
                  <a:pt x="3083" y="163"/>
                </a:lnTo>
                <a:lnTo>
                  <a:pt x="3083" y="170"/>
                </a:lnTo>
                <a:lnTo>
                  <a:pt x="3085" y="176"/>
                </a:lnTo>
                <a:lnTo>
                  <a:pt x="3086" y="181"/>
                </a:lnTo>
                <a:lnTo>
                  <a:pt x="3087" y="187"/>
                </a:lnTo>
                <a:lnTo>
                  <a:pt x="3095" y="197"/>
                </a:lnTo>
                <a:lnTo>
                  <a:pt x="3102" y="206"/>
                </a:lnTo>
                <a:lnTo>
                  <a:pt x="3112" y="211"/>
                </a:lnTo>
                <a:lnTo>
                  <a:pt x="3122" y="217"/>
                </a:lnTo>
                <a:lnTo>
                  <a:pt x="3134" y="222"/>
                </a:lnTo>
                <a:lnTo>
                  <a:pt x="3145" y="224"/>
                </a:lnTo>
                <a:lnTo>
                  <a:pt x="3168" y="232"/>
                </a:lnTo>
                <a:lnTo>
                  <a:pt x="3188" y="239"/>
                </a:lnTo>
                <a:lnTo>
                  <a:pt x="3195" y="243"/>
                </a:lnTo>
                <a:lnTo>
                  <a:pt x="3201" y="249"/>
                </a:lnTo>
                <a:lnTo>
                  <a:pt x="3204" y="252"/>
                </a:lnTo>
                <a:lnTo>
                  <a:pt x="3206" y="255"/>
                </a:lnTo>
                <a:lnTo>
                  <a:pt x="3207" y="259"/>
                </a:lnTo>
                <a:lnTo>
                  <a:pt x="3207" y="263"/>
                </a:lnTo>
                <a:lnTo>
                  <a:pt x="3207" y="270"/>
                </a:lnTo>
                <a:lnTo>
                  <a:pt x="3204" y="276"/>
                </a:lnTo>
                <a:lnTo>
                  <a:pt x="3200" y="282"/>
                </a:lnTo>
                <a:lnTo>
                  <a:pt x="3194" y="286"/>
                </a:lnTo>
                <a:lnTo>
                  <a:pt x="3188" y="289"/>
                </a:lnTo>
                <a:lnTo>
                  <a:pt x="3180" y="292"/>
                </a:lnTo>
                <a:lnTo>
                  <a:pt x="3172" y="292"/>
                </a:lnTo>
                <a:lnTo>
                  <a:pt x="3164" y="293"/>
                </a:lnTo>
                <a:lnTo>
                  <a:pt x="3154" y="292"/>
                </a:lnTo>
                <a:lnTo>
                  <a:pt x="3144" y="290"/>
                </a:lnTo>
                <a:lnTo>
                  <a:pt x="3135" y="288"/>
                </a:lnTo>
                <a:lnTo>
                  <a:pt x="3128" y="283"/>
                </a:lnTo>
                <a:lnTo>
                  <a:pt x="3122" y="279"/>
                </a:lnTo>
                <a:lnTo>
                  <a:pt x="3116" y="273"/>
                </a:lnTo>
                <a:lnTo>
                  <a:pt x="3112" y="266"/>
                </a:lnTo>
                <a:lnTo>
                  <a:pt x="3108" y="259"/>
                </a:lnTo>
                <a:lnTo>
                  <a:pt x="3074" y="278"/>
                </a:lnTo>
                <a:lnTo>
                  <a:pt x="3080" y="289"/>
                </a:lnTo>
                <a:lnTo>
                  <a:pt x="3087" y="299"/>
                </a:lnTo>
                <a:lnTo>
                  <a:pt x="3096" y="308"/>
                </a:lnTo>
                <a:lnTo>
                  <a:pt x="3108" y="315"/>
                </a:lnTo>
                <a:lnTo>
                  <a:pt x="3119" y="321"/>
                </a:lnTo>
                <a:lnTo>
                  <a:pt x="3132" y="325"/>
                </a:lnTo>
                <a:lnTo>
                  <a:pt x="3148" y="328"/>
                </a:lnTo>
                <a:lnTo>
                  <a:pt x="3164" y="329"/>
                </a:lnTo>
                <a:lnTo>
                  <a:pt x="3181" y="328"/>
                </a:lnTo>
                <a:lnTo>
                  <a:pt x="3197" y="325"/>
                </a:lnTo>
                <a:lnTo>
                  <a:pt x="3210" y="319"/>
                </a:lnTo>
                <a:lnTo>
                  <a:pt x="3223" y="312"/>
                </a:lnTo>
                <a:lnTo>
                  <a:pt x="3229" y="306"/>
                </a:lnTo>
                <a:lnTo>
                  <a:pt x="3233" y="302"/>
                </a:lnTo>
                <a:lnTo>
                  <a:pt x="3237" y="296"/>
                </a:lnTo>
                <a:lnTo>
                  <a:pt x="3240" y="290"/>
                </a:lnTo>
                <a:lnTo>
                  <a:pt x="3243" y="285"/>
                </a:lnTo>
                <a:lnTo>
                  <a:pt x="3244" y="278"/>
                </a:lnTo>
                <a:lnTo>
                  <a:pt x="3246" y="270"/>
                </a:lnTo>
                <a:lnTo>
                  <a:pt x="3246" y="263"/>
                </a:lnTo>
                <a:lnTo>
                  <a:pt x="3246" y="256"/>
                </a:lnTo>
                <a:lnTo>
                  <a:pt x="3244" y="249"/>
                </a:lnTo>
                <a:lnTo>
                  <a:pt x="3243" y="243"/>
                </a:lnTo>
                <a:lnTo>
                  <a:pt x="3242" y="237"/>
                </a:lnTo>
                <a:lnTo>
                  <a:pt x="3234" y="227"/>
                </a:lnTo>
                <a:lnTo>
                  <a:pt x="3227" y="219"/>
                </a:lnTo>
                <a:lnTo>
                  <a:pt x="3217" y="213"/>
                </a:lnTo>
                <a:lnTo>
                  <a:pt x="3207" y="207"/>
                </a:lnTo>
                <a:lnTo>
                  <a:pt x="3195" y="203"/>
                </a:lnTo>
                <a:lnTo>
                  <a:pt x="3184" y="200"/>
                </a:lnTo>
                <a:lnTo>
                  <a:pt x="3161" y="193"/>
                </a:lnTo>
                <a:lnTo>
                  <a:pt x="3141" y="186"/>
                </a:lnTo>
                <a:lnTo>
                  <a:pt x="3134" y="181"/>
                </a:lnTo>
                <a:lnTo>
                  <a:pt x="3128" y="177"/>
                </a:lnTo>
                <a:lnTo>
                  <a:pt x="3125" y="173"/>
                </a:lnTo>
                <a:lnTo>
                  <a:pt x="3123" y="170"/>
                </a:lnTo>
                <a:lnTo>
                  <a:pt x="3122" y="166"/>
                </a:lnTo>
                <a:lnTo>
                  <a:pt x="3122" y="161"/>
                </a:lnTo>
                <a:close/>
                <a:moveTo>
                  <a:pt x="2949" y="97"/>
                </a:moveTo>
                <a:lnTo>
                  <a:pt x="2949" y="97"/>
                </a:lnTo>
                <a:lnTo>
                  <a:pt x="2938" y="97"/>
                </a:lnTo>
                <a:lnTo>
                  <a:pt x="2926" y="98"/>
                </a:lnTo>
                <a:lnTo>
                  <a:pt x="2916" y="101"/>
                </a:lnTo>
                <a:lnTo>
                  <a:pt x="2907" y="105"/>
                </a:lnTo>
                <a:lnTo>
                  <a:pt x="2899" y="111"/>
                </a:lnTo>
                <a:lnTo>
                  <a:pt x="2890" y="117"/>
                </a:lnTo>
                <a:lnTo>
                  <a:pt x="2883" y="125"/>
                </a:lnTo>
                <a:lnTo>
                  <a:pt x="2877" y="134"/>
                </a:lnTo>
                <a:lnTo>
                  <a:pt x="2877" y="102"/>
                </a:lnTo>
                <a:lnTo>
                  <a:pt x="2838" y="102"/>
                </a:lnTo>
                <a:lnTo>
                  <a:pt x="2838" y="324"/>
                </a:lnTo>
                <a:lnTo>
                  <a:pt x="2877" y="324"/>
                </a:lnTo>
                <a:lnTo>
                  <a:pt x="2877" y="206"/>
                </a:lnTo>
                <a:lnTo>
                  <a:pt x="2877" y="189"/>
                </a:lnTo>
                <a:lnTo>
                  <a:pt x="2882" y="173"/>
                </a:lnTo>
                <a:lnTo>
                  <a:pt x="2884" y="166"/>
                </a:lnTo>
                <a:lnTo>
                  <a:pt x="2887" y="160"/>
                </a:lnTo>
                <a:lnTo>
                  <a:pt x="2892" y="154"/>
                </a:lnTo>
                <a:lnTo>
                  <a:pt x="2896" y="150"/>
                </a:lnTo>
                <a:lnTo>
                  <a:pt x="2905" y="143"/>
                </a:lnTo>
                <a:lnTo>
                  <a:pt x="2916" y="137"/>
                </a:lnTo>
                <a:lnTo>
                  <a:pt x="2928" y="134"/>
                </a:lnTo>
                <a:lnTo>
                  <a:pt x="2941" y="133"/>
                </a:lnTo>
                <a:lnTo>
                  <a:pt x="2954" y="134"/>
                </a:lnTo>
                <a:lnTo>
                  <a:pt x="2964" y="137"/>
                </a:lnTo>
                <a:lnTo>
                  <a:pt x="2974" y="141"/>
                </a:lnTo>
                <a:lnTo>
                  <a:pt x="2981" y="148"/>
                </a:lnTo>
                <a:lnTo>
                  <a:pt x="2988" y="155"/>
                </a:lnTo>
                <a:lnTo>
                  <a:pt x="2992" y="166"/>
                </a:lnTo>
                <a:lnTo>
                  <a:pt x="2995" y="177"/>
                </a:lnTo>
                <a:lnTo>
                  <a:pt x="2997" y="190"/>
                </a:lnTo>
                <a:lnTo>
                  <a:pt x="2997" y="324"/>
                </a:lnTo>
                <a:lnTo>
                  <a:pt x="3034" y="324"/>
                </a:lnTo>
                <a:lnTo>
                  <a:pt x="3034" y="187"/>
                </a:lnTo>
                <a:lnTo>
                  <a:pt x="3034" y="177"/>
                </a:lnTo>
                <a:lnTo>
                  <a:pt x="3033" y="167"/>
                </a:lnTo>
                <a:lnTo>
                  <a:pt x="3031" y="158"/>
                </a:lnTo>
                <a:lnTo>
                  <a:pt x="3028" y="150"/>
                </a:lnTo>
                <a:lnTo>
                  <a:pt x="3026" y="141"/>
                </a:lnTo>
                <a:lnTo>
                  <a:pt x="3021" y="134"/>
                </a:lnTo>
                <a:lnTo>
                  <a:pt x="3017" y="127"/>
                </a:lnTo>
                <a:lnTo>
                  <a:pt x="3011" y="121"/>
                </a:lnTo>
                <a:lnTo>
                  <a:pt x="3005" y="115"/>
                </a:lnTo>
                <a:lnTo>
                  <a:pt x="2998" y="110"/>
                </a:lnTo>
                <a:lnTo>
                  <a:pt x="2991" y="105"/>
                </a:lnTo>
                <a:lnTo>
                  <a:pt x="2984" y="102"/>
                </a:lnTo>
                <a:lnTo>
                  <a:pt x="2975" y="99"/>
                </a:lnTo>
                <a:lnTo>
                  <a:pt x="2968" y="98"/>
                </a:lnTo>
                <a:lnTo>
                  <a:pt x="2958" y="97"/>
                </a:lnTo>
                <a:lnTo>
                  <a:pt x="2949" y="97"/>
                </a:lnTo>
                <a:close/>
                <a:moveTo>
                  <a:pt x="2683" y="133"/>
                </a:moveTo>
                <a:lnTo>
                  <a:pt x="2683" y="133"/>
                </a:lnTo>
                <a:lnTo>
                  <a:pt x="2696" y="134"/>
                </a:lnTo>
                <a:lnTo>
                  <a:pt x="2707" y="137"/>
                </a:lnTo>
                <a:lnTo>
                  <a:pt x="2719" y="141"/>
                </a:lnTo>
                <a:lnTo>
                  <a:pt x="2729" y="148"/>
                </a:lnTo>
                <a:lnTo>
                  <a:pt x="2738" y="157"/>
                </a:lnTo>
                <a:lnTo>
                  <a:pt x="2745" y="168"/>
                </a:lnTo>
                <a:lnTo>
                  <a:pt x="2750" y="181"/>
                </a:lnTo>
                <a:lnTo>
                  <a:pt x="2755" y="197"/>
                </a:lnTo>
                <a:lnTo>
                  <a:pt x="2606" y="197"/>
                </a:lnTo>
                <a:lnTo>
                  <a:pt x="2609" y="183"/>
                </a:lnTo>
                <a:lnTo>
                  <a:pt x="2615" y="170"/>
                </a:lnTo>
                <a:lnTo>
                  <a:pt x="2622" y="160"/>
                </a:lnTo>
                <a:lnTo>
                  <a:pt x="2631" y="150"/>
                </a:lnTo>
                <a:lnTo>
                  <a:pt x="2641" y="143"/>
                </a:lnTo>
                <a:lnTo>
                  <a:pt x="2654" y="137"/>
                </a:lnTo>
                <a:lnTo>
                  <a:pt x="2668" y="134"/>
                </a:lnTo>
                <a:lnTo>
                  <a:pt x="2683" y="133"/>
                </a:lnTo>
                <a:close/>
                <a:moveTo>
                  <a:pt x="2606" y="230"/>
                </a:moveTo>
                <a:lnTo>
                  <a:pt x="2606" y="230"/>
                </a:lnTo>
                <a:lnTo>
                  <a:pt x="2792" y="230"/>
                </a:lnTo>
                <a:lnTo>
                  <a:pt x="2794" y="222"/>
                </a:lnTo>
                <a:lnTo>
                  <a:pt x="2794" y="213"/>
                </a:lnTo>
                <a:lnTo>
                  <a:pt x="2792" y="201"/>
                </a:lnTo>
                <a:lnTo>
                  <a:pt x="2791" y="190"/>
                </a:lnTo>
                <a:lnTo>
                  <a:pt x="2789" y="180"/>
                </a:lnTo>
                <a:lnTo>
                  <a:pt x="2785" y="168"/>
                </a:lnTo>
                <a:lnTo>
                  <a:pt x="2781" y="158"/>
                </a:lnTo>
                <a:lnTo>
                  <a:pt x="2776" y="148"/>
                </a:lnTo>
                <a:lnTo>
                  <a:pt x="2771" y="140"/>
                </a:lnTo>
                <a:lnTo>
                  <a:pt x="2763" y="131"/>
                </a:lnTo>
                <a:lnTo>
                  <a:pt x="2756" y="124"/>
                </a:lnTo>
                <a:lnTo>
                  <a:pt x="2748" y="117"/>
                </a:lnTo>
                <a:lnTo>
                  <a:pt x="2738" y="111"/>
                </a:lnTo>
                <a:lnTo>
                  <a:pt x="2729" y="105"/>
                </a:lnTo>
                <a:lnTo>
                  <a:pt x="2717" y="101"/>
                </a:lnTo>
                <a:lnTo>
                  <a:pt x="2707" y="98"/>
                </a:lnTo>
                <a:lnTo>
                  <a:pt x="2696" y="97"/>
                </a:lnTo>
                <a:lnTo>
                  <a:pt x="2683" y="97"/>
                </a:lnTo>
                <a:lnTo>
                  <a:pt x="2670" y="97"/>
                </a:lnTo>
                <a:lnTo>
                  <a:pt x="2658" y="98"/>
                </a:lnTo>
                <a:lnTo>
                  <a:pt x="2647" y="101"/>
                </a:lnTo>
                <a:lnTo>
                  <a:pt x="2635" y="105"/>
                </a:lnTo>
                <a:lnTo>
                  <a:pt x="2625" y="110"/>
                </a:lnTo>
                <a:lnTo>
                  <a:pt x="2615" y="115"/>
                </a:lnTo>
                <a:lnTo>
                  <a:pt x="2606" y="122"/>
                </a:lnTo>
                <a:lnTo>
                  <a:pt x="2598" y="130"/>
                </a:lnTo>
                <a:lnTo>
                  <a:pt x="2591" y="138"/>
                </a:lnTo>
                <a:lnTo>
                  <a:pt x="2585" y="147"/>
                </a:lnTo>
                <a:lnTo>
                  <a:pt x="2579" y="157"/>
                </a:lnTo>
                <a:lnTo>
                  <a:pt x="2575" y="167"/>
                </a:lnTo>
                <a:lnTo>
                  <a:pt x="2570" y="177"/>
                </a:lnTo>
                <a:lnTo>
                  <a:pt x="2569" y="189"/>
                </a:lnTo>
                <a:lnTo>
                  <a:pt x="2566" y="200"/>
                </a:lnTo>
                <a:lnTo>
                  <a:pt x="2566" y="213"/>
                </a:lnTo>
                <a:lnTo>
                  <a:pt x="2566" y="224"/>
                </a:lnTo>
                <a:lnTo>
                  <a:pt x="2569" y="237"/>
                </a:lnTo>
                <a:lnTo>
                  <a:pt x="2570" y="249"/>
                </a:lnTo>
                <a:lnTo>
                  <a:pt x="2575" y="259"/>
                </a:lnTo>
                <a:lnTo>
                  <a:pt x="2579" y="269"/>
                </a:lnTo>
                <a:lnTo>
                  <a:pt x="2585" y="279"/>
                </a:lnTo>
                <a:lnTo>
                  <a:pt x="2592" y="288"/>
                </a:lnTo>
                <a:lnTo>
                  <a:pt x="2599" y="296"/>
                </a:lnTo>
                <a:lnTo>
                  <a:pt x="2608" y="303"/>
                </a:lnTo>
                <a:lnTo>
                  <a:pt x="2617" y="311"/>
                </a:lnTo>
                <a:lnTo>
                  <a:pt x="2627" y="316"/>
                </a:lnTo>
                <a:lnTo>
                  <a:pt x="2637" y="321"/>
                </a:lnTo>
                <a:lnTo>
                  <a:pt x="2648" y="324"/>
                </a:lnTo>
                <a:lnTo>
                  <a:pt x="2660" y="326"/>
                </a:lnTo>
                <a:lnTo>
                  <a:pt x="2673" y="329"/>
                </a:lnTo>
                <a:lnTo>
                  <a:pt x="2686" y="329"/>
                </a:lnTo>
                <a:lnTo>
                  <a:pt x="2702" y="328"/>
                </a:lnTo>
                <a:lnTo>
                  <a:pt x="2717" y="326"/>
                </a:lnTo>
                <a:lnTo>
                  <a:pt x="2730" y="322"/>
                </a:lnTo>
                <a:lnTo>
                  <a:pt x="2743" y="315"/>
                </a:lnTo>
                <a:lnTo>
                  <a:pt x="2755" y="308"/>
                </a:lnTo>
                <a:lnTo>
                  <a:pt x="2766" y="299"/>
                </a:lnTo>
                <a:lnTo>
                  <a:pt x="2775" y="290"/>
                </a:lnTo>
                <a:lnTo>
                  <a:pt x="2784" y="279"/>
                </a:lnTo>
                <a:lnTo>
                  <a:pt x="2750" y="260"/>
                </a:lnTo>
                <a:lnTo>
                  <a:pt x="2746" y="267"/>
                </a:lnTo>
                <a:lnTo>
                  <a:pt x="2740" y="273"/>
                </a:lnTo>
                <a:lnTo>
                  <a:pt x="2733" y="279"/>
                </a:lnTo>
                <a:lnTo>
                  <a:pt x="2726" y="283"/>
                </a:lnTo>
                <a:lnTo>
                  <a:pt x="2717" y="288"/>
                </a:lnTo>
                <a:lnTo>
                  <a:pt x="2707" y="290"/>
                </a:lnTo>
                <a:lnTo>
                  <a:pt x="2697" y="292"/>
                </a:lnTo>
                <a:lnTo>
                  <a:pt x="2686" y="293"/>
                </a:lnTo>
                <a:lnTo>
                  <a:pt x="2671" y="292"/>
                </a:lnTo>
                <a:lnTo>
                  <a:pt x="2657" y="289"/>
                </a:lnTo>
                <a:lnTo>
                  <a:pt x="2645" y="283"/>
                </a:lnTo>
                <a:lnTo>
                  <a:pt x="2634" y="276"/>
                </a:lnTo>
                <a:lnTo>
                  <a:pt x="2624" y="267"/>
                </a:lnTo>
                <a:lnTo>
                  <a:pt x="2615" y="257"/>
                </a:lnTo>
                <a:lnTo>
                  <a:pt x="2609" y="245"/>
                </a:lnTo>
                <a:lnTo>
                  <a:pt x="2606" y="230"/>
                </a:lnTo>
                <a:close/>
                <a:moveTo>
                  <a:pt x="2481" y="336"/>
                </a:moveTo>
                <a:lnTo>
                  <a:pt x="2481" y="336"/>
                </a:lnTo>
                <a:lnTo>
                  <a:pt x="2481" y="349"/>
                </a:lnTo>
                <a:lnTo>
                  <a:pt x="2478" y="358"/>
                </a:lnTo>
                <a:lnTo>
                  <a:pt x="2475" y="367"/>
                </a:lnTo>
                <a:lnTo>
                  <a:pt x="2470" y="372"/>
                </a:lnTo>
                <a:lnTo>
                  <a:pt x="2464" y="377"/>
                </a:lnTo>
                <a:lnTo>
                  <a:pt x="2455" y="380"/>
                </a:lnTo>
                <a:lnTo>
                  <a:pt x="2445" y="381"/>
                </a:lnTo>
                <a:lnTo>
                  <a:pt x="2434" y="381"/>
                </a:lnTo>
                <a:lnTo>
                  <a:pt x="2434" y="418"/>
                </a:lnTo>
                <a:lnTo>
                  <a:pt x="2444" y="418"/>
                </a:lnTo>
                <a:lnTo>
                  <a:pt x="2454" y="418"/>
                </a:lnTo>
                <a:lnTo>
                  <a:pt x="2462" y="417"/>
                </a:lnTo>
                <a:lnTo>
                  <a:pt x="2471" y="415"/>
                </a:lnTo>
                <a:lnTo>
                  <a:pt x="2478" y="413"/>
                </a:lnTo>
                <a:lnTo>
                  <a:pt x="2486" y="410"/>
                </a:lnTo>
                <a:lnTo>
                  <a:pt x="2493" y="405"/>
                </a:lnTo>
                <a:lnTo>
                  <a:pt x="2498" y="400"/>
                </a:lnTo>
                <a:lnTo>
                  <a:pt x="2503" y="395"/>
                </a:lnTo>
                <a:lnTo>
                  <a:pt x="2507" y="388"/>
                </a:lnTo>
                <a:lnTo>
                  <a:pt x="2511" y="382"/>
                </a:lnTo>
                <a:lnTo>
                  <a:pt x="2514" y="374"/>
                </a:lnTo>
                <a:lnTo>
                  <a:pt x="2517" y="365"/>
                </a:lnTo>
                <a:lnTo>
                  <a:pt x="2519" y="357"/>
                </a:lnTo>
                <a:lnTo>
                  <a:pt x="2520" y="346"/>
                </a:lnTo>
                <a:lnTo>
                  <a:pt x="2520" y="336"/>
                </a:lnTo>
                <a:lnTo>
                  <a:pt x="2520" y="102"/>
                </a:lnTo>
                <a:lnTo>
                  <a:pt x="2481" y="102"/>
                </a:lnTo>
                <a:lnTo>
                  <a:pt x="2481" y="336"/>
                </a:lnTo>
                <a:close/>
                <a:moveTo>
                  <a:pt x="2501" y="62"/>
                </a:moveTo>
                <a:lnTo>
                  <a:pt x="2501" y="62"/>
                </a:lnTo>
                <a:lnTo>
                  <a:pt x="2506" y="61"/>
                </a:lnTo>
                <a:lnTo>
                  <a:pt x="2511" y="59"/>
                </a:lnTo>
                <a:lnTo>
                  <a:pt x="2516" y="58"/>
                </a:lnTo>
                <a:lnTo>
                  <a:pt x="2519" y="54"/>
                </a:lnTo>
                <a:lnTo>
                  <a:pt x="2523" y="51"/>
                </a:lnTo>
                <a:lnTo>
                  <a:pt x="2524" y="46"/>
                </a:lnTo>
                <a:lnTo>
                  <a:pt x="2526" y="41"/>
                </a:lnTo>
                <a:lnTo>
                  <a:pt x="2527" y="36"/>
                </a:lnTo>
                <a:lnTo>
                  <a:pt x="2526" y="31"/>
                </a:lnTo>
                <a:lnTo>
                  <a:pt x="2524" y="26"/>
                </a:lnTo>
                <a:lnTo>
                  <a:pt x="2523" y="22"/>
                </a:lnTo>
                <a:lnTo>
                  <a:pt x="2519" y="18"/>
                </a:lnTo>
                <a:lnTo>
                  <a:pt x="2516" y="15"/>
                </a:lnTo>
                <a:lnTo>
                  <a:pt x="2511" y="12"/>
                </a:lnTo>
                <a:lnTo>
                  <a:pt x="2506" y="10"/>
                </a:lnTo>
                <a:lnTo>
                  <a:pt x="2501" y="9"/>
                </a:lnTo>
                <a:lnTo>
                  <a:pt x="2496" y="10"/>
                </a:lnTo>
                <a:lnTo>
                  <a:pt x="2491" y="12"/>
                </a:lnTo>
                <a:lnTo>
                  <a:pt x="2486" y="15"/>
                </a:lnTo>
                <a:lnTo>
                  <a:pt x="2483" y="18"/>
                </a:lnTo>
                <a:lnTo>
                  <a:pt x="2480" y="22"/>
                </a:lnTo>
                <a:lnTo>
                  <a:pt x="2477" y="26"/>
                </a:lnTo>
                <a:lnTo>
                  <a:pt x="2475" y="31"/>
                </a:lnTo>
                <a:lnTo>
                  <a:pt x="2475" y="36"/>
                </a:lnTo>
                <a:lnTo>
                  <a:pt x="2475" y="41"/>
                </a:lnTo>
                <a:lnTo>
                  <a:pt x="2477" y="46"/>
                </a:lnTo>
                <a:lnTo>
                  <a:pt x="2480" y="51"/>
                </a:lnTo>
                <a:lnTo>
                  <a:pt x="2483" y="54"/>
                </a:lnTo>
                <a:lnTo>
                  <a:pt x="2486" y="58"/>
                </a:lnTo>
                <a:lnTo>
                  <a:pt x="2491" y="59"/>
                </a:lnTo>
                <a:lnTo>
                  <a:pt x="2496" y="61"/>
                </a:lnTo>
                <a:lnTo>
                  <a:pt x="2501" y="62"/>
                </a:lnTo>
                <a:close/>
                <a:moveTo>
                  <a:pt x="2318" y="133"/>
                </a:moveTo>
                <a:lnTo>
                  <a:pt x="2318" y="133"/>
                </a:lnTo>
                <a:lnTo>
                  <a:pt x="2331" y="134"/>
                </a:lnTo>
                <a:lnTo>
                  <a:pt x="2343" y="137"/>
                </a:lnTo>
                <a:lnTo>
                  <a:pt x="2354" y="141"/>
                </a:lnTo>
                <a:lnTo>
                  <a:pt x="2365" y="148"/>
                </a:lnTo>
                <a:lnTo>
                  <a:pt x="2373" y="157"/>
                </a:lnTo>
                <a:lnTo>
                  <a:pt x="2380" y="168"/>
                </a:lnTo>
                <a:lnTo>
                  <a:pt x="2386" y="181"/>
                </a:lnTo>
                <a:lnTo>
                  <a:pt x="2390" y="197"/>
                </a:lnTo>
                <a:lnTo>
                  <a:pt x="2242" y="197"/>
                </a:lnTo>
                <a:lnTo>
                  <a:pt x="2245" y="183"/>
                </a:lnTo>
                <a:lnTo>
                  <a:pt x="2251" y="170"/>
                </a:lnTo>
                <a:lnTo>
                  <a:pt x="2258" y="160"/>
                </a:lnTo>
                <a:lnTo>
                  <a:pt x="2267" y="150"/>
                </a:lnTo>
                <a:lnTo>
                  <a:pt x="2278" y="143"/>
                </a:lnTo>
                <a:lnTo>
                  <a:pt x="2290" y="137"/>
                </a:lnTo>
                <a:lnTo>
                  <a:pt x="2304" y="134"/>
                </a:lnTo>
                <a:lnTo>
                  <a:pt x="2318" y="133"/>
                </a:lnTo>
                <a:close/>
                <a:moveTo>
                  <a:pt x="2242" y="230"/>
                </a:moveTo>
                <a:lnTo>
                  <a:pt x="2242" y="230"/>
                </a:lnTo>
                <a:lnTo>
                  <a:pt x="2428" y="230"/>
                </a:lnTo>
                <a:lnTo>
                  <a:pt x="2429" y="222"/>
                </a:lnTo>
                <a:lnTo>
                  <a:pt x="2429" y="213"/>
                </a:lnTo>
                <a:lnTo>
                  <a:pt x="2429" y="201"/>
                </a:lnTo>
                <a:lnTo>
                  <a:pt x="2428" y="190"/>
                </a:lnTo>
                <a:lnTo>
                  <a:pt x="2425" y="180"/>
                </a:lnTo>
                <a:lnTo>
                  <a:pt x="2422" y="168"/>
                </a:lnTo>
                <a:lnTo>
                  <a:pt x="2418" y="158"/>
                </a:lnTo>
                <a:lnTo>
                  <a:pt x="2412" y="148"/>
                </a:lnTo>
                <a:lnTo>
                  <a:pt x="2406" y="140"/>
                </a:lnTo>
                <a:lnTo>
                  <a:pt x="2399" y="131"/>
                </a:lnTo>
                <a:lnTo>
                  <a:pt x="2392" y="124"/>
                </a:lnTo>
                <a:lnTo>
                  <a:pt x="2383" y="117"/>
                </a:lnTo>
                <a:lnTo>
                  <a:pt x="2375" y="111"/>
                </a:lnTo>
                <a:lnTo>
                  <a:pt x="2365" y="105"/>
                </a:lnTo>
                <a:lnTo>
                  <a:pt x="2354" y="101"/>
                </a:lnTo>
                <a:lnTo>
                  <a:pt x="2343" y="98"/>
                </a:lnTo>
                <a:lnTo>
                  <a:pt x="2331" y="97"/>
                </a:lnTo>
                <a:lnTo>
                  <a:pt x="2318" y="97"/>
                </a:lnTo>
                <a:lnTo>
                  <a:pt x="2306" y="97"/>
                </a:lnTo>
                <a:lnTo>
                  <a:pt x="2294" y="98"/>
                </a:lnTo>
                <a:lnTo>
                  <a:pt x="2282" y="101"/>
                </a:lnTo>
                <a:lnTo>
                  <a:pt x="2271" y="105"/>
                </a:lnTo>
                <a:lnTo>
                  <a:pt x="2261" y="110"/>
                </a:lnTo>
                <a:lnTo>
                  <a:pt x="2251" y="115"/>
                </a:lnTo>
                <a:lnTo>
                  <a:pt x="2242" y="122"/>
                </a:lnTo>
                <a:lnTo>
                  <a:pt x="2235" y="130"/>
                </a:lnTo>
                <a:lnTo>
                  <a:pt x="2228" y="138"/>
                </a:lnTo>
                <a:lnTo>
                  <a:pt x="2221" y="147"/>
                </a:lnTo>
                <a:lnTo>
                  <a:pt x="2215" y="157"/>
                </a:lnTo>
                <a:lnTo>
                  <a:pt x="2210" y="167"/>
                </a:lnTo>
                <a:lnTo>
                  <a:pt x="2208" y="177"/>
                </a:lnTo>
                <a:lnTo>
                  <a:pt x="2205" y="189"/>
                </a:lnTo>
                <a:lnTo>
                  <a:pt x="2203" y="200"/>
                </a:lnTo>
                <a:lnTo>
                  <a:pt x="2202" y="213"/>
                </a:lnTo>
                <a:lnTo>
                  <a:pt x="2203" y="224"/>
                </a:lnTo>
                <a:lnTo>
                  <a:pt x="2205" y="237"/>
                </a:lnTo>
                <a:lnTo>
                  <a:pt x="2208" y="249"/>
                </a:lnTo>
                <a:lnTo>
                  <a:pt x="2210" y="259"/>
                </a:lnTo>
                <a:lnTo>
                  <a:pt x="2215" y="269"/>
                </a:lnTo>
                <a:lnTo>
                  <a:pt x="2221" y="279"/>
                </a:lnTo>
                <a:lnTo>
                  <a:pt x="2228" y="288"/>
                </a:lnTo>
                <a:lnTo>
                  <a:pt x="2235" y="296"/>
                </a:lnTo>
                <a:lnTo>
                  <a:pt x="2244" y="303"/>
                </a:lnTo>
                <a:lnTo>
                  <a:pt x="2252" y="311"/>
                </a:lnTo>
                <a:lnTo>
                  <a:pt x="2262" y="316"/>
                </a:lnTo>
                <a:lnTo>
                  <a:pt x="2272" y="321"/>
                </a:lnTo>
                <a:lnTo>
                  <a:pt x="2284" y="324"/>
                </a:lnTo>
                <a:lnTo>
                  <a:pt x="2295" y="326"/>
                </a:lnTo>
                <a:lnTo>
                  <a:pt x="2308" y="329"/>
                </a:lnTo>
                <a:lnTo>
                  <a:pt x="2321" y="329"/>
                </a:lnTo>
                <a:lnTo>
                  <a:pt x="2337" y="328"/>
                </a:lnTo>
                <a:lnTo>
                  <a:pt x="2353" y="326"/>
                </a:lnTo>
                <a:lnTo>
                  <a:pt x="2366" y="322"/>
                </a:lnTo>
                <a:lnTo>
                  <a:pt x="2379" y="315"/>
                </a:lnTo>
                <a:lnTo>
                  <a:pt x="2392" y="308"/>
                </a:lnTo>
                <a:lnTo>
                  <a:pt x="2402" y="299"/>
                </a:lnTo>
                <a:lnTo>
                  <a:pt x="2411" y="290"/>
                </a:lnTo>
                <a:lnTo>
                  <a:pt x="2419" y="279"/>
                </a:lnTo>
                <a:lnTo>
                  <a:pt x="2386" y="260"/>
                </a:lnTo>
                <a:lnTo>
                  <a:pt x="2382" y="267"/>
                </a:lnTo>
                <a:lnTo>
                  <a:pt x="2376" y="273"/>
                </a:lnTo>
                <a:lnTo>
                  <a:pt x="2369" y="279"/>
                </a:lnTo>
                <a:lnTo>
                  <a:pt x="2362" y="283"/>
                </a:lnTo>
                <a:lnTo>
                  <a:pt x="2353" y="288"/>
                </a:lnTo>
                <a:lnTo>
                  <a:pt x="2343" y="290"/>
                </a:lnTo>
                <a:lnTo>
                  <a:pt x="2333" y="292"/>
                </a:lnTo>
                <a:lnTo>
                  <a:pt x="2323" y="293"/>
                </a:lnTo>
                <a:lnTo>
                  <a:pt x="2307" y="292"/>
                </a:lnTo>
                <a:lnTo>
                  <a:pt x="2294" y="289"/>
                </a:lnTo>
                <a:lnTo>
                  <a:pt x="2281" y="283"/>
                </a:lnTo>
                <a:lnTo>
                  <a:pt x="2270" y="276"/>
                </a:lnTo>
                <a:lnTo>
                  <a:pt x="2259" y="267"/>
                </a:lnTo>
                <a:lnTo>
                  <a:pt x="2252" y="257"/>
                </a:lnTo>
                <a:lnTo>
                  <a:pt x="2245" y="245"/>
                </a:lnTo>
                <a:lnTo>
                  <a:pt x="2242" y="230"/>
                </a:lnTo>
                <a:close/>
                <a:moveTo>
                  <a:pt x="2117" y="324"/>
                </a:moveTo>
                <a:lnTo>
                  <a:pt x="2117" y="324"/>
                </a:lnTo>
                <a:lnTo>
                  <a:pt x="2156" y="324"/>
                </a:lnTo>
                <a:lnTo>
                  <a:pt x="2156" y="0"/>
                </a:lnTo>
                <a:lnTo>
                  <a:pt x="2117" y="0"/>
                </a:lnTo>
                <a:lnTo>
                  <a:pt x="2117" y="324"/>
                </a:lnTo>
                <a:close/>
                <a:moveTo>
                  <a:pt x="1954" y="292"/>
                </a:moveTo>
                <a:lnTo>
                  <a:pt x="1954" y="292"/>
                </a:lnTo>
                <a:lnTo>
                  <a:pt x="1946" y="290"/>
                </a:lnTo>
                <a:lnTo>
                  <a:pt x="1938" y="290"/>
                </a:lnTo>
                <a:lnTo>
                  <a:pt x="1930" y="288"/>
                </a:lnTo>
                <a:lnTo>
                  <a:pt x="1922" y="286"/>
                </a:lnTo>
                <a:lnTo>
                  <a:pt x="1917" y="282"/>
                </a:lnTo>
                <a:lnTo>
                  <a:pt x="1910" y="279"/>
                </a:lnTo>
                <a:lnTo>
                  <a:pt x="1904" y="273"/>
                </a:lnTo>
                <a:lnTo>
                  <a:pt x="1898" y="269"/>
                </a:lnTo>
                <a:lnTo>
                  <a:pt x="1894" y="263"/>
                </a:lnTo>
                <a:lnTo>
                  <a:pt x="1889" y="257"/>
                </a:lnTo>
                <a:lnTo>
                  <a:pt x="1885" y="250"/>
                </a:lnTo>
                <a:lnTo>
                  <a:pt x="1882" y="245"/>
                </a:lnTo>
                <a:lnTo>
                  <a:pt x="1879" y="236"/>
                </a:lnTo>
                <a:lnTo>
                  <a:pt x="1876" y="229"/>
                </a:lnTo>
                <a:lnTo>
                  <a:pt x="1876" y="222"/>
                </a:lnTo>
                <a:lnTo>
                  <a:pt x="1875" y="213"/>
                </a:lnTo>
                <a:lnTo>
                  <a:pt x="1876" y="204"/>
                </a:lnTo>
                <a:lnTo>
                  <a:pt x="1876" y="197"/>
                </a:lnTo>
                <a:lnTo>
                  <a:pt x="1879" y="189"/>
                </a:lnTo>
                <a:lnTo>
                  <a:pt x="1882" y="181"/>
                </a:lnTo>
                <a:lnTo>
                  <a:pt x="1885" y="174"/>
                </a:lnTo>
                <a:lnTo>
                  <a:pt x="1889" y="168"/>
                </a:lnTo>
                <a:lnTo>
                  <a:pt x="1894" y="163"/>
                </a:lnTo>
                <a:lnTo>
                  <a:pt x="1898" y="157"/>
                </a:lnTo>
                <a:lnTo>
                  <a:pt x="1904" y="151"/>
                </a:lnTo>
                <a:lnTo>
                  <a:pt x="1910" y="147"/>
                </a:lnTo>
                <a:lnTo>
                  <a:pt x="1917" y="143"/>
                </a:lnTo>
                <a:lnTo>
                  <a:pt x="1922" y="140"/>
                </a:lnTo>
                <a:lnTo>
                  <a:pt x="1930" y="137"/>
                </a:lnTo>
                <a:lnTo>
                  <a:pt x="1938" y="135"/>
                </a:lnTo>
                <a:lnTo>
                  <a:pt x="1946" y="134"/>
                </a:lnTo>
                <a:lnTo>
                  <a:pt x="1954" y="134"/>
                </a:lnTo>
                <a:lnTo>
                  <a:pt x="1961" y="134"/>
                </a:lnTo>
                <a:lnTo>
                  <a:pt x="1970" y="135"/>
                </a:lnTo>
                <a:lnTo>
                  <a:pt x="1977" y="137"/>
                </a:lnTo>
                <a:lnTo>
                  <a:pt x="1984" y="140"/>
                </a:lnTo>
                <a:lnTo>
                  <a:pt x="1992" y="143"/>
                </a:lnTo>
                <a:lnTo>
                  <a:pt x="1999" y="147"/>
                </a:lnTo>
                <a:lnTo>
                  <a:pt x="2005" y="151"/>
                </a:lnTo>
                <a:lnTo>
                  <a:pt x="2010" y="157"/>
                </a:lnTo>
                <a:lnTo>
                  <a:pt x="2015" y="163"/>
                </a:lnTo>
                <a:lnTo>
                  <a:pt x="2019" y="168"/>
                </a:lnTo>
                <a:lnTo>
                  <a:pt x="2023" y="174"/>
                </a:lnTo>
                <a:lnTo>
                  <a:pt x="2026" y="181"/>
                </a:lnTo>
                <a:lnTo>
                  <a:pt x="2029" y="189"/>
                </a:lnTo>
                <a:lnTo>
                  <a:pt x="2030" y="197"/>
                </a:lnTo>
                <a:lnTo>
                  <a:pt x="2032" y="204"/>
                </a:lnTo>
                <a:lnTo>
                  <a:pt x="2032" y="213"/>
                </a:lnTo>
                <a:lnTo>
                  <a:pt x="2032" y="222"/>
                </a:lnTo>
                <a:lnTo>
                  <a:pt x="2030" y="229"/>
                </a:lnTo>
                <a:lnTo>
                  <a:pt x="2029" y="236"/>
                </a:lnTo>
                <a:lnTo>
                  <a:pt x="2026" y="245"/>
                </a:lnTo>
                <a:lnTo>
                  <a:pt x="2023" y="250"/>
                </a:lnTo>
                <a:lnTo>
                  <a:pt x="2019" y="257"/>
                </a:lnTo>
                <a:lnTo>
                  <a:pt x="2015" y="263"/>
                </a:lnTo>
                <a:lnTo>
                  <a:pt x="2010" y="269"/>
                </a:lnTo>
                <a:lnTo>
                  <a:pt x="2005" y="273"/>
                </a:lnTo>
                <a:lnTo>
                  <a:pt x="1999" y="279"/>
                </a:lnTo>
                <a:lnTo>
                  <a:pt x="1992" y="282"/>
                </a:lnTo>
                <a:lnTo>
                  <a:pt x="1984" y="286"/>
                </a:lnTo>
                <a:lnTo>
                  <a:pt x="1977" y="288"/>
                </a:lnTo>
                <a:lnTo>
                  <a:pt x="1970" y="290"/>
                </a:lnTo>
                <a:lnTo>
                  <a:pt x="1961" y="290"/>
                </a:lnTo>
                <a:lnTo>
                  <a:pt x="1954" y="292"/>
                </a:lnTo>
                <a:close/>
                <a:moveTo>
                  <a:pt x="1954" y="329"/>
                </a:moveTo>
                <a:lnTo>
                  <a:pt x="1954" y="329"/>
                </a:lnTo>
                <a:lnTo>
                  <a:pt x="1966" y="329"/>
                </a:lnTo>
                <a:lnTo>
                  <a:pt x="1977" y="326"/>
                </a:lnTo>
                <a:lnTo>
                  <a:pt x="1989" y="324"/>
                </a:lnTo>
                <a:lnTo>
                  <a:pt x="1999" y="321"/>
                </a:lnTo>
                <a:lnTo>
                  <a:pt x="2010" y="315"/>
                </a:lnTo>
                <a:lnTo>
                  <a:pt x="2019" y="309"/>
                </a:lnTo>
                <a:lnTo>
                  <a:pt x="2029" y="303"/>
                </a:lnTo>
                <a:lnTo>
                  <a:pt x="2036" y="296"/>
                </a:lnTo>
                <a:lnTo>
                  <a:pt x="2045" y="288"/>
                </a:lnTo>
                <a:lnTo>
                  <a:pt x="2051" y="279"/>
                </a:lnTo>
                <a:lnTo>
                  <a:pt x="2056" y="269"/>
                </a:lnTo>
                <a:lnTo>
                  <a:pt x="2062" y="259"/>
                </a:lnTo>
                <a:lnTo>
                  <a:pt x="2066" y="247"/>
                </a:lnTo>
                <a:lnTo>
                  <a:pt x="2069" y="236"/>
                </a:lnTo>
                <a:lnTo>
                  <a:pt x="2071" y="224"/>
                </a:lnTo>
                <a:lnTo>
                  <a:pt x="2071" y="213"/>
                </a:lnTo>
                <a:lnTo>
                  <a:pt x="2071" y="200"/>
                </a:lnTo>
                <a:lnTo>
                  <a:pt x="2069" y="189"/>
                </a:lnTo>
                <a:lnTo>
                  <a:pt x="2066" y="177"/>
                </a:lnTo>
                <a:lnTo>
                  <a:pt x="2062" y="167"/>
                </a:lnTo>
                <a:lnTo>
                  <a:pt x="2056" y="157"/>
                </a:lnTo>
                <a:lnTo>
                  <a:pt x="2051" y="147"/>
                </a:lnTo>
                <a:lnTo>
                  <a:pt x="2045" y="138"/>
                </a:lnTo>
                <a:lnTo>
                  <a:pt x="2036" y="130"/>
                </a:lnTo>
                <a:lnTo>
                  <a:pt x="2029" y="122"/>
                </a:lnTo>
                <a:lnTo>
                  <a:pt x="2019" y="115"/>
                </a:lnTo>
                <a:lnTo>
                  <a:pt x="2010" y="110"/>
                </a:lnTo>
                <a:lnTo>
                  <a:pt x="1999" y="105"/>
                </a:lnTo>
                <a:lnTo>
                  <a:pt x="1989" y="101"/>
                </a:lnTo>
                <a:lnTo>
                  <a:pt x="1977" y="98"/>
                </a:lnTo>
                <a:lnTo>
                  <a:pt x="1966" y="97"/>
                </a:lnTo>
                <a:lnTo>
                  <a:pt x="1954" y="97"/>
                </a:lnTo>
                <a:lnTo>
                  <a:pt x="1941" y="97"/>
                </a:lnTo>
                <a:lnTo>
                  <a:pt x="1930" y="98"/>
                </a:lnTo>
                <a:lnTo>
                  <a:pt x="1920" y="101"/>
                </a:lnTo>
                <a:lnTo>
                  <a:pt x="1908" y="105"/>
                </a:lnTo>
                <a:lnTo>
                  <a:pt x="1898" y="110"/>
                </a:lnTo>
                <a:lnTo>
                  <a:pt x="1888" y="115"/>
                </a:lnTo>
                <a:lnTo>
                  <a:pt x="1879" y="122"/>
                </a:lnTo>
                <a:lnTo>
                  <a:pt x="1871" y="130"/>
                </a:lnTo>
                <a:lnTo>
                  <a:pt x="1863" y="138"/>
                </a:lnTo>
                <a:lnTo>
                  <a:pt x="1856" y="147"/>
                </a:lnTo>
                <a:lnTo>
                  <a:pt x="1850" y="157"/>
                </a:lnTo>
                <a:lnTo>
                  <a:pt x="1846" y="167"/>
                </a:lnTo>
                <a:lnTo>
                  <a:pt x="1842" y="177"/>
                </a:lnTo>
                <a:lnTo>
                  <a:pt x="1839" y="189"/>
                </a:lnTo>
                <a:lnTo>
                  <a:pt x="1838" y="200"/>
                </a:lnTo>
                <a:lnTo>
                  <a:pt x="1838" y="213"/>
                </a:lnTo>
                <a:lnTo>
                  <a:pt x="1838" y="224"/>
                </a:lnTo>
                <a:lnTo>
                  <a:pt x="1839" y="236"/>
                </a:lnTo>
                <a:lnTo>
                  <a:pt x="1842" y="247"/>
                </a:lnTo>
                <a:lnTo>
                  <a:pt x="1846" y="259"/>
                </a:lnTo>
                <a:lnTo>
                  <a:pt x="1850" y="269"/>
                </a:lnTo>
                <a:lnTo>
                  <a:pt x="1856" y="279"/>
                </a:lnTo>
                <a:lnTo>
                  <a:pt x="1863" y="288"/>
                </a:lnTo>
                <a:lnTo>
                  <a:pt x="1871" y="296"/>
                </a:lnTo>
                <a:lnTo>
                  <a:pt x="1879" y="303"/>
                </a:lnTo>
                <a:lnTo>
                  <a:pt x="1888" y="309"/>
                </a:lnTo>
                <a:lnTo>
                  <a:pt x="1898" y="315"/>
                </a:lnTo>
                <a:lnTo>
                  <a:pt x="1908" y="321"/>
                </a:lnTo>
                <a:lnTo>
                  <a:pt x="1920" y="324"/>
                </a:lnTo>
                <a:lnTo>
                  <a:pt x="1930" y="326"/>
                </a:lnTo>
                <a:lnTo>
                  <a:pt x="1941" y="329"/>
                </a:lnTo>
                <a:lnTo>
                  <a:pt x="1954" y="329"/>
                </a:lnTo>
                <a:close/>
                <a:moveTo>
                  <a:pt x="1833" y="324"/>
                </a:moveTo>
                <a:lnTo>
                  <a:pt x="1833" y="324"/>
                </a:lnTo>
                <a:lnTo>
                  <a:pt x="1724" y="209"/>
                </a:lnTo>
                <a:lnTo>
                  <a:pt x="1830" y="102"/>
                </a:lnTo>
                <a:lnTo>
                  <a:pt x="1780" y="102"/>
                </a:lnTo>
                <a:lnTo>
                  <a:pt x="1685" y="200"/>
                </a:lnTo>
                <a:lnTo>
                  <a:pt x="1685" y="13"/>
                </a:lnTo>
                <a:lnTo>
                  <a:pt x="1646" y="13"/>
                </a:lnTo>
                <a:lnTo>
                  <a:pt x="1646" y="324"/>
                </a:lnTo>
                <a:lnTo>
                  <a:pt x="1685" y="324"/>
                </a:lnTo>
                <a:lnTo>
                  <a:pt x="1685" y="219"/>
                </a:lnTo>
                <a:lnTo>
                  <a:pt x="1786" y="324"/>
                </a:lnTo>
                <a:lnTo>
                  <a:pt x="1833" y="324"/>
                </a:lnTo>
                <a:close/>
                <a:moveTo>
                  <a:pt x="1469" y="292"/>
                </a:moveTo>
                <a:lnTo>
                  <a:pt x="1469" y="292"/>
                </a:lnTo>
                <a:lnTo>
                  <a:pt x="1462" y="292"/>
                </a:lnTo>
                <a:lnTo>
                  <a:pt x="1453" y="290"/>
                </a:lnTo>
                <a:lnTo>
                  <a:pt x="1446" y="289"/>
                </a:lnTo>
                <a:lnTo>
                  <a:pt x="1439" y="286"/>
                </a:lnTo>
                <a:lnTo>
                  <a:pt x="1431" y="283"/>
                </a:lnTo>
                <a:lnTo>
                  <a:pt x="1424" y="279"/>
                </a:lnTo>
                <a:lnTo>
                  <a:pt x="1418" y="275"/>
                </a:lnTo>
                <a:lnTo>
                  <a:pt x="1413" y="269"/>
                </a:lnTo>
                <a:lnTo>
                  <a:pt x="1408" y="263"/>
                </a:lnTo>
                <a:lnTo>
                  <a:pt x="1404" y="257"/>
                </a:lnTo>
                <a:lnTo>
                  <a:pt x="1400" y="252"/>
                </a:lnTo>
                <a:lnTo>
                  <a:pt x="1397" y="245"/>
                </a:lnTo>
                <a:lnTo>
                  <a:pt x="1394" y="237"/>
                </a:lnTo>
                <a:lnTo>
                  <a:pt x="1393" y="229"/>
                </a:lnTo>
                <a:lnTo>
                  <a:pt x="1391" y="222"/>
                </a:lnTo>
                <a:lnTo>
                  <a:pt x="1391" y="213"/>
                </a:lnTo>
                <a:lnTo>
                  <a:pt x="1391" y="204"/>
                </a:lnTo>
                <a:lnTo>
                  <a:pt x="1393" y="196"/>
                </a:lnTo>
                <a:lnTo>
                  <a:pt x="1394" y="189"/>
                </a:lnTo>
                <a:lnTo>
                  <a:pt x="1397" y="181"/>
                </a:lnTo>
                <a:lnTo>
                  <a:pt x="1400" y="174"/>
                </a:lnTo>
                <a:lnTo>
                  <a:pt x="1404" y="168"/>
                </a:lnTo>
                <a:lnTo>
                  <a:pt x="1408" y="161"/>
                </a:lnTo>
                <a:lnTo>
                  <a:pt x="1413" y="155"/>
                </a:lnTo>
                <a:lnTo>
                  <a:pt x="1418" y="151"/>
                </a:lnTo>
                <a:lnTo>
                  <a:pt x="1424" y="147"/>
                </a:lnTo>
                <a:lnTo>
                  <a:pt x="1431" y="143"/>
                </a:lnTo>
                <a:lnTo>
                  <a:pt x="1439" y="140"/>
                </a:lnTo>
                <a:lnTo>
                  <a:pt x="1446" y="137"/>
                </a:lnTo>
                <a:lnTo>
                  <a:pt x="1453" y="135"/>
                </a:lnTo>
                <a:lnTo>
                  <a:pt x="1462" y="134"/>
                </a:lnTo>
                <a:lnTo>
                  <a:pt x="1469" y="134"/>
                </a:lnTo>
                <a:lnTo>
                  <a:pt x="1478" y="134"/>
                </a:lnTo>
                <a:lnTo>
                  <a:pt x="1486" y="135"/>
                </a:lnTo>
                <a:lnTo>
                  <a:pt x="1493" y="137"/>
                </a:lnTo>
                <a:lnTo>
                  <a:pt x="1501" y="140"/>
                </a:lnTo>
                <a:lnTo>
                  <a:pt x="1508" y="143"/>
                </a:lnTo>
                <a:lnTo>
                  <a:pt x="1514" y="147"/>
                </a:lnTo>
                <a:lnTo>
                  <a:pt x="1521" y="151"/>
                </a:lnTo>
                <a:lnTo>
                  <a:pt x="1525" y="155"/>
                </a:lnTo>
                <a:lnTo>
                  <a:pt x="1531" y="161"/>
                </a:lnTo>
                <a:lnTo>
                  <a:pt x="1535" y="168"/>
                </a:lnTo>
                <a:lnTo>
                  <a:pt x="1539" y="174"/>
                </a:lnTo>
                <a:lnTo>
                  <a:pt x="1542" y="181"/>
                </a:lnTo>
                <a:lnTo>
                  <a:pt x="1545" y="189"/>
                </a:lnTo>
                <a:lnTo>
                  <a:pt x="1547" y="196"/>
                </a:lnTo>
                <a:lnTo>
                  <a:pt x="1548" y="204"/>
                </a:lnTo>
                <a:lnTo>
                  <a:pt x="1548" y="213"/>
                </a:lnTo>
                <a:lnTo>
                  <a:pt x="1548" y="222"/>
                </a:lnTo>
                <a:lnTo>
                  <a:pt x="1547" y="229"/>
                </a:lnTo>
                <a:lnTo>
                  <a:pt x="1545" y="237"/>
                </a:lnTo>
                <a:lnTo>
                  <a:pt x="1542" y="245"/>
                </a:lnTo>
                <a:lnTo>
                  <a:pt x="1539" y="252"/>
                </a:lnTo>
                <a:lnTo>
                  <a:pt x="1535" y="257"/>
                </a:lnTo>
                <a:lnTo>
                  <a:pt x="1531" y="263"/>
                </a:lnTo>
                <a:lnTo>
                  <a:pt x="1525" y="269"/>
                </a:lnTo>
                <a:lnTo>
                  <a:pt x="1521" y="275"/>
                </a:lnTo>
                <a:lnTo>
                  <a:pt x="1514" y="279"/>
                </a:lnTo>
                <a:lnTo>
                  <a:pt x="1508" y="283"/>
                </a:lnTo>
                <a:lnTo>
                  <a:pt x="1501" y="286"/>
                </a:lnTo>
                <a:lnTo>
                  <a:pt x="1493" y="289"/>
                </a:lnTo>
                <a:lnTo>
                  <a:pt x="1486" y="290"/>
                </a:lnTo>
                <a:lnTo>
                  <a:pt x="1478" y="292"/>
                </a:lnTo>
                <a:lnTo>
                  <a:pt x="1469" y="292"/>
                </a:lnTo>
                <a:close/>
                <a:moveTo>
                  <a:pt x="1548" y="102"/>
                </a:moveTo>
                <a:lnTo>
                  <a:pt x="1548" y="102"/>
                </a:lnTo>
                <a:lnTo>
                  <a:pt x="1548" y="140"/>
                </a:lnTo>
                <a:lnTo>
                  <a:pt x="1541" y="130"/>
                </a:lnTo>
                <a:lnTo>
                  <a:pt x="1534" y="121"/>
                </a:lnTo>
                <a:lnTo>
                  <a:pt x="1524" y="114"/>
                </a:lnTo>
                <a:lnTo>
                  <a:pt x="1514" y="108"/>
                </a:lnTo>
                <a:lnTo>
                  <a:pt x="1503" y="102"/>
                </a:lnTo>
                <a:lnTo>
                  <a:pt x="1490" y="99"/>
                </a:lnTo>
                <a:lnTo>
                  <a:pt x="1478" y="97"/>
                </a:lnTo>
                <a:lnTo>
                  <a:pt x="1465" y="97"/>
                </a:lnTo>
                <a:lnTo>
                  <a:pt x="1453" y="97"/>
                </a:lnTo>
                <a:lnTo>
                  <a:pt x="1442" y="98"/>
                </a:lnTo>
                <a:lnTo>
                  <a:pt x="1431" y="101"/>
                </a:lnTo>
                <a:lnTo>
                  <a:pt x="1421" y="105"/>
                </a:lnTo>
                <a:lnTo>
                  <a:pt x="1411" y="110"/>
                </a:lnTo>
                <a:lnTo>
                  <a:pt x="1401" y="115"/>
                </a:lnTo>
                <a:lnTo>
                  <a:pt x="1393" y="122"/>
                </a:lnTo>
                <a:lnTo>
                  <a:pt x="1385" y="130"/>
                </a:lnTo>
                <a:lnTo>
                  <a:pt x="1378" y="138"/>
                </a:lnTo>
                <a:lnTo>
                  <a:pt x="1371" y="147"/>
                </a:lnTo>
                <a:lnTo>
                  <a:pt x="1365" y="157"/>
                </a:lnTo>
                <a:lnTo>
                  <a:pt x="1361" y="167"/>
                </a:lnTo>
                <a:lnTo>
                  <a:pt x="1357" y="177"/>
                </a:lnTo>
                <a:lnTo>
                  <a:pt x="1354" y="189"/>
                </a:lnTo>
                <a:lnTo>
                  <a:pt x="1352" y="200"/>
                </a:lnTo>
                <a:lnTo>
                  <a:pt x="1352" y="213"/>
                </a:lnTo>
                <a:lnTo>
                  <a:pt x="1352" y="224"/>
                </a:lnTo>
                <a:lnTo>
                  <a:pt x="1354" y="236"/>
                </a:lnTo>
                <a:lnTo>
                  <a:pt x="1357" y="247"/>
                </a:lnTo>
                <a:lnTo>
                  <a:pt x="1361" y="259"/>
                </a:lnTo>
                <a:lnTo>
                  <a:pt x="1365" y="269"/>
                </a:lnTo>
                <a:lnTo>
                  <a:pt x="1371" y="279"/>
                </a:lnTo>
                <a:lnTo>
                  <a:pt x="1378" y="288"/>
                </a:lnTo>
                <a:lnTo>
                  <a:pt x="1385" y="296"/>
                </a:lnTo>
                <a:lnTo>
                  <a:pt x="1393" y="303"/>
                </a:lnTo>
                <a:lnTo>
                  <a:pt x="1401" y="309"/>
                </a:lnTo>
                <a:lnTo>
                  <a:pt x="1411" y="315"/>
                </a:lnTo>
                <a:lnTo>
                  <a:pt x="1421" y="321"/>
                </a:lnTo>
                <a:lnTo>
                  <a:pt x="1431" y="324"/>
                </a:lnTo>
                <a:lnTo>
                  <a:pt x="1442" y="326"/>
                </a:lnTo>
                <a:lnTo>
                  <a:pt x="1453" y="329"/>
                </a:lnTo>
                <a:lnTo>
                  <a:pt x="1465" y="329"/>
                </a:lnTo>
                <a:lnTo>
                  <a:pt x="1478" y="328"/>
                </a:lnTo>
                <a:lnTo>
                  <a:pt x="1490" y="326"/>
                </a:lnTo>
                <a:lnTo>
                  <a:pt x="1503" y="322"/>
                </a:lnTo>
                <a:lnTo>
                  <a:pt x="1514" y="318"/>
                </a:lnTo>
                <a:lnTo>
                  <a:pt x="1524" y="311"/>
                </a:lnTo>
                <a:lnTo>
                  <a:pt x="1534" y="303"/>
                </a:lnTo>
                <a:lnTo>
                  <a:pt x="1541" y="295"/>
                </a:lnTo>
                <a:lnTo>
                  <a:pt x="1548" y="285"/>
                </a:lnTo>
                <a:lnTo>
                  <a:pt x="1548" y="324"/>
                </a:lnTo>
                <a:lnTo>
                  <a:pt x="1587" y="324"/>
                </a:lnTo>
                <a:lnTo>
                  <a:pt x="1587" y="102"/>
                </a:lnTo>
                <a:lnTo>
                  <a:pt x="1548" y="102"/>
                </a:lnTo>
                <a:close/>
                <a:moveTo>
                  <a:pt x="1224" y="97"/>
                </a:moveTo>
                <a:lnTo>
                  <a:pt x="1224" y="97"/>
                </a:lnTo>
                <a:lnTo>
                  <a:pt x="1213" y="97"/>
                </a:lnTo>
                <a:lnTo>
                  <a:pt x="1202" y="98"/>
                </a:lnTo>
                <a:lnTo>
                  <a:pt x="1192" y="101"/>
                </a:lnTo>
                <a:lnTo>
                  <a:pt x="1182" y="105"/>
                </a:lnTo>
                <a:lnTo>
                  <a:pt x="1174" y="111"/>
                </a:lnTo>
                <a:lnTo>
                  <a:pt x="1166" y="117"/>
                </a:lnTo>
                <a:lnTo>
                  <a:pt x="1159" y="125"/>
                </a:lnTo>
                <a:lnTo>
                  <a:pt x="1152" y="134"/>
                </a:lnTo>
                <a:lnTo>
                  <a:pt x="1152" y="102"/>
                </a:lnTo>
                <a:lnTo>
                  <a:pt x="1113" y="102"/>
                </a:lnTo>
                <a:lnTo>
                  <a:pt x="1113" y="324"/>
                </a:lnTo>
                <a:lnTo>
                  <a:pt x="1152" y="324"/>
                </a:lnTo>
                <a:lnTo>
                  <a:pt x="1152" y="206"/>
                </a:lnTo>
                <a:lnTo>
                  <a:pt x="1154" y="189"/>
                </a:lnTo>
                <a:lnTo>
                  <a:pt x="1158" y="173"/>
                </a:lnTo>
                <a:lnTo>
                  <a:pt x="1161" y="166"/>
                </a:lnTo>
                <a:lnTo>
                  <a:pt x="1164" y="160"/>
                </a:lnTo>
                <a:lnTo>
                  <a:pt x="1166" y="154"/>
                </a:lnTo>
                <a:lnTo>
                  <a:pt x="1171" y="150"/>
                </a:lnTo>
                <a:lnTo>
                  <a:pt x="1181" y="143"/>
                </a:lnTo>
                <a:lnTo>
                  <a:pt x="1192" y="137"/>
                </a:lnTo>
                <a:lnTo>
                  <a:pt x="1204" y="134"/>
                </a:lnTo>
                <a:lnTo>
                  <a:pt x="1217" y="133"/>
                </a:lnTo>
                <a:lnTo>
                  <a:pt x="1228" y="134"/>
                </a:lnTo>
                <a:lnTo>
                  <a:pt x="1240" y="137"/>
                </a:lnTo>
                <a:lnTo>
                  <a:pt x="1250" y="141"/>
                </a:lnTo>
                <a:lnTo>
                  <a:pt x="1257" y="148"/>
                </a:lnTo>
                <a:lnTo>
                  <a:pt x="1263" y="155"/>
                </a:lnTo>
                <a:lnTo>
                  <a:pt x="1269" y="166"/>
                </a:lnTo>
                <a:lnTo>
                  <a:pt x="1272" y="177"/>
                </a:lnTo>
                <a:lnTo>
                  <a:pt x="1272" y="190"/>
                </a:lnTo>
                <a:lnTo>
                  <a:pt x="1272" y="324"/>
                </a:lnTo>
                <a:lnTo>
                  <a:pt x="1310" y="324"/>
                </a:lnTo>
                <a:lnTo>
                  <a:pt x="1310" y="187"/>
                </a:lnTo>
                <a:lnTo>
                  <a:pt x="1310" y="177"/>
                </a:lnTo>
                <a:lnTo>
                  <a:pt x="1309" y="167"/>
                </a:lnTo>
                <a:lnTo>
                  <a:pt x="1308" y="158"/>
                </a:lnTo>
                <a:lnTo>
                  <a:pt x="1305" y="150"/>
                </a:lnTo>
                <a:lnTo>
                  <a:pt x="1300" y="141"/>
                </a:lnTo>
                <a:lnTo>
                  <a:pt x="1298" y="134"/>
                </a:lnTo>
                <a:lnTo>
                  <a:pt x="1292" y="127"/>
                </a:lnTo>
                <a:lnTo>
                  <a:pt x="1287" y="121"/>
                </a:lnTo>
                <a:lnTo>
                  <a:pt x="1282" y="115"/>
                </a:lnTo>
                <a:lnTo>
                  <a:pt x="1274" y="110"/>
                </a:lnTo>
                <a:lnTo>
                  <a:pt x="1267" y="105"/>
                </a:lnTo>
                <a:lnTo>
                  <a:pt x="1260" y="102"/>
                </a:lnTo>
                <a:lnTo>
                  <a:pt x="1251" y="99"/>
                </a:lnTo>
                <a:lnTo>
                  <a:pt x="1243" y="98"/>
                </a:lnTo>
                <a:lnTo>
                  <a:pt x="1234" y="97"/>
                </a:lnTo>
                <a:lnTo>
                  <a:pt x="1224" y="97"/>
                </a:lnTo>
                <a:close/>
                <a:moveTo>
                  <a:pt x="1030" y="328"/>
                </a:moveTo>
                <a:lnTo>
                  <a:pt x="1030" y="328"/>
                </a:lnTo>
                <a:lnTo>
                  <a:pt x="1035" y="328"/>
                </a:lnTo>
                <a:lnTo>
                  <a:pt x="1041" y="326"/>
                </a:lnTo>
                <a:lnTo>
                  <a:pt x="1047" y="324"/>
                </a:lnTo>
                <a:lnTo>
                  <a:pt x="1051" y="321"/>
                </a:lnTo>
                <a:lnTo>
                  <a:pt x="1054" y="316"/>
                </a:lnTo>
                <a:lnTo>
                  <a:pt x="1057" y="311"/>
                </a:lnTo>
                <a:lnTo>
                  <a:pt x="1058" y="305"/>
                </a:lnTo>
                <a:lnTo>
                  <a:pt x="1058" y="299"/>
                </a:lnTo>
                <a:lnTo>
                  <a:pt x="1058" y="293"/>
                </a:lnTo>
                <a:lnTo>
                  <a:pt x="1057" y="289"/>
                </a:lnTo>
                <a:lnTo>
                  <a:pt x="1054" y="283"/>
                </a:lnTo>
                <a:lnTo>
                  <a:pt x="1051" y="279"/>
                </a:lnTo>
                <a:lnTo>
                  <a:pt x="1047" y="276"/>
                </a:lnTo>
                <a:lnTo>
                  <a:pt x="1041" y="273"/>
                </a:lnTo>
                <a:lnTo>
                  <a:pt x="1035" y="272"/>
                </a:lnTo>
                <a:lnTo>
                  <a:pt x="1030" y="270"/>
                </a:lnTo>
                <a:lnTo>
                  <a:pt x="1024" y="272"/>
                </a:lnTo>
                <a:lnTo>
                  <a:pt x="1018" y="273"/>
                </a:lnTo>
                <a:lnTo>
                  <a:pt x="1014" y="276"/>
                </a:lnTo>
                <a:lnTo>
                  <a:pt x="1010" y="279"/>
                </a:lnTo>
                <a:lnTo>
                  <a:pt x="1007" y="283"/>
                </a:lnTo>
                <a:lnTo>
                  <a:pt x="1004" y="289"/>
                </a:lnTo>
                <a:lnTo>
                  <a:pt x="1002" y="293"/>
                </a:lnTo>
                <a:lnTo>
                  <a:pt x="1001" y="299"/>
                </a:lnTo>
                <a:lnTo>
                  <a:pt x="1002" y="305"/>
                </a:lnTo>
                <a:lnTo>
                  <a:pt x="1004" y="311"/>
                </a:lnTo>
                <a:lnTo>
                  <a:pt x="1007" y="316"/>
                </a:lnTo>
                <a:lnTo>
                  <a:pt x="1010" y="321"/>
                </a:lnTo>
                <a:lnTo>
                  <a:pt x="1014" y="324"/>
                </a:lnTo>
                <a:lnTo>
                  <a:pt x="1018" y="326"/>
                </a:lnTo>
                <a:lnTo>
                  <a:pt x="1024" y="328"/>
                </a:lnTo>
                <a:lnTo>
                  <a:pt x="1030" y="328"/>
                </a:lnTo>
                <a:close/>
                <a:moveTo>
                  <a:pt x="966" y="102"/>
                </a:moveTo>
                <a:lnTo>
                  <a:pt x="966" y="102"/>
                </a:lnTo>
                <a:lnTo>
                  <a:pt x="917" y="270"/>
                </a:lnTo>
                <a:lnTo>
                  <a:pt x="864" y="102"/>
                </a:lnTo>
                <a:lnTo>
                  <a:pt x="827" y="102"/>
                </a:lnTo>
                <a:lnTo>
                  <a:pt x="775" y="270"/>
                </a:lnTo>
                <a:lnTo>
                  <a:pt x="726" y="102"/>
                </a:lnTo>
                <a:lnTo>
                  <a:pt x="686" y="102"/>
                </a:lnTo>
                <a:lnTo>
                  <a:pt x="755" y="324"/>
                </a:lnTo>
                <a:lnTo>
                  <a:pt x="794" y="324"/>
                </a:lnTo>
                <a:lnTo>
                  <a:pt x="845" y="160"/>
                </a:lnTo>
                <a:lnTo>
                  <a:pt x="897" y="324"/>
                </a:lnTo>
                <a:lnTo>
                  <a:pt x="938" y="324"/>
                </a:lnTo>
                <a:lnTo>
                  <a:pt x="1007" y="102"/>
                </a:lnTo>
                <a:lnTo>
                  <a:pt x="966" y="102"/>
                </a:lnTo>
                <a:close/>
                <a:moveTo>
                  <a:pt x="624" y="102"/>
                </a:moveTo>
                <a:lnTo>
                  <a:pt x="624" y="102"/>
                </a:lnTo>
                <a:lnTo>
                  <a:pt x="575" y="270"/>
                </a:lnTo>
                <a:lnTo>
                  <a:pt x="521" y="102"/>
                </a:lnTo>
                <a:lnTo>
                  <a:pt x="485" y="102"/>
                </a:lnTo>
                <a:lnTo>
                  <a:pt x="432" y="270"/>
                </a:lnTo>
                <a:lnTo>
                  <a:pt x="383" y="102"/>
                </a:lnTo>
                <a:lnTo>
                  <a:pt x="343" y="102"/>
                </a:lnTo>
                <a:lnTo>
                  <a:pt x="412" y="324"/>
                </a:lnTo>
                <a:lnTo>
                  <a:pt x="451" y="324"/>
                </a:lnTo>
                <a:lnTo>
                  <a:pt x="504" y="160"/>
                </a:lnTo>
                <a:lnTo>
                  <a:pt x="556" y="324"/>
                </a:lnTo>
                <a:lnTo>
                  <a:pt x="595" y="324"/>
                </a:lnTo>
                <a:lnTo>
                  <a:pt x="664" y="102"/>
                </a:lnTo>
                <a:lnTo>
                  <a:pt x="624" y="102"/>
                </a:lnTo>
                <a:close/>
                <a:moveTo>
                  <a:pt x="281" y="102"/>
                </a:moveTo>
                <a:lnTo>
                  <a:pt x="281" y="102"/>
                </a:lnTo>
                <a:lnTo>
                  <a:pt x="232" y="270"/>
                </a:lnTo>
                <a:lnTo>
                  <a:pt x="180" y="102"/>
                </a:lnTo>
                <a:lnTo>
                  <a:pt x="143" y="102"/>
                </a:lnTo>
                <a:lnTo>
                  <a:pt x="89" y="270"/>
                </a:lnTo>
                <a:lnTo>
                  <a:pt x="40" y="102"/>
                </a:lnTo>
                <a:lnTo>
                  <a:pt x="0" y="102"/>
                </a:lnTo>
                <a:lnTo>
                  <a:pt x="69" y="324"/>
                </a:lnTo>
                <a:lnTo>
                  <a:pt x="110" y="324"/>
                </a:lnTo>
                <a:lnTo>
                  <a:pt x="161" y="160"/>
                </a:lnTo>
                <a:lnTo>
                  <a:pt x="213" y="324"/>
                </a:lnTo>
                <a:lnTo>
                  <a:pt x="252" y="324"/>
                </a:lnTo>
                <a:lnTo>
                  <a:pt x="321" y="102"/>
                </a:lnTo>
                <a:lnTo>
                  <a:pt x="281" y="1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5" name="Skupina 1064">
            <a:extLst>
              <a:ext uri="{FF2B5EF4-FFF2-40B4-BE49-F238E27FC236}">
                <a16:creationId xmlns:a16="http://schemas.microsoft.com/office/drawing/2014/main" id="{28687763-0AAB-594D-5CD1-220B1AB2F886}"/>
              </a:ext>
            </a:extLst>
          </p:cNvPr>
          <p:cNvGrpSpPr/>
          <p:nvPr/>
        </p:nvGrpSpPr>
        <p:grpSpPr>
          <a:xfrm>
            <a:off x="658813" y="3203575"/>
            <a:ext cx="4930775" cy="1236663"/>
            <a:chOff x="658813" y="3203575"/>
            <a:chExt cx="4930775" cy="1236663"/>
          </a:xfrm>
        </p:grpSpPr>
        <p:sp>
          <p:nvSpPr>
            <p:cNvPr id="1056" name="Freeform 60">
              <a:extLst>
                <a:ext uri="{FF2B5EF4-FFF2-40B4-BE49-F238E27FC236}">
                  <a16:creationId xmlns:a16="http://schemas.microsoft.com/office/drawing/2014/main" id="{D92F7977-7015-6586-C4BB-CAD5DACB10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438" y="3786188"/>
              <a:ext cx="2851150" cy="654050"/>
            </a:xfrm>
            <a:custGeom>
              <a:avLst/>
              <a:gdLst>
                <a:gd name="T0" fmla="*/ 5198 w 5390"/>
                <a:gd name="T1" fmla="*/ 1199 h 1235"/>
                <a:gd name="T2" fmla="*/ 5338 w 5390"/>
                <a:gd name="T3" fmla="*/ 1086 h 1235"/>
                <a:gd name="T4" fmla="*/ 5390 w 5390"/>
                <a:gd name="T5" fmla="*/ 905 h 1235"/>
                <a:gd name="T6" fmla="*/ 5119 w 5390"/>
                <a:gd name="T7" fmla="*/ 966 h 1235"/>
                <a:gd name="T8" fmla="*/ 4966 w 5390"/>
                <a:gd name="T9" fmla="*/ 995 h 1235"/>
                <a:gd name="T10" fmla="*/ 4884 w 5390"/>
                <a:gd name="T11" fmla="*/ 906 h 1235"/>
                <a:gd name="T12" fmla="*/ 4657 w 5390"/>
                <a:gd name="T13" fmla="*/ 1011 h 1235"/>
                <a:gd name="T14" fmla="*/ 4759 w 5390"/>
                <a:gd name="T15" fmla="*/ 1156 h 1235"/>
                <a:gd name="T16" fmla="*/ 4936 w 5390"/>
                <a:gd name="T17" fmla="*/ 1229 h 1235"/>
                <a:gd name="T18" fmla="*/ 3908 w 5390"/>
                <a:gd name="T19" fmla="*/ 971 h 1235"/>
                <a:gd name="T20" fmla="*/ 3776 w 5390"/>
                <a:gd name="T21" fmla="*/ 742 h 1235"/>
                <a:gd name="T22" fmla="*/ 3908 w 5390"/>
                <a:gd name="T23" fmla="*/ 515 h 1235"/>
                <a:gd name="T24" fmla="*/ 4176 w 5390"/>
                <a:gd name="T25" fmla="*/ 527 h 1235"/>
                <a:gd name="T26" fmla="*/ 4285 w 5390"/>
                <a:gd name="T27" fmla="*/ 771 h 1235"/>
                <a:gd name="T28" fmla="*/ 4133 w 5390"/>
                <a:gd name="T29" fmla="*/ 981 h 1235"/>
                <a:gd name="T30" fmla="*/ 4156 w 5390"/>
                <a:gd name="T31" fmla="*/ 1221 h 1235"/>
                <a:gd name="T32" fmla="*/ 4383 w 5390"/>
                <a:gd name="T33" fmla="*/ 1093 h 1235"/>
                <a:gd name="T34" fmla="*/ 4513 w 5390"/>
                <a:gd name="T35" fmla="*/ 867 h 1235"/>
                <a:gd name="T36" fmla="*/ 4506 w 5390"/>
                <a:gd name="T37" fmla="*/ 594 h 1235"/>
                <a:gd name="T38" fmla="*/ 4366 w 5390"/>
                <a:gd name="T39" fmla="*/ 376 h 1235"/>
                <a:gd name="T40" fmla="*/ 4131 w 5390"/>
                <a:gd name="T41" fmla="*/ 260 h 1235"/>
                <a:gd name="T42" fmla="*/ 3859 w 5390"/>
                <a:gd name="T43" fmla="*/ 279 h 1235"/>
                <a:gd name="T44" fmla="*/ 3647 w 5390"/>
                <a:gd name="T45" fmla="*/ 426 h 1235"/>
                <a:gd name="T46" fmla="*/ 3539 w 5390"/>
                <a:gd name="T47" fmla="*/ 666 h 1235"/>
                <a:gd name="T48" fmla="*/ 3573 w 5390"/>
                <a:gd name="T49" fmla="*/ 936 h 1235"/>
                <a:gd name="T50" fmla="*/ 3732 w 5390"/>
                <a:gd name="T51" fmla="*/ 1139 h 1235"/>
                <a:gd name="T52" fmla="*/ 3980 w 5390"/>
                <a:gd name="T53" fmla="*/ 1233 h 1235"/>
                <a:gd name="T54" fmla="*/ 3168 w 5390"/>
                <a:gd name="T55" fmla="*/ 846 h 1235"/>
                <a:gd name="T56" fmla="*/ 3217 w 5390"/>
                <a:gd name="T57" fmla="*/ 910 h 1235"/>
                <a:gd name="T58" fmla="*/ 3182 w 5390"/>
                <a:gd name="T59" fmla="*/ 986 h 1235"/>
                <a:gd name="T60" fmla="*/ 3152 w 5390"/>
                <a:gd name="T61" fmla="*/ 497 h 1235"/>
                <a:gd name="T62" fmla="*/ 3185 w 5390"/>
                <a:gd name="T63" fmla="*/ 577 h 1235"/>
                <a:gd name="T64" fmla="*/ 2985 w 5390"/>
                <a:gd name="T65" fmla="*/ 635 h 1235"/>
                <a:gd name="T66" fmla="*/ 3400 w 5390"/>
                <a:gd name="T67" fmla="*/ 658 h 1235"/>
                <a:gd name="T68" fmla="*/ 3427 w 5390"/>
                <a:gd name="T69" fmla="*/ 508 h 1235"/>
                <a:gd name="T70" fmla="*/ 3371 w 5390"/>
                <a:gd name="T71" fmla="*/ 370 h 1235"/>
                <a:gd name="T72" fmla="*/ 3116 w 5390"/>
                <a:gd name="T73" fmla="*/ 270 h 1235"/>
                <a:gd name="T74" fmla="*/ 3351 w 5390"/>
                <a:gd name="T75" fmla="*/ 1156 h 1235"/>
                <a:gd name="T76" fmla="*/ 3443 w 5390"/>
                <a:gd name="T77" fmla="*/ 1040 h 1235"/>
                <a:gd name="T78" fmla="*/ 3452 w 5390"/>
                <a:gd name="T79" fmla="*/ 870 h 1235"/>
                <a:gd name="T80" fmla="*/ 3354 w 5390"/>
                <a:gd name="T81" fmla="*/ 735 h 1235"/>
                <a:gd name="T82" fmla="*/ 1667 w 5390"/>
                <a:gd name="T83" fmla="*/ 1215 h 1235"/>
                <a:gd name="T84" fmla="*/ 1233 w 5390"/>
                <a:gd name="T85" fmla="*/ 501 h 1235"/>
                <a:gd name="T86" fmla="*/ 1292 w 5390"/>
                <a:gd name="T87" fmla="*/ 589 h 1235"/>
                <a:gd name="T88" fmla="*/ 1250 w 5390"/>
                <a:gd name="T89" fmla="*/ 689 h 1235"/>
                <a:gd name="T90" fmla="*/ 1568 w 5390"/>
                <a:gd name="T91" fmla="*/ 1215 h 1235"/>
                <a:gd name="T92" fmla="*/ 1509 w 5390"/>
                <a:gd name="T93" fmla="*/ 718 h 1235"/>
                <a:gd name="T94" fmla="*/ 1525 w 5390"/>
                <a:gd name="T95" fmla="*/ 511 h 1235"/>
                <a:gd name="T96" fmla="*/ 1436 w 5390"/>
                <a:gd name="T97" fmla="*/ 362 h 1235"/>
                <a:gd name="T98" fmla="*/ 1280 w 5390"/>
                <a:gd name="T99" fmla="*/ 280 h 1235"/>
                <a:gd name="T100" fmla="*/ 1309 w 5390"/>
                <a:gd name="T101" fmla="*/ 1215 h 1235"/>
                <a:gd name="T102" fmla="*/ 367 w 5390"/>
                <a:gd name="T103" fmla="*/ 702 h 1235"/>
                <a:gd name="T104" fmla="*/ 436 w 5390"/>
                <a:gd name="T105" fmla="*/ 528 h 1235"/>
                <a:gd name="T106" fmla="*/ 459 w 5390"/>
                <a:gd name="T107" fmla="*/ 632 h 1235"/>
                <a:gd name="T108" fmla="*/ 387 w 5390"/>
                <a:gd name="T109" fmla="*/ 701 h 1235"/>
                <a:gd name="T110" fmla="*/ 403 w 5390"/>
                <a:gd name="T111" fmla="*/ 930 h 1235"/>
                <a:gd name="T112" fmla="*/ 572 w 5390"/>
                <a:gd name="T113" fmla="*/ 869 h 1235"/>
                <a:gd name="T114" fmla="*/ 680 w 5390"/>
                <a:gd name="T115" fmla="*/ 735 h 1235"/>
                <a:gd name="T116" fmla="*/ 703 w 5390"/>
                <a:gd name="T117" fmla="*/ 547 h 1235"/>
                <a:gd name="T118" fmla="*/ 629 w 5390"/>
                <a:gd name="T119" fmla="*/ 386 h 1235"/>
                <a:gd name="T120" fmla="*/ 485 w 5390"/>
                <a:gd name="T121" fmla="*/ 289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90" h="1235">
                  <a:moveTo>
                    <a:pt x="5015" y="1235"/>
                  </a:moveTo>
                  <a:lnTo>
                    <a:pt x="5036" y="1235"/>
                  </a:lnTo>
                  <a:lnTo>
                    <a:pt x="5056" y="1233"/>
                  </a:lnTo>
                  <a:lnTo>
                    <a:pt x="5074" y="1232"/>
                  </a:lnTo>
                  <a:lnTo>
                    <a:pt x="5095" y="1229"/>
                  </a:lnTo>
                  <a:lnTo>
                    <a:pt x="5113" y="1226"/>
                  </a:lnTo>
                  <a:lnTo>
                    <a:pt x="5131" y="1222"/>
                  </a:lnTo>
                  <a:lnTo>
                    <a:pt x="5149" y="1218"/>
                  </a:lnTo>
                  <a:lnTo>
                    <a:pt x="5165" y="1212"/>
                  </a:lnTo>
                  <a:lnTo>
                    <a:pt x="5182" y="1206"/>
                  </a:lnTo>
                  <a:lnTo>
                    <a:pt x="5198" y="1199"/>
                  </a:lnTo>
                  <a:lnTo>
                    <a:pt x="5214" y="1192"/>
                  </a:lnTo>
                  <a:lnTo>
                    <a:pt x="5230" y="1185"/>
                  </a:lnTo>
                  <a:lnTo>
                    <a:pt x="5244" y="1176"/>
                  </a:lnTo>
                  <a:lnTo>
                    <a:pt x="5259" y="1166"/>
                  </a:lnTo>
                  <a:lnTo>
                    <a:pt x="5272" y="1156"/>
                  </a:lnTo>
                  <a:lnTo>
                    <a:pt x="5285" y="1146"/>
                  </a:lnTo>
                  <a:lnTo>
                    <a:pt x="5296" y="1134"/>
                  </a:lnTo>
                  <a:lnTo>
                    <a:pt x="5308" y="1123"/>
                  </a:lnTo>
                  <a:lnTo>
                    <a:pt x="5319" y="1111"/>
                  </a:lnTo>
                  <a:lnTo>
                    <a:pt x="5329" y="1098"/>
                  </a:lnTo>
                  <a:lnTo>
                    <a:pt x="5338" y="1086"/>
                  </a:lnTo>
                  <a:lnTo>
                    <a:pt x="5347" y="1071"/>
                  </a:lnTo>
                  <a:lnTo>
                    <a:pt x="5355" y="1057"/>
                  </a:lnTo>
                  <a:lnTo>
                    <a:pt x="5362" y="1041"/>
                  </a:lnTo>
                  <a:lnTo>
                    <a:pt x="5368" y="1027"/>
                  </a:lnTo>
                  <a:lnTo>
                    <a:pt x="5374" y="1011"/>
                  </a:lnTo>
                  <a:lnTo>
                    <a:pt x="5380" y="994"/>
                  </a:lnTo>
                  <a:lnTo>
                    <a:pt x="5383" y="976"/>
                  </a:lnTo>
                  <a:lnTo>
                    <a:pt x="5387" y="959"/>
                  </a:lnTo>
                  <a:lnTo>
                    <a:pt x="5388" y="942"/>
                  </a:lnTo>
                  <a:lnTo>
                    <a:pt x="5390" y="923"/>
                  </a:lnTo>
                  <a:lnTo>
                    <a:pt x="5390" y="905"/>
                  </a:lnTo>
                  <a:lnTo>
                    <a:pt x="5390" y="270"/>
                  </a:lnTo>
                  <a:lnTo>
                    <a:pt x="5148" y="270"/>
                  </a:lnTo>
                  <a:lnTo>
                    <a:pt x="5148" y="882"/>
                  </a:lnTo>
                  <a:lnTo>
                    <a:pt x="5148" y="895"/>
                  </a:lnTo>
                  <a:lnTo>
                    <a:pt x="5146" y="906"/>
                  </a:lnTo>
                  <a:lnTo>
                    <a:pt x="5144" y="918"/>
                  </a:lnTo>
                  <a:lnTo>
                    <a:pt x="5141" y="929"/>
                  </a:lnTo>
                  <a:lnTo>
                    <a:pt x="5138" y="939"/>
                  </a:lnTo>
                  <a:lnTo>
                    <a:pt x="5132" y="949"/>
                  </a:lnTo>
                  <a:lnTo>
                    <a:pt x="5126" y="958"/>
                  </a:lnTo>
                  <a:lnTo>
                    <a:pt x="5119" y="966"/>
                  </a:lnTo>
                  <a:lnTo>
                    <a:pt x="5110" y="974"/>
                  </a:lnTo>
                  <a:lnTo>
                    <a:pt x="5100" y="981"/>
                  </a:lnTo>
                  <a:lnTo>
                    <a:pt x="5090" y="986"/>
                  </a:lnTo>
                  <a:lnTo>
                    <a:pt x="5077" y="991"/>
                  </a:lnTo>
                  <a:lnTo>
                    <a:pt x="5064" y="995"/>
                  </a:lnTo>
                  <a:lnTo>
                    <a:pt x="5050" y="998"/>
                  </a:lnTo>
                  <a:lnTo>
                    <a:pt x="5033" y="999"/>
                  </a:lnTo>
                  <a:lnTo>
                    <a:pt x="5015" y="1001"/>
                  </a:lnTo>
                  <a:lnTo>
                    <a:pt x="4998" y="999"/>
                  </a:lnTo>
                  <a:lnTo>
                    <a:pt x="4981" y="998"/>
                  </a:lnTo>
                  <a:lnTo>
                    <a:pt x="4966" y="995"/>
                  </a:lnTo>
                  <a:lnTo>
                    <a:pt x="4954" y="991"/>
                  </a:lnTo>
                  <a:lnTo>
                    <a:pt x="4941" y="986"/>
                  </a:lnTo>
                  <a:lnTo>
                    <a:pt x="4930" y="981"/>
                  </a:lnTo>
                  <a:lnTo>
                    <a:pt x="4920" y="974"/>
                  </a:lnTo>
                  <a:lnTo>
                    <a:pt x="4912" y="966"/>
                  </a:lnTo>
                  <a:lnTo>
                    <a:pt x="4905" y="958"/>
                  </a:lnTo>
                  <a:lnTo>
                    <a:pt x="4899" y="949"/>
                  </a:lnTo>
                  <a:lnTo>
                    <a:pt x="4893" y="939"/>
                  </a:lnTo>
                  <a:lnTo>
                    <a:pt x="4890" y="929"/>
                  </a:lnTo>
                  <a:lnTo>
                    <a:pt x="4886" y="918"/>
                  </a:lnTo>
                  <a:lnTo>
                    <a:pt x="4884" y="906"/>
                  </a:lnTo>
                  <a:lnTo>
                    <a:pt x="4883" y="895"/>
                  </a:lnTo>
                  <a:lnTo>
                    <a:pt x="4883" y="882"/>
                  </a:lnTo>
                  <a:lnTo>
                    <a:pt x="4883" y="270"/>
                  </a:lnTo>
                  <a:lnTo>
                    <a:pt x="4641" y="270"/>
                  </a:lnTo>
                  <a:lnTo>
                    <a:pt x="4641" y="905"/>
                  </a:lnTo>
                  <a:lnTo>
                    <a:pt x="4641" y="923"/>
                  </a:lnTo>
                  <a:lnTo>
                    <a:pt x="4642" y="942"/>
                  </a:lnTo>
                  <a:lnTo>
                    <a:pt x="4644" y="959"/>
                  </a:lnTo>
                  <a:lnTo>
                    <a:pt x="4648" y="976"/>
                  </a:lnTo>
                  <a:lnTo>
                    <a:pt x="4651" y="994"/>
                  </a:lnTo>
                  <a:lnTo>
                    <a:pt x="4657" y="1011"/>
                  </a:lnTo>
                  <a:lnTo>
                    <a:pt x="4661" y="1027"/>
                  </a:lnTo>
                  <a:lnTo>
                    <a:pt x="4668" y="1041"/>
                  </a:lnTo>
                  <a:lnTo>
                    <a:pt x="4676" y="1057"/>
                  </a:lnTo>
                  <a:lnTo>
                    <a:pt x="4683" y="1071"/>
                  </a:lnTo>
                  <a:lnTo>
                    <a:pt x="4691" y="1086"/>
                  </a:lnTo>
                  <a:lnTo>
                    <a:pt x="4702" y="1098"/>
                  </a:lnTo>
                  <a:lnTo>
                    <a:pt x="4712" y="1111"/>
                  </a:lnTo>
                  <a:lnTo>
                    <a:pt x="4723" y="1123"/>
                  </a:lnTo>
                  <a:lnTo>
                    <a:pt x="4735" y="1134"/>
                  </a:lnTo>
                  <a:lnTo>
                    <a:pt x="4746" y="1146"/>
                  </a:lnTo>
                  <a:lnTo>
                    <a:pt x="4759" y="1156"/>
                  </a:lnTo>
                  <a:lnTo>
                    <a:pt x="4772" y="1166"/>
                  </a:lnTo>
                  <a:lnTo>
                    <a:pt x="4786" y="1176"/>
                  </a:lnTo>
                  <a:lnTo>
                    <a:pt x="4801" y="1185"/>
                  </a:lnTo>
                  <a:lnTo>
                    <a:pt x="4817" y="1192"/>
                  </a:lnTo>
                  <a:lnTo>
                    <a:pt x="4831" y="1199"/>
                  </a:lnTo>
                  <a:lnTo>
                    <a:pt x="4848" y="1206"/>
                  </a:lnTo>
                  <a:lnTo>
                    <a:pt x="4864" y="1212"/>
                  </a:lnTo>
                  <a:lnTo>
                    <a:pt x="4882" y="1218"/>
                  </a:lnTo>
                  <a:lnTo>
                    <a:pt x="4900" y="1222"/>
                  </a:lnTo>
                  <a:lnTo>
                    <a:pt x="4918" y="1226"/>
                  </a:lnTo>
                  <a:lnTo>
                    <a:pt x="4936" y="1229"/>
                  </a:lnTo>
                  <a:lnTo>
                    <a:pt x="4956" y="1232"/>
                  </a:lnTo>
                  <a:lnTo>
                    <a:pt x="4975" y="1233"/>
                  </a:lnTo>
                  <a:lnTo>
                    <a:pt x="4995" y="1235"/>
                  </a:lnTo>
                  <a:lnTo>
                    <a:pt x="5015" y="1235"/>
                  </a:lnTo>
                  <a:close/>
                  <a:moveTo>
                    <a:pt x="4030" y="999"/>
                  </a:moveTo>
                  <a:lnTo>
                    <a:pt x="4030" y="999"/>
                  </a:lnTo>
                  <a:lnTo>
                    <a:pt x="4005" y="998"/>
                  </a:lnTo>
                  <a:lnTo>
                    <a:pt x="3979" y="994"/>
                  </a:lnTo>
                  <a:lnTo>
                    <a:pt x="3954" y="988"/>
                  </a:lnTo>
                  <a:lnTo>
                    <a:pt x="3930" y="981"/>
                  </a:lnTo>
                  <a:lnTo>
                    <a:pt x="3908" y="971"/>
                  </a:lnTo>
                  <a:lnTo>
                    <a:pt x="3886" y="958"/>
                  </a:lnTo>
                  <a:lnTo>
                    <a:pt x="3866" y="943"/>
                  </a:lnTo>
                  <a:lnTo>
                    <a:pt x="3849" y="928"/>
                  </a:lnTo>
                  <a:lnTo>
                    <a:pt x="3833" y="910"/>
                  </a:lnTo>
                  <a:lnTo>
                    <a:pt x="3817" y="890"/>
                  </a:lnTo>
                  <a:lnTo>
                    <a:pt x="3806" y="869"/>
                  </a:lnTo>
                  <a:lnTo>
                    <a:pt x="3794" y="846"/>
                  </a:lnTo>
                  <a:lnTo>
                    <a:pt x="3787" y="823"/>
                  </a:lnTo>
                  <a:lnTo>
                    <a:pt x="3780" y="797"/>
                  </a:lnTo>
                  <a:lnTo>
                    <a:pt x="3777" y="771"/>
                  </a:lnTo>
                  <a:lnTo>
                    <a:pt x="3776" y="742"/>
                  </a:lnTo>
                  <a:lnTo>
                    <a:pt x="3777" y="715"/>
                  </a:lnTo>
                  <a:lnTo>
                    <a:pt x="3780" y="688"/>
                  </a:lnTo>
                  <a:lnTo>
                    <a:pt x="3787" y="663"/>
                  </a:lnTo>
                  <a:lnTo>
                    <a:pt x="3794" y="639"/>
                  </a:lnTo>
                  <a:lnTo>
                    <a:pt x="3806" y="616"/>
                  </a:lnTo>
                  <a:lnTo>
                    <a:pt x="3817" y="594"/>
                  </a:lnTo>
                  <a:lnTo>
                    <a:pt x="3833" y="576"/>
                  </a:lnTo>
                  <a:lnTo>
                    <a:pt x="3849" y="557"/>
                  </a:lnTo>
                  <a:lnTo>
                    <a:pt x="3866" y="541"/>
                  </a:lnTo>
                  <a:lnTo>
                    <a:pt x="3886" y="527"/>
                  </a:lnTo>
                  <a:lnTo>
                    <a:pt x="3908" y="515"/>
                  </a:lnTo>
                  <a:lnTo>
                    <a:pt x="3930" y="505"/>
                  </a:lnTo>
                  <a:lnTo>
                    <a:pt x="3954" y="497"/>
                  </a:lnTo>
                  <a:lnTo>
                    <a:pt x="3979" y="491"/>
                  </a:lnTo>
                  <a:lnTo>
                    <a:pt x="4005" y="487"/>
                  </a:lnTo>
                  <a:lnTo>
                    <a:pt x="4030" y="487"/>
                  </a:lnTo>
                  <a:lnTo>
                    <a:pt x="4058" y="487"/>
                  </a:lnTo>
                  <a:lnTo>
                    <a:pt x="4084" y="491"/>
                  </a:lnTo>
                  <a:lnTo>
                    <a:pt x="4108" y="497"/>
                  </a:lnTo>
                  <a:lnTo>
                    <a:pt x="4133" y="505"/>
                  </a:lnTo>
                  <a:lnTo>
                    <a:pt x="4154" y="515"/>
                  </a:lnTo>
                  <a:lnTo>
                    <a:pt x="4176" y="527"/>
                  </a:lnTo>
                  <a:lnTo>
                    <a:pt x="4196" y="541"/>
                  </a:lnTo>
                  <a:lnTo>
                    <a:pt x="4213" y="557"/>
                  </a:lnTo>
                  <a:lnTo>
                    <a:pt x="4229" y="576"/>
                  </a:lnTo>
                  <a:lnTo>
                    <a:pt x="4244" y="594"/>
                  </a:lnTo>
                  <a:lnTo>
                    <a:pt x="4257" y="616"/>
                  </a:lnTo>
                  <a:lnTo>
                    <a:pt x="4268" y="639"/>
                  </a:lnTo>
                  <a:lnTo>
                    <a:pt x="4275" y="663"/>
                  </a:lnTo>
                  <a:lnTo>
                    <a:pt x="4282" y="688"/>
                  </a:lnTo>
                  <a:lnTo>
                    <a:pt x="4285" y="715"/>
                  </a:lnTo>
                  <a:lnTo>
                    <a:pt x="4287" y="742"/>
                  </a:lnTo>
                  <a:lnTo>
                    <a:pt x="4285" y="771"/>
                  </a:lnTo>
                  <a:lnTo>
                    <a:pt x="4282" y="797"/>
                  </a:lnTo>
                  <a:lnTo>
                    <a:pt x="4275" y="823"/>
                  </a:lnTo>
                  <a:lnTo>
                    <a:pt x="4268" y="846"/>
                  </a:lnTo>
                  <a:lnTo>
                    <a:pt x="4257" y="869"/>
                  </a:lnTo>
                  <a:lnTo>
                    <a:pt x="4244" y="890"/>
                  </a:lnTo>
                  <a:lnTo>
                    <a:pt x="4229" y="910"/>
                  </a:lnTo>
                  <a:lnTo>
                    <a:pt x="4213" y="928"/>
                  </a:lnTo>
                  <a:lnTo>
                    <a:pt x="4196" y="943"/>
                  </a:lnTo>
                  <a:lnTo>
                    <a:pt x="4176" y="958"/>
                  </a:lnTo>
                  <a:lnTo>
                    <a:pt x="4154" y="971"/>
                  </a:lnTo>
                  <a:lnTo>
                    <a:pt x="4133" y="981"/>
                  </a:lnTo>
                  <a:lnTo>
                    <a:pt x="4108" y="988"/>
                  </a:lnTo>
                  <a:lnTo>
                    <a:pt x="4084" y="994"/>
                  </a:lnTo>
                  <a:lnTo>
                    <a:pt x="4058" y="998"/>
                  </a:lnTo>
                  <a:lnTo>
                    <a:pt x="4030" y="999"/>
                  </a:lnTo>
                  <a:close/>
                  <a:moveTo>
                    <a:pt x="4030" y="1235"/>
                  </a:moveTo>
                  <a:lnTo>
                    <a:pt x="4030" y="1235"/>
                  </a:lnTo>
                  <a:lnTo>
                    <a:pt x="4056" y="1235"/>
                  </a:lnTo>
                  <a:lnTo>
                    <a:pt x="4082" y="1233"/>
                  </a:lnTo>
                  <a:lnTo>
                    <a:pt x="4107" y="1229"/>
                  </a:lnTo>
                  <a:lnTo>
                    <a:pt x="4131" y="1226"/>
                  </a:lnTo>
                  <a:lnTo>
                    <a:pt x="4156" y="1221"/>
                  </a:lnTo>
                  <a:lnTo>
                    <a:pt x="4180" y="1213"/>
                  </a:lnTo>
                  <a:lnTo>
                    <a:pt x="4203" y="1206"/>
                  </a:lnTo>
                  <a:lnTo>
                    <a:pt x="4225" y="1198"/>
                  </a:lnTo>
                  <a:lnTo>
                    <a:pt x="4248" y="1187"/>
                  </a:lnTo>
                  <a:lnTo>
                    <a:pt x="4268" y="1177"/>
                  </a:lnTo>
                  <a:lnTo>
                    <a:pt x="4290" y="1166"/>
                  </a:lnTo>
                  <a:lnTo>
                    <a:pt x="4310" y="1153"/>
                  </a:lnTo>
                  <a:lnTo>
                    <a:pt x="4329" y="1139"/>
                  </a:lnTo>
                  <a:lnTo>
                    <a:pt x="4347" y="1124"/>
                  </a:lnTo>
                  <a:lnTo>
                    <a:pt x="4366" y="1110"/>
                  </a:lnTo>
                  <a:lnTo>
                    <a:pt x="4383" y="1093"/>
                  </a:lnTo>
                  <a:lnTo>
                    <a:pt x="4399" y="1077"/>
                  </a:lnTo>
                  <a:lnTo>
                    <a:pt x="4415" y="1058"/>
                  </a:lnTo>
                  <a:lnTo>
                    <a:pt x="4429" y="1040"/>
                  </a:lnTo>
                  <a:lnTo>
                    <a:pt x="4444" y="1021"/>
                  </a:lnTo>
                  <a:lnTo>
                    <a:pt x="4457" y="1001"/>
                  </a:lnTo>
                  <a:lnTo>
                    <a:pt x="4468" y="981"/>
                  </a:lnTo>
                  <a:lnTo>
                    <a:pt x="4480" y="959"/>
                  </a:lnTo>
                  <a:lnTo>
                    <a:pt x="4490" y="936"/>
                  </a:lnTo>
                  <a:lnTo>
                    <a:pt x="4498" y="915"/>
                  </a:lnTo>
                  <a:lnTo>
                    <a:pt x="4506" y="892"/>
                  </a:lnTo>
                  <a:lnTo>
                    <a:pt x="4513" y="867"/>
                  </a:lnTo>
                  <a:lnTo>
                    <a:pt x="4519" y="844"/>
                  </a:lnTo>
                  <a:lnTo>
                    <a:pt x="4523" y="818"/>
                  </a:lnTo>
                  <a:lnTo>
                    <a:pt x="4526" y="794"/>
                  </a:lnTo>
                  <a:lnTo>
                    <a:pt x="4527" y="768"/>
                  </a:lnTo>
                  <a:lnTo>
                    <a:pt x="4527" y="742"/>
                  </a:lnTo>
                  <a:lnTo>
                    <a:pt x="4527" y="716"/>
                  </a:lnTo>
                  <a:lnTo>
                    <a:pt x="4526" y="691"/>
                  </a:lnTo>
                  <a:lnTo>
                    <a:pt x="4523" y="666"/>
                  </a:lnTo>
                  <a:lnTo>
                    <a:pt x="4519" y="642"/>
                  </a:lnTo>
                  <a:lnTo>
                    <a:pt x="4513" y="617"/>
                  </a:lnTo>
                  <a:lnTo>
                    <a:pt x="4506" y="594"/>
                  </a:lnTo>
                  <a:lnTo>
                    <a:pt x="4498" y="571"/>
                  </a:lnTo>
                  <a:lnTo>
                    <a:pt x="4490" y="548"/>
                  </a:lnTo>
                  <a:lnTo>
                    <a:pt x="4480" y="527"/>
                  </a:lnTo>
                  <a:lnTo>
                    <a:pt x="4468" y="505"/>
                  </a:lnTo>
                  <a:lnTo>
                    <a:pt x="4457" y="484"/>
                  </a:lnTo>
                  <a:lnTo>
                    <a:pt x="4444" y="464"/>
                  </a:lnTo>
                  <a:lnTo>
                    <a:pt x="4429" y="445"/>
                  </a:lnTo>
                  <a:lnTo>
                    <a:pt x="4415" y="426"/>
                  </a:lnTo>
                  <a:lnTo>
                    <a:pt x="4399" y="409"/>
                  </a:lnTo>
                  <a:lnTo>
                    <a:pt x="4383" y="392"/>
                  </a:lnTo>
                  <a:lnTo>
                    <a:pt x="4366" y="376"/>
                  </a:lnTo>
                  <a:lnTo>
                    <a:pt x="4347" y="360"/>
                  </a:lnTo>
                  <a:lnTo>
                    <a:pt x="4329" y="346"/>
                  </a:lnTo>
                  <a:lnTo>
                    <a:pt x="4310" y="333"/>
                  </a:lnTo>
                  <a:lnTo>
                    <a:pt x="4290" y="320"/>
                  </a:lnTo>
                  <a:lnTo>
                    <a:pt x="4268" y="309"/>
                  </a:lnTo>
                  <a:lnTo>
                    <a:pt x="4248" y="297"/>
                  </a:lnTo>
                  <a:lnTo>
                    <a:pt x="4225" y="287"/>
                  </a:lnTo>
                  <a:lnTo>
                    <a:pt x="4203" y="279"/>
                  </a:lnTo>
                  <a:lnTo>
                    <a:pt x="4180" y="271"/>
                  </a:lnTo>
                  <a:lnTo>
                    <a:pt x="4156" y="266"/>
                  </a:lnTo>
                  <a:lnTo>
                    <a:pt x="4131" y="260"/>
                  </a:lnTo>
                  <a:lnTo>
                    <a:pt x="4107" y="256"/>
                  </a:lnTo>
                  <a:lnTo>
                    <a:pt x="4082" y="253"/>
                  </a:lnTo>
                  <a:lnTo>
                    <a:pt x="4056" y="250"/>
                  </a:lnTo>
                  <a:lnTo>
                    <a:pt x="4030" y="250"/>
                  </a:lnTo>
                  <a:lnTo>
                    <a:pt x="4006" y="250"/>
                  </a:lnTo>
                  <a:lnTo>
                    <a:pt x="3980" y="253"/>
                  </a:lnTo>
                  <a:lnTo>
                    <a:pt x="3956" y="256"/>
                  </a:lnTo>
                  <a:lnTo>
                    <a:pt x="3931" y="260"/>
                  </a:lnTo>
                  <a:lnTo>
                    <a:pt x="3907" y="266"/>
                  </a:lnTo>
                  <a:lnTo>
                    <a:pt x="3882" y="271"/>
                  </a:lnTo>
                  <a:lnTo>
                    <a:pt x="3859" y="279"/>
                  </a:lnTo>
                  <a:lnTo>
                    <a:pt x="3838" y="287"/>
                  </a:lnTo>
                  <a:lnTo>
                    <a:pt x="3814" y="297"/>
                  </a:lnTo>
                  <a:lnTo>
                    <a:pt x="3793" y="309"/>
                  </a:lnTo>
                  <a:lnTo>
                    <a:pt x="3773" y="320"/>
                  </a:lnTo>
                  <a:lnTo>
                    <a:pt x="3753" y="333"/>
                  </a:lnTo>
                  <a:lnTo>
                    <a:pt x="3732" y="346"/>
                  </a:lnTo>
                  <a:lnTo>
                    <a:pt x="3714" y="360"/>
                  </a:lnTo>
                  <a:lnTo>
                    <a:pt x="3696" y="376"/>
                  </a:lnTo>
                  <a:lnTo>
                    <a:pt x="3679" y="392"/>
                  </a:lnTo>
                  <a:lnTo>
                    <a:pt x="3663" y="409"/>
                  </a:lnTo>
                  <a:lnTo>
                    <a:pt x="3647" y="426"/>
                  </a:lnTo>
                  <a:lnTo>
                    <a:pt x="3633" y="445"/>
                  </a:lnTo>
                  <a:lnTo>
                    <a:pt x="3619" y="464"/>
                  </a:lnTo>
                  <a:lnTo>
                    <a:pt x="3606" y="484"/>
                  </a:lnTo>
                  <a:lnTo>
                    <a:pt x="3594" y="505"/>
                  </a:lnTo>
                  <a:lnTo>
                    <a:pt x="3583" y="527"/>
                  </a:lnTo>
                  <a:lnTo>
                    <a:pt x="3573" y="548"/>
                  </a:lnTo>
                  <a:lnTo>
                    <a:pt x="3564" y="571"/>
                  </a:lnTo>
                  <a:lnTo>
                    <a:pt x="3557" y="594"/>
                  </a:lnTo>
                  <a:lnTo>
                    <a:pt x="3550" y="617"/>
                  </a:lnTo>
                  <a:lnTo>
                    <a:pt x="3544" y="642"/>
                  </a:lnTo>
                  <a:lnTo>
                    <a:pt x="3539" y="666"/>
                  </a:lnTo>
                  <a:lnTo>
                    <a:pt x="3537" y="691"/>
                  </a:lnTo>
                  <a:lnTo>
                    <a:pt x="3535" y="716"/>
                  </a:lnTo>
                  <a:lnTo>
                    <a:pt x="3534" y="742"/>
                  </a:lnTo>
                  <a:lnTo>
                    <a:pt x="3535" y="768"/>
                  </a:lnTo>
                  <a:lnTo>
                    <a:pt x="3537" y="794"/>
                  </a:lnTo>
                  <a:lnTo>
                    <a:pt x="3539" y="818"/>
                  </a:lnTo>
                  <a:lnTo>
                    <a:pt x="3544" y="844"/>
                  </a:lnTo>
                  <a:lnTo>
                    <a:pt x="3550" y="867"/>
                  </a:lnTo>
                  <a:lnTo>
                    <a:pt x="3557" y="892"/>
                  </a:lnTo>
                  <a:lnTo>
                    <a:pt x="3564" y="915"/>
                  </a:lnTo>
                  <a:lnTo>
                    <a:pt x="3573" y="936"/>
                  </a:lnTo>
                  <a:lnTo>
                    <a:pt x="3583" y="959"/>
                  </a:lnTo>
                  <a:lnTo>
                    <a:pt x="3594" y="981"/>
                  </a:lnTo>
                  <a:lnTo>
                    <a:pt x="3606" y="1001"/>
                  </a:lnTo>
                  <a:lnTo>
                    <a:pt x="3619" y="1021"/>
                  </a:lnTo>
                  <a:lnTo>
                    <a:pt x="3633" y="1040"/>
                  </a:lnTo>
                  <a:lnTo>
                    <a:pt x="3647" y="1058"/>
                  </a:lnTo>
                  <a:lnTo>
                    <a:pt x="3663" y="1077"/>
                  </a:lnTo>
                  <a:lnTo>
                    <a:pt x="3679" y="1093"/>
                  </a:lnTo>
                  <a:lnTo>
                    <a:pt x="3696" y="1110"/>
                  </a:lnTo>
                  <a:lnTo>
                    <a:pt x="3714" y="1124"/>
                  </a:lnTo>
                  <a:lnTo>
                    <a:pt x="3732" y="1139"/>
                  </a:lnTo>
                  <a:lnTo>
                    <a:pt x="3753" y="1153"/>
                  </a:lnTo>
                  <a:lnTo>
                    <a:pt x="3773" y="1166"/>
                  </a:lnTo>
                  <a:lnTo>
                    <a:pt x="3793" y="1177"/>
                  </a:lnTo>
                  <a:lnTo>
                    <a:pt x="3814" y="1187"/>
                  </a:lnTo>
                  <a:lnTo>
                    <a:pt x="3838" y="1198"/>
                  </a:lnTo>
                  <a:lnTo>
                    <a:pt x="3859" y="1206"/>
                  </a:lnTo>
                  <a:lnTo>
                    <a:pt x="3882" y="1213"/>
                  </a:lnTo>
                  <a:lnTo>
                    <a:pt x="3907" y="1221"/>
                  </a:lnTo>
                  <a:lnTo>
                    <a:pt x="3931" y="1226"/>
                  </a:lnTo>
                  <a:lnTo>
                    <a:pt x="3956" y="1229"/>
                  </a:lnTo>
                  <a:lnTo>
                    <a:pt x="3980" y="1233"/>
                  </a:lnTo>
                  <a:lnTo>
                    <a:pt x="4006" y="1235"/>
                  </a:lnTo>
                  <a:lnTo>
                    <a:pt x="4030" y="1235"/>
                  </a:lnTo>
                  <a:close/>
                  <a:moveTo>
                    <a:pt x="3135" y="999"/>
                  </a:moveTo>
                  <a:lnTo>
                    <a:pt x="3135" y="999"/>
                  </a:lnTo>
                  <a:lnTo>
                    <a:pt x="2985" y="999"/>
                  </a:lnTo>
                  <a:lnTo>
                    <a:pt x="2985" y="840"/>
                  </a:lnTo>
                  <a:lnTo>
                    <a:pt x="3135" y="840"/>
                  </a:lnTo>
                  <a:lnTo>
                    <a:pt x="3143" y="840"/>
                  </a:lnTo>
                  <a:lnTo>
                    <a:pt x="3152" y="841"/>
                  </a:lnTo>
                  <a:lnTo>
                    <a:pt x="3161" y="843"/>
                  </a:lnTo>
                  <a:lnTo>
                    <a:pt x="3168" y="846"/>
                  </a:lnTo>
                  <a:lnTo>
                    <a:pt x="3175" y="849"/>
                  </a:lnTo>
                  <a:lnTo>
                    <a:pt x="3182" y="851"/>
                  </a:lnTo>
                  <a:lnTo>
                    <a:pt x="3188" y="856"/>
                  </a:lnTo>
                  <a:lnTo>
                    <a:pt x="3194" y="862"/>
                  </a:lnTo>
                  <a:lnTo>
                    <a:pt x="3200" y="867"/>
                  </a:lnTo>
                  <a:lnTo>
                    <a:pt x="3204" y="873"/>
                  </a:lnTo>
                  <a:lnTo>
                    <a:pt x="3208" y="879"/>
                  </a:lnTo>
                  <a:lnTo>
                    <a:pt x="3211" y="886"/>
                  </a:lnTo>
                  <a:lnTo>
                    <a:pt x="3214" y="895"/>
                  </a:lnTo>
                  <a:lnTo>
                    <a:pt x="3215" y="902"/>
                  </a:lnTo>
                  <a:lnTo>
                    <a:pt x="3217" y="910"/>
                  </a:lnTo>
                  <a:lnTo>
                    <a:pt x="3217" y="919"/>
                  </a:lnTo>
                  <a:lnTo>
                    <a:pt x="3217" y="928"/>
                  </a:lnTo>
                  <a:lnTo>
                    <a:pt x="3215" y="936"/>
                  </a:lnTo>
                  <a:lnTo>
                    <a:pt x="3214" y="943"/>
                  </a:lnTo>
                  <a:lnTo>
                    <a:pt x="3211" y="951"/>
                  </a:lnTo>
                  <a:lnTo>
                    <a:pt x="3208" y="958"/>
                  </a:lnTo>
                  <a:lnTo>
                    <a:pt x="3204" y="965"/>
                  </a:lnTo>
                  <a:lnTo>
                    <a:pt x="3200" y="971"/>
                  </a:lnTo>
                  <a:lnTo>
                    <a:pt x="3194" y="976"/>
                  </a:lnTo>
                  <a:lnTo>
                    <a:pt x="3188" y="982"/>
                  </a:lnTo>
                  <a:lnTo>
                    <a:pt x="3182" y="986"/>
                  </a:lnTo>
                  <a:lnTo>
                    <a:pt x="3175" y="989"/>
                  </a:lnTo>
                  <a:lnTo>
                    <a:pt x="3168" y="994"/>
                  </a:lnTo>
                  <a:lnTo>
                    <a:pt x="3161" y="995"/>
                  </a:lnTo>
                  <a:lnTo>
                    <a:pt x="3152" y="998"/>
                  </a:lnTo>
                  <a:lnTo>
                    <a:pt x="3143" y="999"/>
                  </a:lnTo>
                  <a:lnTo>
                    <a:pt x="3135" y="999"/>
                  </a:lnTo>
                  <a:close/>
                  <a:moveTo>
                    <a:pt x="3109" y="487"/>
                  </a:moveTo>
                  <a:lnTo>
                    <a:pt x="3109" y="487"/>
                  </a:lnTo>
                  <a:lnTo>
                    <a:pt x="3125" y="487"/>
                  </a:lnTo>
                  <a:lnTo>
                    <a:pt x="3139" y="491"/>
                  </a:lnTo>
                  <a:lnTo>
                    <a:pt x="3152" y="497"/>
                  </a:lnTo>
                  <a:lnTo>
                    <a:pt x="3164" y="505"/>
                  </a:lnTo>
                  <a:lnTo>
                    <a:pt x="3169" y="511"/>
                  </a:lnTo>
                  <a:lnTo>
                    <a:pt x="3174" y="517"/>
                  </a:lnTo>
                  <a:lnTo>
                    <a:pt x="3177" y="523"/>
                  </a:lnTo>
                  <a:lnTo>
                    <a:pt x="3181" y="530"/>
                  </a:lnTo>
                  <a:lnTo>
                    <a:pt x="3182" y="537"/>
                  </a:lnTo>
                  <a:lnTo>
                    <a:pt x="3185" y="544"/>
                  </a:lnTo>
                  <a:lnTo>
                    <a:pt x="3187" y="551"/>
                  </a:lnTo>
                  <a:lnTo>
                    <a:pt x="3187" y="560"/>
                  </a:lnTo>
                  <a:lnTo>
                    <a:pt x="3187" y="569"/>
                  </a:lnTo>
                  <a:lnTo>
                    <a:pt x="3185" y="577"/>
                  </a:lnTo>
                  <a:lnTo>
                    <a:pt x="3182" y="586"/>
                  </a:lnTo>
                  <a:lnTo>
                    <a:pt x="3181" y="593"/>
                  </a:lnTo>
                  <a:lnTo>
                    <a:pt x="3177" y="599"/>
                  </a:lnTo>
                  <a:lnTo>
                    <a:pt x="3174" y="604"/>
                  </a:lnTo>
                  <a:lnTo>
                    <a:pt x="3168" y="610"/>
                  </a:lnTo>
                  <a:lnTo>
                    <a:pt x="3164" y="616"/>
                  </a:lnTo>
                  <a:lnTo>
                    <a:pt x="3152" y="625"/>
                  </a:lnTo>
                  <a:lnTo>
                    <a:pt x="3139" y="630"/>
                  </a:lnTo>
                  <a:lnTo>
                    <a:pt x="3125" y="633"/>
                  </a:lnTo>
                  <a:lnTo>
                    <a:pt x="3109" y="635"/>
                  </a:lnTo>
                  <a:lnTo>
                    <a:pt x="2985" y="635"/>
                  </a:lnTo>
                  <a:lnTo>
                    <a:pt x="2985" y="487"/>
                  </a:lnTo>
                  <a:lnTo>
                    <a:pt x="3109" y="487"/>
                  </a:lnTo>
                  <a:close/>
                  <a:moveTo>
                    <a:pt x="3341" y="727"/>
                  </a:moveTo>
                  <a:lnTo>
                    <a:pt x="3341" y="727"/>
                  </a:lnTo>
                  <a:lnTo>
                    <a:pt x="3351" y="718"/>
                  </a:lnTo>
                  <a:lnTo>
                    <a:pt x="3361" y="709"/>
                  </a:lnTo>
                  <a:lnTo>
                    <a:pt x="3370" y="699"/>
                  </a:lnTo>
                  <a:lnTo>
                    <a:pt x="3378" y="691"/>
                  </a:lnTo>
                  <a:lnTo>
                    <a:pt x="3385" y="681"/>
                  </a:lnTo>
                  <a:lnTo>
                    <a:pt x="3393" y="669"/>
                  </a:lnTo>
                  <a:lnTo>
                    <a:pt x="3400" y="658"/>
                  </a:lnTo>
                  <a:lnTo>
                    <a:pt x="3406" y="646"/>
                  </a:lnTo>
                  <a:lnTo>
                    <a:pt x="3411" y="635"/>
                  </a:lnTo>
                  <a:lnTo>
                    <a:pt x="3416" y="622"/>
                  </a:lnTo>
                  <a:lnTo>
                    <a:pt x="3420" y="609"/>
                  </a:lnTo>
                  <a:lnTo>
                    <a:pt x="3423" y="596"/>
                  </a:lnTo>
                  <a:lnTo>
                    <a:pt x="3426" y="583"/>
                  </a:lnTo>
                  <a:lnTo>
                    <a:pt x="3427" y="569"/>
                  </a:lnTo>
                  <a:lnTo>
                    <a:pt x="3429" y="554"/>
                  </a:lnTo>
                  <a:lnTo>
                    <a:pt x="3429" y="538"/>
                  </a:lnTo>
                  <a:lnTo>
                    <a:pt x="3429" y="523"/>
                  </a:lnTo>
                  <a:lnTo>
                    <a:pt x="3427" y="508"/>
                  </a:lnTo>
                  <a:lnTo>
                    <a:pt x="3426" y="494"/>
                  </a:lnTo>
                  <a:lnTo>
                    <a:pt x="3423" y="480"/>
                  </a:lnTo>
                  <a:lnTo>
                    <a:pt x="3420" y="465"/>
                  </a:lnTo>
                  <a:lnTo>
                    <a:pt x="3416" y="452"/>
                  </a:lnTo>
                  <a:lnTo>
                    <a:pt x="3411" y="439"/>
                  </a:lnTo>
                  <a:lnTo>
                    <a:pt x="3407" y="426"/>
                  </a:lnTo>
                  <a:lnTo>
                    <a:pt x="3401" y="413"/>
                  </a:lnTo>
                  <a:lnTo>
                    <a:pt x="3394" y="402"/>
                  </a:lnTo>
                  <a:lnTo>
                    <a:pt x="3387" y="391"/>
                  </a:lnTo>
                  <a:lnTo>
                    <a:pt x="3380" y="380"/>
                  </a:lnTo>
                  <a:lnTo>
                    <a:pt x="3371" y="370"/>
                  </a:lnTo>
                  <a:lnTo>
                    <a:pt x="3362" y="360"/>
                  </a:lnTo>
                  <a:lnTo>
                    <a:pt x="3352" y="350"/>
                  </a:lnTo>
                  <a:lnTo>
                    <a:pt x="3344" y="342"/>
                  </a:lnTo>
                  <a:lnTo>
                    <a:pt x="3322" y="326"/>
                  </a:lnTo>
                  <a:lnTo>
                    <a:pt x="3298" y="312"/>
                  </a:lnTo>
                  <a:lnTo>
                    <a:pt x="3272" y="299"/>
                  </a:lnTo>
                  <a:lnTo>
                    <a:pt x="3244" y="289"/>
                  </a:lnTo>
                  <a:lnTo>
                    <a:pt x="3215" y="280"/>
                  </a:lnTo>
                  <a:lnTo>
                    <a:pt x="3184" y="274"/>
                  </a:lnTo>
                  <a:lnTo>
                    <a:pt x="3151" y="271"/>
                  </a:lnTo>
                  <a:lnTo>
                    <a:pt x="3116" y="270"/>
                  </a:lnTo>
                  <a:lnTo>
                    <a:pt x="2742" y="270"/>
                  </a:lnTo>
                  <a:lnTo>
                    <a:pt x="2742" y="1215"/>
                  </a:lnTo>
                  <a:lnTo>
                    <a:pt x="3142" y="1215"/>
                  </a:lnTo>
                  <a:lnTo>
                    <a:pt x="3177" y="1213"/>
                  </a:lnTo>
                  <a:lnTo>
                    <a:pt x="3211" y="1210"/>
                  </a:lnTo>
                  <a:lnTo>
                    <a:pt x="3243" y="1203"/>
                  </a:lnTo>
                  <a:lnTo>
                    <a:pt x="3273" y="1195"/>
                  </a:lnTo>
                  <a:lnTo>
                    <a:pt x="3300" y="1185"/>
                  </a:lnTo>
                  <a:lnTo>
                    <a:pt x="3326" y="1172"/>
                  </a:lnTo>
                  <a:lnTo>
                    <a:pt x="3339" y="1165"/>
                  </a:lnTo>
                  <a:lnTo>
                    <a:pt x="3351" y="1156"/>
                  </a:lnTo>
                  <a:lnTo>
                    <a:pt x="3362" y="1149"/>
                  </a:lnTo>
                  <a:lnTo>
                    <a:pt x="3372" y="1140"/>
                  </a:lnTo>
                  <a:lnTo>
                    <a:pt x="3382" y="1130"/>
                  </a:lnTo>
                  <a:lnTo>
                    <a:pt x="3393" y="1120"/>
                  </a:lnTo>
                  <a:lnTo>
                    <a:pt x="3401" y="1110"/>
                  </a:lnTo>
                  <a:lnTo>
                    <a:pt x="3410" y="1100"/>
                  </a:lnTo>
                  <a:lnTo>
                    <a:pt x="3417" y="1088"/>
                  </a:lnTo>
                  <a:lnTo>
                    <a:pt x="3424" y="1077"/>
                  </a:lnTo>
                  <a:lnTo>
                    <a:pt x="3431" y="1064"/>
                  </a:lnTo>
                  <a:lnTo>
                    <a:pt x="3437" y="1053"/>
                  </a:lnTo>
                  <a:lnTo>
                    <a:pt x="3443" y="1040"/>
                  </a:lnTo>
                  <a:lnTo>
                    <a:pt x="3447" y="1027"/>
                  </a:lnTo>
                  <a:lnTo>
                    <a:pt x="3450" y="1012"/>
                  </a:lnTo>
                  <a:lnTo>
                    <a:pt x="3454" y="998"/>
                  </a:lnTo>
                  <a:lnTo>
                    <a:pt x="3456" y="984"/>
                  </a:lnTo>
                  <a:lnTo>
                    <a:pt x="3459" y="969"/>
                  </a:lnTo>
                  <a:lnTo>
                    <a:pt x="3459" y="953"/>
                  </a:lnTo>
                  <a:lnTo>
                    <a:pt x="3460" y="938"/>
                  </a:lnTo>
                  <a:lnTo>
                    <a:pt x="3459" y="920"/>
                  </a:lnTo>
                  <a:lnTo>
                    <a:pt x="3457" y="903"/>
                  </a:lnTo>
                  <a:lnTo>
                    <a:pt x="3454" y="887"/>
                  </a:lnTo>
                  <a:lnTo>
                    <a:pt x="3452" y="870"/>
                  </a:lnTo>
                  <a:lnTo>
                    <a:pt x="3447" y="856"/>
                  </a:lnTo>
                  <a:lnTo>
                    <a:pt x="3442" y="840"/>
                  </a:lnTo>
                  <a:lnTo>
                    <a:pt x="3434" y="826"/>
                  </a:lnTo>
                  <a:lnTo>
                    <a:pt x="3427" y="813"/>
                  </a:lnTo>
                  <a:lnTo>
                    <a:pt x="3420" y="800"/>
                  </a:lnTo>
                  <a:lnTo>
                    <a:pt x="3410" y="787"/>
                  </a:lnTo>
                  <a:lnTo>
                    <a:pt x="3401" y="775"/>
                  </a:lnTo>
                  <a:lnTo>
                    <a:pt x="3390" y="764"/>
                  </a:lnTo>
                  <a:lnTo>
                    <a:pt x="3378" y="754"/>
                  </a:lnTo>
                  <a:lnTo>
                    <a:pt x="3367" y="744"/>
                  </a:lnTo>
                  <a:lnTo>
                    <a:pt x="3354" y="735"/>
                  </a:lnTo>
                  <a:lnTo>
                    <a:pt x="3341" y="727"/>
                  </a:lnTo>
                  <a:close/>
                  <a:moveTo>
                    <a:pt x="2314" y="982"/>
                  </a:moveTo>
                  <a:lnTo>
                    <a:pt x="2314" y="982"/>
                  </a:lnTo>
                  <a:lnTo>
                    <a:pt x="2314" y="270"/>
                  </a:lnTo>
                  <a:lnTo>
                    <a:pt x="2072" y="270"/>
                  </a:lnTo>
                  <a:lnTo>
                    <a:pt x="2072" y="1215"/>
                  </a:lnTo>
                  <a:lnTo>
                    <a:pt x="2641" y="1215"/>
                  </a:lnTo>
                  <a:lnTo>
                    <a:pt x="2641" y="982"/>
                  </a:lnTo>
                  <a:lnTo>
                    <a:pt x="2314" y="982"/>
                  </a:lnTo>
                  <a:close/>
                  <a:moveTo>
                    <a:pt x="1667" y="1215"/>
                  </a:moveTo>
                  <a:lnTo>
                    <a:pt x="1667" y="1215"/>
                  </a:lnTo>
                  <a:lnTo>
                    <a:pt x="1909" y="1215"/>
                  </a:lnTo>
                  <a:lnTo>
                    <a:pt x="1909" y="270"/>
                  </a:lnTo>
                  <a:lnTo>
                    <a:pt x="1667" y="270"/>
                  </a:lnTo>
                  <a:lnTo>
                    <a:pt x="1667" y="1215"/>
                  </a:lnTo>
                  <a:close/>
                  <a:moveTo>
                    <a:pt x="1057" y="492"/>
                  </a:moveTo>
                  <a:lnTo>
                    <a:pt x="1057" y="492"/>
                  </a:lnTo>
                  <a:lnTo>
                    <a:pt x="1191" y="492"/>
                  </a:lnTo>
                  <a:lnTo>
                    <a:pt x="1202" y="494"/>
                  </a:lnTo>
                  <a:lnTo>
                    <a:pt x="1212" y="495"/>
                  </a:lnTo>
                  <a:lnTo>
                    <a:pt x="1222" y="497"/>
                  </a:lnTo>
                  <a:lnTo>
                    <a:pt x="1233" y="501"/>
                  </a:lnTo>
                  <a:lnTo>
                    <a:pt x="1241" y="505"/>
                  </a:lnTo>
                  <a:lnTo>
                    <a:pt x="1250" y="510"/>
                  </a:lnTo>
                  <a:lnTo>
                    <a:pt x="1257" y="515"/>
                  </a:lnTo>
                  <a:lnTo>
                    <a:pt x="1264" y="523"/>
                  </a:lnTo>
                  <a:lnTo>
                    <a:pt x="1270" y="530"/>
                  </a:lnTo>
                  <a:lnTo>
                    <a:pt x="1276" y="538"/>
                  </a:lnTo>
                  <a:lnTo>
                    <a:pt x="1282" y="547"/>
                  </a:lnTo>
                  <a:lnTo>
                    <a:pt x="1284" y="557"/>
                  </a:lnTo>
                  <a:lnTo>
                    <a:pt x="1289" y="567"/>
                  </a:lnTo>
                  <a:lnTo>
                    <a:pt x="1290" y="577"/>
                  </a:lnTo>
                  <a:lnTo>
                    <a:pt x="1292" y="589"/>
                  </a:lnTo>
                  <a:lnTo>
                    <a:pt x="1293" y="599"/>
                  </a:lnTo>
                  <a:lnTo>
                    <a:pt x="1292" y="612"/>
                  </a:lnTo>
                  <a:lnTo>
                    <a:pt x="1290" y="622"/>
                  </a:lnTo>
                  <a:lnTo>
                    <a:pt x="1289" y="633"/>
                  </a:lnTo>
                  <a:lnTo>
                    <a:pt x="1284" y="643"/>
                  </a:lnTo>
                  <a:lnTo>
                    <a:pt x="1282" y="652"/>
                  </a:lnTo>
                  <a:lnTo>
                    <a:pt x="1276" y="660"/>
                  </a:lnTo>
                  <a:lnTo>
                    <a:pt x="1270" y="669"/>
                  </a:lnTo>
                  <a:lnTo>
                    <a:pt x="1264" y="676"/>
                  </a:lnTo>
                  <a:lnTo>
                    <a:pt x="1257" y="683"/>
                  </a:lnTo>
                  <a:lnTo>
                    <a:pt x="1250" y="689"/>
                  </a:lnTo>
                  <a:lnTo>
                    <a:pt x="1241" y="694"/>
                  </a:lnTo>
                  <a:lnTo>
                    <a:pt x="1233" y="698"/>
                  </a:lnTo>
                  <a:lnTo>
                    <a:pt x="1222" y="701"/>
                  </a:lnTo>
                  <a:lnTo>
                    <a:pt x="1212" y="704"/>
                  </a:lnTo>
                  <a:lnTo>
                    <a:pt x="1202" y="705"/>
                  </a:lnTo>
                  <a:lnTo>
                    <a:pt x="1191" y="705"/>
                  </a:lnTo>
                  <a:lnTo>
                    <a:pt x="1057" y="705"/>
                  </a:lnTo>
                  <a:lnTo>
                    <a:pt x="1057" y="492"/>
                  </a:lnTo>
                  <a:close/>
                  <a:moveTo>
                    <a:pt x="1309" y="1215"/>
                  </a:moveTo>
                  <a:lnTo>
                    <a:pt x="1309" y="1215"/>
                  </a:lnTo>
                  <a:lnTo>
                    <a:pt x="1568" y="1215"/>
                  </a:lnTo>
                  <a:lnTo>
                    <a:pt x="1374" y="866"/>
                  </a:lnTo>
                  <a:lnTo>
                    <a:pt x="1391" y="854"/>
                  </a:lnTo>
                  <a:lnTo>
                    <a:pt x="1408" y="843"/>
                  </a:lnTo>
                  <a:lnTo>
                    <a:pt x="1424" y="830"/>
                  </a:lnTo>
                  <a:lnTo>
                    <a:pt x="1440" y="817"/>
                  </a:lnTo>
                  <a:lnTo>
                    <a:pt x="1454" y="803"/>
                  </a:lnTo>
                  <a:lnTo>
                    <a:pt x="1467" y="787"/>
                  </a:lnTo>
                  <a:lnTo>
                    <a:pt x="1480" y="771"/>
                  </a:lnTo>
                  <a:lnTo>
                    <a:pt x="1490" y="754"/>
                  </a:lnTo>
                  <a:lnTo>
                    <a:pt x="1500" y="737"/>
                  </a:lnTo>
                  <a:lnTo>
                    <a:pt x="1509" y="718"/>
                  </a:lnTo>
                  <a:lnTo>
                    <a:pt x="1518" y="699"/>
                  </a:lnTo>
                  <a:lnTo>
                    <a:pt x="1523" y="681"/>
                  </a:lnTo>
                  <a:lnTo>
                    <a:pt x="1528" y="660"/>
                  </a:lnTo>
                  <a:lnTo>
                    <a:pt x="1532" y="639"/>
                  </a:lnTo>
                  <a:lnTo>
                    <a:pt x="1534" y="619"/>
                  </a:lnTo>
                  <a:lnTo>
                    <a:pt x="1535" y="597"/>
                  </a:lnTo>
                  <a:lnTo>
                    <a:pt x="1535" y="579"/>
                  </a:lnTo>
                  <a:lnTo>
                    <a:pt x="1534" y="561"/>
                  </a:lnTo>
                  <a:lnTo>
                    <a:pt x="1531" y="544"/>
                  </a:lnTo>
                  <a:lnTo>
                    <a:pt x="1528" y="528"/>
                  </a:lnTo>
                  <a:lnTo>
                    <a:pt x="1525" y="511"/>
                  </a:lnTo>
                  <a:lnTo>
                    <a:pt x="1519" y="495"/>
                  </a:lnTo>
                  <a:lnTo>
                    <a:pt x="1515" y="481"/>
                  </a:lnTo>
                  <a:lnTo>
                    <a:pt x="1509" y="465"/>
                  </a:lnTo>
                  <a:lnTo>
                    <a:pt x="1502" y="451"/>
                  </a:lnTo>
                  <a:lnTo>
                    <a:pt x="1495" y="436"/>
                  </a:lnTo>
                  <a:lnTo>
                    <a:pt x="1486" y="424"/>
                  </a:lnTo>
                  <a:lnTo>
                    <a:pt x="1477" y="409"/>
                  </a:lnTo>
                  <a:lnTo>
                    <a:pt x="1469" y="398"/>
                  </a:lnTo>
                  <a:lnTo>
                    <a:pt x="1459" y="385"/>
                  </a:lnTo>
                  <a:lnTo>
                    <a:pt x="1447" y="373"/>
                  </a:lnTo>
                  <a:lnTo>
                    <a:pt x="1436" y="362"/>
                  </a:lnTo>
                  <a:lnTo>
                    <a:pt x="1424" y="352"/>
                  </a:lnTo>
                  <a:lnTo>
                    <a:pt x="1413" y="342"/>
                  </a:lnTo>
                  <a:lnTo>
                    <a:pt x="1400" y="332"/>
                  </a:lnTo>
                  <a:lnTo>
                    <a:pt x="1387" y="323"/>
                  </a:lnTo>
                  <a:lnTo>
                    <a:pt x="1372" y="314"/>
                  </a:lnTo>
                  <a:lnTo>
                    <a:pt x="1358" y="307"/>
                  </a:lnTo>
                  <a:lnTo>
                    <a:pt x="1343" y="300"/>
                  </a:lnTo>
                  <a:lnTo>
                    <a:pt x="1328" y="294"/>
                  </a:lnTo>
                  <a:lnTo>
                    <a:pt x="1312" y="289"/>
                  </a:lnTo>
                  <a:lnTo>
                    <a:pt x="1296" y="284"/>
                  </a:lnTo>
                  <a:lnTo>
                    <a:pt x="1280" y="280"/>
                  </a:lnTo>
                  <a:lnTo>
                    <a:pt x="1263" y="276"/>
                  </a:lnTo>
                  <a:lnTo>
                    <a:pt x="1247" y="274"/>
                  </a:lnTo>
                  <a:lnTo>
                    <a:pt x="1230" y="271"/>
                  </a:lnTo>
                  <a:lnTo>
                    <a:pt x="1211" y="270"/>
                  </a:lnTo>
                  <a:lnTo>
                    <a:pt x="1194" y="270"/>
                  </a:lnTo>
                  <a:lnTo>
                    <a:pt x="815" y="270"/>
                  </a:lnTo>
                  <a:lnTo>
                    <a:pt x="815" y="1215"/>
                  </a:lnTo>
                  <a:lnTo>
                    <a:pt x="1057" y="1215"/>
                  </a:lnTo>
                  <a:lnTo>
                    <a:pt x="1057" y="910"/>
                  </a:lnTo>
                  <a:lnTo>
                    <a:pt x="1143" y="910"/>
                  </a:lnTo>
                  <a:lnTo>
                    <a:pt x="1309" y="1215"/>
                  </a:lnTo>
                  <a:close/>
                  <a:moveTo>
                    <a:pt x="1014" y="210"/>
                  </a:moveTo>
                  <a:lnTo>
                    <a:pt x="1014" y="210"/>
                  </a:lnTo>
                  <a:lnTo>
                    <a:pt x="1240" y="210"/>
                  </a:lnTo>
                  <a:lnTo>
                    <a:pt x="1384" y="0"/>
                  </a:lnTo>
                  <a:lnTo>
                    <a:pt x="1181" y="0"/>
                  </a:lnTo>
                  <a:lnTo>
                    <a:pt x="1127" y="76"/>
                  </a:lnTo>
                  <a:lnTo>
                    <a:pt x="1073" y="0"/>
                  </a:lnTo>
                  <a:lnTo>
                    <a:pt x="870" y="0"/>
                  </a:lnTo>
                  <a:lnTo>
                    <a:pt x="1014" y="210"/>
                  </a:lnTo>
                  <a:close/>
                  <a:moveTo>
                    <a:pt x="367" y="702"/>
                  </a:moveTo>
                  <a:lnTo>
                    <a:pt x="367" y="702"/>
                  </a:lnTo>
                  <a:lnTo>
                    <a:pt x="242" y="702"/>
                  </a:lnTo>
                  <a:lnTo>
                    <a:pt x="242" y="501"/>
                  </a:lnTo>
                  <a:lnTo>
                    <a:pt x="367" y="501"/>
                  </a:lnTo>
                  <a:lnTo>
                    <a:pt x="377" y="501"/>
                  </a:lnTo>
                  <a:lnTo>
                    <a:pt x="387" y="503"/>
                  </a:lnTo>
                  <a:lnTo>
                    <a:pt x="397" y="505"/>
                  </a:lnTo>
                  <a:lnTo>
                    <a:pt x="406" y="508"/>
                  </a:lnTo>
                  <a:lnTo>
                    <a:pt x="415" y="513"/>
                  </a:lnTo>
                  <a:lnTo>
                    <a:pt x="422" y="517"/>
                  </a:lnTo>
                  <a:lnTo>
                    <a:pt x="429" y="523"/>
                  </a:lnTo>
                  <a:lnTo>
                    <a:pt x="436" y="528"/>
                  </a:lnTo>
                  <a:lnTo>
                    <a:pt x="442" y="536"/>
                  </a:lnTo>
                  <a:lnTo>
                    <a:pt x="448" y="543"/>
                  </a:lnTo>
                  <a:lnTo>
                    <a:pt x="452" y="551"/>
                  </a:lnTo>
                  <a:lnTo>
                    <a:pt x="456" y="560"/>
                  </a:lnTo>
                  <a:lnTo>
                    <a:pt x="459" y="570"/>
                  </a:lnTo>
                  <a:lnTo>
                    <a:pt x="462" y="580"/>
                  </a:lnTo>
                  <a:lnTo>
                    <a:pt x="464" y="590"/>
                  </a:lnTo>
                  <a:lnTo>
                    <a:pt x="464" y="600"/>
                  </a:lnTo>
                  <a:lnTo>
                    <a:pt x="464" y="612"/>
                  </a:lnTo>
                  <a:lnTo>
                    <a:pt x="462" y="622"/>
                  </a:lnTo>
                  <a:lnTo>
                    <a:pt x="459" y="632"/>
                  </a:lnTo>
                  <a:lnTo>
                    <a:pt x="456" y="642"/>
                  </a:lnTo>
                  <a:lnTo>
                    <a:pt x="452" y="650"/>
                  </a:lnTo>
                  <a:lnTo>
                    <a:pt x="448" y="659"/>
                  </a:lnTo>
                  <a:lnTo>
                    <a:pt x="442" y="666"/>
                  </a:lnTo>
                  <a:lnTo>
                    <a:pt x="436" y="673"/>
                  </a:lnTo>
                  <a:lnTo>
                    <a:pt x="429" y="681"/>
                  </a:lnTo>
                  <a:lnTo>
                    <a:pt x="422" y="686"/>
                  </a:lnTo>
                  <a:lnTo>
                    <a:pt x="415" y="691"/>
                  </a:lnTo>
                  <a:lnTo>
                    <a:pt x="406" y="695"/>
                  </a:lnTo>
                  <a:lnTo>
                    <a:pt x="397" y="698"/>
                  </a:lnTo>
                  <a:lnTo>
                    <a:pt x="387" y="701"/>
                  </a:lnTo>
                  <a:lnTo>
                    <a:pt x="377" y="702"/>
                  </a:lnTo>
                  <a:lnTo>
                    <a:pt x="367" y="702"/>
                  </a:lnTo>
                  <a:close/>
                  <a:moveTo>
                    <a:pt x="367" y="270"/>
                  </a:moveTo>
                  <a:lnTo>
                    <a:pt x="367" y="270"/>
                  </a:lnTo>
                  <a:lnTo>
                    <a:pt x="0" y="270"/>
                  </a:lnTo>
                  <a:lnTo>
                    <a:pt x="0" y="1215"/>
                  </a:lnTo>
                  <a:lnTo>
                    <a:pt x="242" y="1215"/>
                  </a:lnTo>
                  <a:lnTo>
                    <a:pt x="242" y="932"/>
                  </a:lnTo>
                  <a:lnTo>
                    <a:pt x="367" y="932"/>
                  </a:lnTo>
                  <a:lnTo>
                    <a:pt x="386" y="930"/>
                  </a:lnTo>
                  <a:lnTo>
                    <a:pt x="403" y="930"/>
                  </a:lnTo>
                  <a:lnTo>
                    <a:pt x="420" y="928"/>
                  </a:lnTo>
                  <a:lnTo>
                    <a:pt x="436" y="925"/>
                  </a:lnTo>
                  <a:lnTo>
                    <a:pt x="454" y="922"/>
                  </a:lnTo>
                  <a:lnTo>
                    <a:pt x="469" y="918"/>
                  </a:lnTo>
                  <a:lnTo>
                    <a:pt x="485" y="913"/>
                  </a:lnTo>
                  <a:lnTo>
                    <a:pt x="501" y="907"/>
                  </a:lnTo>
                  <a:lnTo>
                    <a:pt x="515" y="900"/>
                  </a:lnTo>
                  <a:lnTo>
                    <a:pt x="530" y="895"/>
                  </a:lnTo>
                  <a:lnTo>
                    <a:pt x="544" y="886"/>
                  </a:lnTo>
                  <a:lnTo>
                    <a:pt x="559" y="879"/>
                  </a:lnTo>
                  <a:lnTo>
                    <a:pt x="572" y="869"/>
                  </a:lnTo>
                  <a:lnTo>
                    <a:pt x="585" y="860"/>
                  </a:lnTo>
                  <a:lnTo>
                    <a:pt x="596" y="850"/>
                  </a:lnTo>
                  <a:lnTo>
                    <a:pt x="608" y="839"/>
                  </a:lnTo>
                  <a:lnTo>
                    <a:pt x="619" y="828"/>
                  </a:lnTo>
                  <a:lnTo>
                    <a:pt x="629" y="816"/>
                  </a:lnTo>
                  <a:lnTo>
                    <a:pt x="639" y="804"/>
                  </a:lnTo>
                  <a:lnTo>
                    <a:pt x="649" y="791"/>
                  </a:lnTo>
                  <a:lnTo>
                    <a:pt x="658" y="778"/>
                  </a:lnTo>
                  <a:lnTo>
                    <a:pt x="667" y="764"/>
                  </a:lnTo>
                  <a:lnTo>
                    <a:pt x="674" y="750"/>
                  </a:lnTo>
                  <a:lnTo>
                    <a:pt x="680" y="735"/>
                  </a:lnTo>
                  <a:lnTo>
                    <a:pt x="685" y="719"/>
                  </a:lnTo>
                  <a:lnTo>
                    <a:pt x="691" y="704"/>
                  </a:lnTo>
                  <a:lnTo>
                    <a:pt x="695" y="688"/>
                  </a:lnTo>
                  <a:lnTo>
                    <a:pt x="700" y="671"/>
                  </a:lnTo>
                  <a:lnTo>
                    <a:pt x="703" y="653"/>
                  </a:lnTo>
                  <a:lnTo>
                    <a:pt x="704" y="636"/>
                  </a:lnTo>
                  <a:lnTo>
                    <a:pt x="706" y="619"/>
                  </a:lnTo>
                  <a:lnTo>
                    <a:pt x="707" y="600"/>
                  </a:lnTo>
                  <a:lnTo>
                    <a:pt x="706" y="583"/>
                  </a:lnTo>
                  <a:lnTo>
                    <a:pt x="704" y="566"/>
                  </a:lnTo>
                  <a:lnTo>
                    <a:pt x="703" y="547"/>
                  </a:lnTo>
                  <a:lnTo>
                    <a:pt x="700" y="531"/>
                  </a:lnTo>
                  <a:lnTo>
                    <a:pt x="695" y="514"/>
                  </a:lnTo>
                  <a:lnTo>
                    <a:pt x="691" y="498"/>
                  </a:lnTo>
                  <a:lnTo>
                    <a:pt x="685" y="482"/>
                  </a:lnTo>
                  <a:lnTo>
                    <a:pt x="680" y="467"/>
                  </a:lnTo>
                  <a:lnTo>
                    <a:pt x="674" y="452"/>
                  </a:lnTo>
                  <a:lnTo>
                    <a:pt x="667" y="438"/>
                  </a:lnTo>
                  <a:lnTo>
                    <a:pt x="658" y="424"/>
                  </a:lnTo>
                  <a:lnTo>
                    <a:pt x="649" y="411"/>
                  </a:lnTo>
                  <a:lnTo>
                    <a:pt x="639" y="398"/>
                  </a:lnTo>
                  <a:lnTo>
                    <a:pt x="629" y="386"/>
                  </a:lnTo>
                  <a:lnTo>
                    <a:pt x="619" y="373"/>
                  </a:lnTo>
                  <a:lnTo>
                    <a:pt x="608" y="363"/>
                  </a:lnTo>
                  <a:lnTo>
                    <a:pt x="596" y="352"/>
                  </a:lnTo>
                  <a:lnTo>
                    <a:pt x="585" y="342"/>
                  </a:lnTo>
                  <a:lnTo>
                    <a:pt x="572" y="332"/>
                  </a:lnTo>
                  <a:lnTo>
                    <a:pt x="559" y="323"/>
                  </a:lnTo>
                  <a:lnTo>
                    <a:pt x="544" y="316"/>
                  </a:lnTo>
                  <a:lnTo>
                    <a:pt x="530" y="307"/>
                  </a:lnTo>
                  <a:lnTo>
                    <a:pt x="515" y="300"/>
                  </a:lnTo>
                  <a:lnTo>
                    <a:pt x="501" y="294"/>
                  </a:lnTo>
                  <a:lnTo>
                    <a:pt x="485" y="289"/>
                  </a:lnTo>
                  <a:lnTo>
                    <a:pt x="469" y="284"/>
                  </a:lnTo>
                  <a:lnTo>
                    <a:pt x="454" y="280"/>
                  </a:lnTo>
                  <a:lnTo>
                    <a:pt x="436" y="276"/>
                  </a:lnTo>
                  <a:lnTo>
                    <a:pt x="420" y="274"/>
                  </a:lnTo>
                  <a:lnTo>
                    <a:pt x="403" y="271"/>
                  </a:lnTo>
                  <a:lnTo>
                    <a:pt x="386" y="270"/>
                  </a:lnTo>
                  <a:lnTo>
                    <a:pt x="367" y="270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7" name="Freeform 61">
              <a:extLst>
                <a:ext uri="{FF2B5EF4-FFF2-40B4-BE49-F238E27FC236}">
                  <a16:creationId xmlns:a16="http://schemas.microsoft.com/office/drawing/2014/main" id="{9A7FB958-D9FA-FE32-9F69-1BA77B987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813" y="3919538"/>
              <a:ext cx="1828800" cy="519113"/>
            </a:xfrm>
            <a:custGeom>
              <a:avLst/>
              <a:gdLst>
                <a:gd name="T0" fmla="*/ 3258 w 3454"/>
                <a:gd name="T1" fmla="*/ 960 h 979"/>
                <a:gd name="T2" fmla="*/ 3374 w 3454"/>
                <a:gd name="T3" fmla="*/ 897 h 979"/>
                <a:gd name="T4" fmla="*/ 3417 w 3454"/>
                <a:gd name="T5" fmla="*/ 845 h 979"/>
                <a:gd name="T6" fmla="*/ 3444 w 3454"/>
                <a:gd name="T7" fmla="*/ 781 h 979"/>
                <a:gd name="T8" fmla="*/ 3454 w 3454"/>
                <a:gd name="T9" fmla="*/ 708 h 979"/>
                <a:gd name="T10" fmla="*/ 3443 w 3454"/>
                <a:gd name="T11" fmla="*/ 631 h 979"/>
                <a:gd name="T12" fmla="*/ 3412 w 3454"/>
                <a:gd name="T13" fmla="*/ 573 h 979"/>
                <a:gd name="T14" fmla="*/ 3332 w 3454"/>
                <a:gd name="T15" fmla="*/ 502 h 979"/>
                <a:gd name="T16" fmla="*/ 3133 w 3454"/>
                <a:gd name="T17" fmla="*/ 423 h 979"/>
                <a:gd name="T18" fmla="*/ 2996 w 3454"/>
                <a:gd name="T19" fmla="*/ 369 h 979"/>
                <a:gd name="T20" fmla="*/ 2946 w 3454"/>
                <a:gd name="T21" fmla="*/ 318 h 979"/>
                <a:gd name="T22" fmla="*/ 2934 w 3454"/>
                <a:gd name="T23" fmla="*/ 245 h 979"/>
                <a:gd name="T24" fmla="*/ 2962 w 3454"/>
                <a:gd name="T25" fmla="*/ 179 h 979"/>
                <a:gd name="T26" fmla="*/ 3021 w 3454"/>
                <a:gd name="T27" fmla="*/ 136 h 979"/>
                <a:gd name="T28" fmla="*/ 3106 w 3454"/>
                <a:gd name="T29" fmla="*/ 120 h 979"/>
                <a:gd name="T30" fmla="*/ 3199 w 3454"/>
                <a:gd name="T31" fmla="*/ 139 h 979"/>
                <a:gd name="T32" fmla="*/ 3268 w 3454"/>
                <a:gd name="T33" fmla="*/ 185 h 979"/>
                <a:gd name="T34" fmla="*/ 3314 w 3454"/>
                <a:gd name="T35" fmla="*/ 252 h 979"/>
                <a:gd name="T36" fmla="*/ 3391 w 3454"/>
                <a:gd name="T37" fmla="*/ 143 h 979"/>
                <a:gd name="T38" fmla="*/ 3304 w 3454"/>
                <a:gd name="T39" fmla="*/ 59 h 979"/>
                <a:gd name="T40" fmla="*/ 3189 w 3454"/>
                <a:gd name="T41" fmla="*/ 8 h 979"/>
                <a:gd name="T42" fmla="*/ 3048 w 3454"/>
                <a:gd name="T43" fmla="*/ 4 h 979"/>
                <a:gd name="T44" fmla="*/ 2918 w 3454"/>
                <a:gd name="T45" fmla="*/ 53 h 979"/>
                <a:gd name="T46" fmla="*/ 2845 w 3454"/>
                <a:gd name="T47" fmla="*/ 129 h 979"/>
                <a:gd name="T48" fmla="*/ 2818 w 3454"/>
                <a:gd name="T49" fmla="*/ 192 h 979"/>
                <a:gd name="T50" fmla="*/ 2808 w 3454"/>
                <a:gd name="T51" fmla="*/ 267 h 979"/>
                <a:gd name="T52" fmla="*/ 2818 w 3454"/>
                <a:gd name="T53" fmla="*/ 340 h 979"/>
                <a:gd name="T54" fmla="*/ 2846 w 3454"/>
                <a:gd name="T55" fmla="*/ 397 h 979"/>
                <a:gd name="T56" fmla="*/ 2921 w 3454"/>
                <a:gd name="T57" fmla="*/ 465 h 979"/>
                <a:gd name="T58" fmla="*/ 3106 w 3454"/>
                <a:gd name="T59" fmla="*/ 538 h 979"/>
                <a:gd name="T60" fmla="*/ 3254 w 3454"/>
                <a:gd name="T61" fmla="*/ 596 h 979"/>
                <a:gd name="T62" fmla="*/ 3314 w 3454"/>
                <a:gd name="T63" fmla="*/ 649 h 979"/>
                <a:gd name="T64" fmla="*/ 3329 w 3454"/>
                <a:gd name="T65" fmla="*/ 726 h 979"/>
                <a:gd name="T66" fmla="*/ 3302 w 3454"/>
                <a:gd name="T67" fmla="*/ 794 h 979"/>
                <a:gd name="T68" fmla="*/ 3235 w 3454"/>
                <a:gd name="T69" fmla="*/ 840 h 979"/>
                <a:gd name="T70" fmla="*/ 3129 w 3454"/>
                <a:gd name="T71" fmla="*/ 857 h 979"/>
                <a:gd name="T72" fmla="*/ 3016 w 3454"/>
                <a:gd name="T73" fmla="*/ 838 h 979"/>
                <a:gd name="T74" fmla="*/ 2934 w 3454"/>
                <a:gd name="T75" fmla="*/ 785 h 979"/>
                <a:gd name="T76" fmla="*/ 2882 w 3454"/>
                <a:gd name="T77" fmla="*/ 705 h 979"/>
                <a:gd name="T78" fmla="*/ 2803 w 3454"/>
                <a:gd name="T79" fmla="*/ 821 h 979"/>
                <a:gd name="T80" fmla="*/ 2898 w 3454"/>
                <a:gd name="T81" fmla="*/ 917 h 979"/>
                <a:gd name="T82" fmla="*/ 3031 w 3454"/>
                <a:gd name="T83" fmla="*/ 970 h 979"/>
                <a:gd name="T84" fmla="*/ 2139 w 3454"/>
                <a:gd name="T85" fmla="*/ 17 h 979"/>
                <a:gd name="T86" fmla="*/ 1676 w 3454"/>
                <a:gd name="T87" fmla="*/ 962 h 979"/>
                <a:gd name="T88" fmla="*/ 2139 w 3454"/>
                <a:gd name="T89" fmla="*/ 17 h 979"/>
                <a:gd name="T90" fmla="*/ 1345 w 3454"/>
                <a:gd name="T91" fmla="*/ 426 h 979"/>
                <a:gd name="T92" fmla="*/ 819 w 3454"/>
                <a:gd name="T93" fmla="*/ 17 h 979"/>
                <a:gd name="T94" fmla="*/ 296 w 3454"/>
                <a:gd name="T95" fmla="*/ 979 h 979"/>
                <a:gd name="T96" fmla="*/ 420 w 3454"/>
                <a:gd name="T97" fmla="*/ 962 h 979"/>
                <a:gd name="T98" fmla="*/ 509 w 3454"/>
                <a:gd name="T99" fmla="*/ 916 h 979"/>
                <a:gd name="T100" fmla="*/ 560 w 3454"/>
                <a:gd name="T101" fmla="*/ 866 h 979"/>
                <a:gd name="T102" fmla="*/ 596 w 3454"/>
                <a:gd name="T103" fmla="*/ 801 h 979"/>
                <a:gd name="T104" fmla="*/ 613 w 3454"/>
                <a:gd name="T105" fmla="*/ 721 h 979"/>
                <a:gd name="T106" fmla="*/ 491 w 3454"/>
                <a:gd name="T107" fmla="*/ 685 h 979"/>
                <a:gd name="T108" fmla="*/ 469 w 3454"/>
                <a:gd name="T109" fmla="*/ 777 h 979"/>
                <a:gd name="T110" fmla="*/ 409 w 3454"/>
                <a:gd name="T111" fmla="*/ 834 h 979"/>
                <a:gd name="T112" fmla="*/ 318 w 3454"/>
                <a:gd name="T113" fmla="*/ 856 h 979"/>
                <a:gd name="T114" fmla="*/ 233 w 3454"/>
                <a:gd name="T115" fmla="*/ 851 h 979"/>
                <a:gd name="T116" fmla="*/ 167 w 3454"/>
                <a:gd name="T117" fmla="*/ 824 h 979"/>
                <a:gd name="T118" fmla="*/ 121 w 3454"/>
                <a:gd name="T119" fmla="*/ 775 h 979"/>
                <a:gd name="T120" fmla="*/ 21 w 3454"/>
                <a:gd name="T121" fmla="*/ 850 h 979"/>
                <a:gd name="T122" fmla="*/ 99 w 3454"/>
                <a:gd name="T123" fmla="*/ 926 h 979"/>
                <a:gd name="T124" fmla="*/ 201 w 3454"/>
                <a:gd name="T125" fmla="*/ 96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4" h="979">
                  <a:moveTo>
                    <a:pt x="3126" y="979"/>
                  </a:moveTo>
                  <a:lnTo>
                    <a:pt x="3162" y="979"/>
                  </a:lnTo>
                  <a:lnTo>
                    <a:pt x="3196" y="975"/>
                  </a:lnTo>
                  <a:lnTo>
                    <a:pt x="3228" y="969"/>
                  </a:lnTo>
                  <a:lnTo>
                    <a:pt x="3258" y="960"/>
                  </a:lnTo>
                  <a:lnTo>
                    <a:pt x="3289" y="950"/>
                  </a:lnTo>
                  <a:lnTo>
                    <a:pt x="3314" y="937"/>
                  </a:lnTo>
                  <a:lnTo>
                    <a:pt x="3340" y="923"/>
                  </a:lnTo>
                  <a:lnTo>
                    <a:pt x="3362" y="906"/>
                  </a:lnTo>
                  <a:lnTo>
                    <a:pt x="3374" y="897"/>
                  </a:lnTo>
                  <a:lnTo>
                    <a:pt x="3384" y="887"/>
                  </a:lnTo>
                  <a:lnTo>
                    <a:pt x="3392" y="877"/>
                  </a:lnTo>
                  <a:lnTo>
                    <a:pt x="3401" y="867"/>
                  </a:lnTo>
                  <a:lnTo>
                    <a:pt x="3410" y="856"/>
                  </a:lnTo>
                  <a:lnTo>
                    <a:pt x="3417" y="845"/>
                  </a:lnTo>
                  <a:lnTo>
                    <a:pt x="3424" y="833"/>
                  </a:lnTo>
                  <a:lnTo>
                    <a:pt x="3430" y="821"/>
                  </a:lnTo>
                  <a:lnTo>
                    <a:pt x="3435" y="808"/>
                  </a:lnTo>
                  <a:lnTo>
                    <a:pt x="3440" y="795"/>
                  </a:lnTo>
                  <a:lnTo>
                    <a:pt x="3444" y="781"/>
                  </a:lnTo>
                  <a:lnTo>
                    <a:pt x="3447" y="768"/>
                  </a:lnTo>
                  <a:lnTo>
                    <a:pt x="3450" y="754"/>
                  </a:lnTo>
                  <a:lnTo>
                    <a:pt x="3453" y="739"/>
                  </a:lnTo>
                  <a:lnTo>
                    <a:pt x="3453" y="723"/>
                  </a:lnTo>
                  <a:lnTo>
                    <a:pt x="3454" y="708"/>
                  </a:lnTo>
                  <a:lnTo>
                    <a:pt x="3453" y="692"/>
                  </a:lnTo>
                  <a:lnTo>
                    <a:pt x="3451" y="676"/>
                  </a:lnTo>
                  <a:lnTo>
                    <a:pt x="3450" y="660"/>
                  </a:lnTo>
                  <a:lnTo>
                    <a:pt x="3447" y="646"/>
                  </a:lnTo>
                  <a:lnTo>
                    <a:pt x="3443" y="631"/>
                  </a:lnTo>
                  <a:lnTo>
                    <a:pt x="3438" y="619"/>
                  </a:lnTo>
                  <a:lnTo>
                    <a:pt x="3433" y="607"/>
                  </a:lnTo>
                  <a:lnTo>
                    <a:pt x="3427" y="594"/>
                  </a:lnTo>
                  <a:lnTo>
                    <a:pt x="3420" y="583"/>
                  </a:lnTo>
                  <a:lnTo>
                    <a:pt x="3412" y="573"/>
                  </a:lnTo>
                  <a:lnTo>
                    <a:pt x="3405" y="563"/>
                  </a:lnTo>
                  <a:lnTo>
                    <a:pt x="3395" y="553"/>
                  </a:lnTo>
                  <a:lnTo>
                    <a:pt x="3376" y="534"/>
                  </a:lnTo>
                  <a:lnTo>
                    <a:pt x="3355" y="518"/>
                  </a:lnTo>
                  <a:lnTo>
                    <a:pt x="3332" y="502"/>
                  </a:lnTo>
                  <a:lnTo>
                    <a:pt x="3307" y="489"/>
                  </a:lnTo>
                  <a:lnTo>
                    <a:pt x="3280" y="476"/>
                  </a:lnTo>
                  <a:lnTo>
                    <a:pt x="3253" y="465"/>
                  </a:lnTo>
                  <a:lnTo>
                    <a:pt x="3194" y="443"/>
                  </a:lnTo>
                  <a:lnTo>
                    <a:pt x="3133" y="423"/>
                  </a:lnTo>
                  <a:lnTo>
                    <a:pt x="3087" y="407"/>
                  </a:lnTo>
                  <a:lnTo>
                    <a:pt x="3045" y="393"/>
                  </a:lnTo>
                  <a:lnTo>
                    <a:pt x="3028" y="385"/>
                  </a:lnTo>
                  <a:lnTo>
                    <a:pt x="3012" y="377"/>
                  </a:lnTo>
                  <a:lnTo>
                    <a:pt x="2996" y="369"/>
                  </a:lnTo>
                  <a:lnTo>
                    <a:pt x="2983" y="360"/>
                  </a:lnTo>
                  <a:lnTo>
                    <a:pt x="2972" y="350"/>
                  </a:lnTo>
                  <a:lnTo>
                    <a:pt x="2962" y="340"/>
                  </a:lnTo>
                  <a:lnTo>
                    <a:pt x="2953" y="330"/>
                  </a:lnTo>
                  <a:lnTo>
                    <a:pt x="2946" y="318"/>
                  </a:lnTo>
                  <a:lnTo>
                    <a:pt x="2942" y="306"/>
                  </a:lnTo>
                  <a:lnTo>
                    <a:pt x="2937" y="291"/>
                  </a:lnTo>
                  <a:lnTo>
                    <a:pt x="2934" y="277"/>
                  </a:lnTo>
                  <a:lnTo>
                    <a:pt x="2934" y="261"/>
                  </a:lnTo>
                  <a:lnTo>
                    <a:pt x="2934" y="245"/>
                  </a:lnTo>
                  <a:lnTo>
                    <a:pt x="2937" y="231"/>
                  </a:lnTo>
                  <a:lnTo>
                    <a:pt x="2942" y="216"/>
                  </a:lnTo>
                  <a:lnTo>
                    <a:pt x="2946" y="204"/>
                  </a:lnTo>
                  <a:lnTo>
                    <a:pt x="2953" y="191"/>
                  </a:lnTo>
                  <a:lnTo>
                    <a:pt x="2962" y="179"/>
                  </a:lnTo>
                  <a:lnTo>
                    <a:pt x="2970" y="169"/>
                  </a:lnTo>
                  <a:lnTo>
                    <a:pt x="2982" y="159"/>
                  </a:lnTo>
                  <a:lnTo>
                    <a:pt x="2993" y="150"/>
                  </a:lnTo>
                  <a:lnTo>
                    <a:pt x="3006" y="143"/>
                  </a:lnTo>
                  <a:lnTo>
                    <a:pt x="3021" y="136"/>
                  </a:lnTo>
                  <a:lnTo>
                    <a:pt x="3037" y="130"/>
                  </a:lnTo>
                  <a:lnTo>
                    <a:pt x="3052" y="126"/>
                  </a:lnTo>
                  <a:lnTo>
                    <a:pt x="3070" y="123"/>
                  </a:lnTo>
                  <a:lnTo>
                    <a:pt x="3087" y="122"/>
                  </a:lnTo>
                  <a:lnTo>
                    <a:pt x="3106" y="120"/>
                  </a:lnTo>
                  <a:lnTo>
                    <a:pt x="3127" y="122"/>
                  </a:lnTo>
                  <a:lnTo>
                    <a:pt x="3147" y="125"/>
                  </a:lnTo>
                  <a:lnTo>
                    <a:pt x="3166" y="127"/>
                  </a:lnTo>
                  <a:lnTo>
                    <a:pt x="3183" y="132"/>
                  </a:lnTo>
                  <a:lnTo>
                    <a:pt x="3199" y="139"/>
                  </a:lnTo>
                  <a:lnTo>
                    <a:pt x="3215" y="146"/>
                  </a:lnTo>
                  <a:lnTo>
                    <a:pt x="3230" y="155"/>
                  </a:lnTo>
                  <a:lnTo>
                    <a:pt x="3244" y="163"/>
                  </a:lnTo>
                  <a:lnTo>
                    <a:pt x="3257" y="173"/>
                  </a:lnTo>
                  <a:lnTo>
                    <a:pt x="3268" y="185"/>
                  </a:lnTo>
                  <a:lnTo>
                    <a:pt x="3280" y="196"/>
                  </a:lnTo>
                  <a:lnTo>
                    <a:pt x="3290" y="209"/>
                  </a:lnTo>
                  <a:lnTo>
                    <a:pt x="3299" y="224"/>
                  </a:lnTo>
                  <a:lnTo>
                    <a:pt x="3307" y="237"/>
                  </a:lnTo>
                  <a:lnTo>
                    <a:pt x="3314" y="252"/>
                  </a:lnTo>
                  <a:lnTo>
                    <a:pt x="3322" y="267"/>
                  </a:lnTo>
                  <a:lnTo>
                    <a:pt x="3427" y="206"/>
                  </a:lnTo>
                  <a:lnTo>
                    <a:pt x="3417" y="183"/>
                  </a:lnTo>
                  <a:lnTo>
                    <a:pt x="3404" y="163"/>
                  </a:lnTo>
                  <a:lnTo>
                    <a:pt x="3391" y="143"/>
                  </a:lnTo>
                  <a:lnTo>
                    <a:pt x="3376" y="123"/>
                  </a:lnTo>
                  <a:lnTo>
                    <a:pt x="3361" y="106"/>
                  </a:lnTo>
                  <a:lnTo>
                    <a:pt x="3343" y="89"/>
                  </a:lnTo>
                  <a:lnTo>
                    <a:pt x="3325" y="73"/>
                  </a:lnTo>
                  <a:lnTo>
                    <a:pt x="3304" y="59"/>
                  </a:lnTo>
                  <a:lnTo>
                    <a:pt x="3284" y="46"/>
                  </a:lnTo>
                  <a:lnTo>
                    <a:pt x="3261" y="34"/>
                  </a:lnTo>
                  <a:lnTo>
                    <a:pt x="3238" y="24"/>
                  </a:lnTo>
                  <a:lnTo>
                    <a:pt x="3214" y="15"/>
                  </a:lnTo>
                  <a:lnTo>
                    <a:pt x="3189" y="8"/>
                  </a:lnTo>
                  <a:lnTo>
                    <a:pt x="3162" y="4"/>
                  </a:lnTo>
                  <a:lnTo>
                    <a:pt x="3134" y="1"/>
                  </a:lnTo>
                  <a:lnTo>
                    <a:pt x="3106" y="0"/>
                  </a:lnTo>
                  <a:lnTo>
                    <a:pt x="3077" y="1"/>
                  </a:lnTo>
                  <a:lnTo>
                    <a:pt x="3048" y="4"/>
                  </a:lnTo>
                  <a:lnTo>
                    <a:pt x="3019" y="10"/>
                  </a:lnTo>
                  <a:lnTo>
                    <a:pt x="2992" y="17"/>
                  </a:lnTo>
                  <a:lnTo>
                    <a:pt x="2966" y="27"/>
                  </a:lnTo>
                  <a:lnTo>
                    <a:pt x="2942" y="40"/>
                  </a:lnTo>
                  <a:lnTo>
                    <a:pt x="2918" y="53"/>
                  </a:lnTo>
                  <a:lnTo>
                    <a:pt x="2897" y="70"/>
                  </a:lnTo>
                  <a:lnTo>
                    <a:pt x="2878" y="87"/>
                  </a:lnTo>
                  <a:lnTo>
                    <a:pt x="2861" y="107"/>
                  </a:lnTo>
                  <a:lnTo>
                    <a:pt x="2852" y="119"/>
                  </a:lnTo>
                  <a:lnTo>
                    <a:pt x="2845" y="129"/>
                  </a:lnTo>
                  <a:lnTo>
                    <a:pt x="2838" y="142"/>
                  </a:lnTo>
                  <a:lnTo>
                    <a:pt x="2832" y="153"/>
                  </a:lnTo>
                  <a:lnTo>
                    <a:pt x="2826" y="166"/>
                  </a:lnTo>
                  <a:lnTo>
                    <a:pt x="2822" y="179"/>
                  </a:lnTo>
                  <a:lnTo>
                    <a:pt x="2818" y="192"/>
                  </a:lnTo>
                  <a:lnTo>
                    <a:pt x="2815" y="206"/>
                  </a:lnTo>
                  <a:lnTo>
                    <a:pt x="2812" y="221"/>
                  </a:lnTo>
                  <a:lnTo>
                    <a:pt x="2809" y="235"/>
                  </a:lnTo>
                  <a:lnTo>
                    <a:pt x="2809" y="251"/>
                  </a:lnTo>
                  <a:lnTo>
                    <a:pt x="2808" y="267"/>
                  </a:lnTo>
                  <a:lnTo>
                    <a:pt x="2809" y="283"/>
                  </a:lnTo>
                  <a:lnTo>
                    <a:pt x="2809" y="298"/>
                  </a:lnTo>
                  <a:lnTo>
                    <a:pt x="2812" y="313"/>
                  </a:lnTo>
                  <a:lnTo>
                    <a:pt x="2815" y="327"/>
                  </a:lnTo>
                  <a:lnTo>
                    <a:pt x="2818" y="340"/>
                  </a:lnTo>
                  <a:lnTo>
                    <a:pt x="2822" y="353"/>
                  </a:lnTo>
                  <a:lnTo>
                    <a:pt x="2828" y="364"/>
                  </a:lnTo>
                  <a:lnTo>
                    <a:pt x="2834" y="376"/>
                  </a:lnTo>
                  <a:lnTo>
                    <a:pt x="2839" y="387"/>
                  </a:lnTo>
                  <a:lnTo>
                    <a:pt x="2846" y="397"/>
                  </a:lnTo>
                  <a:lnTo>
                    <a:pt x="2854" y="407"/>
                  </a:lnTo>
                  <a:lnTo>
                    <a:pt x="2862" y="418"/>
                  </a:lnTo>
                  <a:lnTo>
                    <a:pt x="2880" y="435"/>
                  </a:lnTo>
                  <a:lnTo>
                    <a:pt x="2900" y="451"/>
                  </a:lnTo>
                  <a:lnTo>
                    <a:pt x="2921" y="465"/>
                  </a:lnTo>
                  <a:lnTo>
                    <a:pt x="2944" y="478"/>
                  </a:lnTo>
                  <a:lnTo>
                    <a:pt x="2969" y="489"/>
                  </a:lnTo>
                  <a:lnTo>
                    <a:pt x="2995" y="499"/>
                  </a:lnTo>
                  <a:lnTo>
                    <a:pt x="3050" y="519"/>
                  </a:lnTo>
                  <a:lnTo>
                    <a:pt x="3106" y="538"/>
                  </a:lnTo>
                  <a:lnTo>
                    <a:pt x="3156" y="554"/>
                  </a:lnTo>
                  <a:lnTo>
                    <a:pt x="3199" y="570"/>
                  </a:lnTo>
                  <a:lnTo>
                    <a:pt x="3219" y="578"/>
                  </a:lnTo>
                  <a:lnTo>
                    <a:pt x="3238" y="586"/>
                  </a:lnTo>
                  <a:lnTo>
                    <a:pt x="3254" y="596"/>
                  </a:lnTo>
                  <a:lnTo>
                    <a:pt x="3270" y="604"/>
                  </a:lnTo>
                  <a:lnTo>
                    <a:pt x="3283" y="614"/>
                  </a:lnTo>
                  <a:lnTo>
                    <a:pt x="3296" y="624"/>
                  </a:lnTo>
                  <a:lnTo>
                    <a:pt x="3306" y="636"/>
                  </a:lnTo>
                  <a:lnTo>
                    <a:pt x="3314" y="649"/>
                  </a:lnTo>
                  <a:lnTo>
                    <a:pt x="3320" y="663"/>
                  </a:lnTo>
                  <a:lnTo>
                    <a:pt x="3326" y="677"/>
                  </a:lnTo>
                  <a:lnTo>
                    <a:pt x="3329" y="693"/>
                  </a:lnTo>
                  <a:lnTo>
                    <a:pt x="3329" y="710"/>
                  </a:lnTo>
                  <a:lnTo>
                    <a:pt x="3329" y="726"/>
                  </a:lnTo>
                  <a:lnTo>
                    <a:pt x="3326" y="742"/>
                  </a:lnTo>
                  <a:lnTo>
                    <a:pt x="3322" y="756"/>
                  </a:lnTo>
                  <a:lnTo>
                    <a:pt x="3317" y="769"/>
                  </a:lnTo>
                  <a:lnTo>
                    <a:pt x="3310" y="782"/>
                  </a:lnTo>
                  <a:lnTo>
                    <a:pt x="3302" y="794"/>
                  </a:lnTo>
                  <a:lnTo>
                    <a:pt x="3291" y="805"/>
                  </a:lnTo>
                  <a:lnTo>
                    <a:pt x="3280" y="815"/>
                  </a:lnTo>
                  <a:lnTo>
                    <a:pt x="3266" y="825"/>
                  </a:lnTo>
                  <a:lnTo>
                    <a:pt x="3251" y="833"/>
                  </a:lnTo>
                  <a:lnTo>
                    <a:pt x="3235" y="840"/>
                  </a:lnTo>
                  <a:lnTo>
                    <a:pt x="3217" y="845"/>
                  </a:lnTo>
                  <a:lnTo>
                    <a:pt x="3196" y="851"/>
                  </a:lnTo>
                  <a:lnTo>
                    <a:pt x="3176" y="854"/>
                  </a:lnTo>
                  <a:lnTo>
                    <a:pt x="3153" y="856"/>
                  </a:lnTo>
                  <a:lnTo>
                    <a:pt x="3129" y="857"/>
                  </a:lnTo>
                  <a:lnTo>
                    <a:pt x="3104" y="856"/>
                  </a:lnTo>
                  <a:lnTo>
                    <a:pt x="3080" y="854"/>
                  </a:lnTo>
                  <a:lnTo>
                    <a:pt x="3057" y="850"/>
                  </a:lnTo>
                  <a:lnTo>
                    <a:pt x="3035" y="844"/>
                  </a:lnTo>
                  <a:lnTo>
                    <a:pt x="3016" y="838"/>
                  </a:lnTo>
                  <a:lnTo>
                    <a:pt x="2998" y="830"/>
                  </a:lnTo>
                  <a:lnTo>
                    <a:pt x="2979" y="821"/>
                  </a:lnTo>
                  <a:lnTo>
                    <a:pt x="2963" y="810"/>
                  </a:lnTo>
                  <a:lnTo>
                    <a:pt x="2949" y="798"/>
                  </a:lnTo>
                  <a:lnTo>
                    <a:pt x="2934" y="785"/>
                  </a:lnTo>
                  <a:lnTo>
                    <a:pt x="2921" y="771"/>
                  </a:lnTo>
                  <a:lnTo>
                    <a:pt x="2910" y="756"/>
                  </a:lnTo>
                  <a:lnTo>
                    <a:pt x="2900" y="739"/>
                  </a:lnTo>
                  <a:lnTo>
                    <a:pt x="2891" y="722"/>
                  </a:lnTo>
                  <a:lnTo>
                    <a:pt x="2882" y="705"/>
                  </a:lnTo>
                  <a:lnTo>
                    <a:pt x="2875" y="685"/>
                  </a:lnTo>
                  <a:lnTo>
                    <a:pt x="2767" y="748"/>
                  </a:lnTo>
                  <a:lnTo>
                    <a:pt x="2777" y="774"/>
                  </a:lnTo>
                  <a:lnTo>
                    <a:pt x="2790" y="798"/>
                  </a:lnTo>
                  <a:lnTo>
                    <a:pt x="2803" y="821"/>
                  </a:lnTo>
                  <a:lnTo>
                    <a:pt x="2819" y="844"/>
                  </a:lnTo>
                  <a:lnTo>
                    <a:pt x="2836" y="864"/>
                  </a:lnTo>
                  <a:lnTo>
                    <a:pt x="2855" y="883"/>
                  </a:lnTo>
                  <a:lnTo>
                    <a:pt x="2875" y="900"/>
                  </a:lnTo>
                  <a:lnTo>
                    <a:pt x="2898" y="917"/>
                  </a:lnTo>
                  <a:lnTo>
                    <a:pt x="2921" y="932"/>
                  </a:lnTo>
                  <a:lnTo>
                    <a:pt x="2947" y="943"/>
                  </a:lnTo>
                  <a:lnTo>
                    <a:pt x="2973" y="955"/>
                  </a:lnTo>
                  <a:lnTo>
                    <a:pt x="3001" y="963"/>
                  </a:lnTo>
                  <a:lnTo>
                    <a:pt x="3031" y="970"/>
                  </a:lnTo>
                  <a:lnTo>
                    <a:pt x="3061" y="976"/>
                  </a:lnTo>
                  <a:lnTo>
                    <a:pt x="3093" y="979"/>
                  </a:lnTo>
                  <a:lnTo>
                    <a:pt x="3126" y="979"/>
                  </a:lnTo>
                  <a:close/>
                  <a:moveTo>
                    <a:pt x="2139" y="17"/>
                  </a:moveTo>
                  <a:lnTo>
                    <a:pt x="2139" y="17"/>
                  </a:lnTo>
                  <a:lnTo>
                    <a:pt x="2139" y="722"/>
                  </a:lnTo>
                  <a:lnTo>
                    <a:pt x="1651" y="17"/>
                  </a:lnTo>
                  <a:lnTo>
                    <a:pt x="1550" y="17"/>
                  </a:lnTo>
                  <a:lnTo>
                    <a:pt x="1550" y="962"/>
                  </a:lnTo>
                  <a:lnTo>
                    <a:pt x="1676" y="962"/>
                  </a:lnTo>
                  <a:lnTo>
                    <a:pt x="1676" y="257"/>
                  </a:lnTo>
                  <a:lnTo>
                    <a:pt x="2164" y="962"/>
                  </a:lnTo>
                  <a:lnTo>
                    <a:pt x="2265" y="962"/>
                  </a:lnTo>
                  <a:lnTo>
                    <a:pt x="2265" y="17"/>
                  </a:lnTo>
                  <a:lnTo>
                    <a:pt x="2139" y="17"/>
                  </a:lnTo>
                  <a:close/>
                  <a:moveTo>
                    <a:pt x="946" y="843"/>
                  </a:moveTo>
                  <a:lnTo>
                    <a:pt x="946" y="843"/>
                  </a:lnTo>
                  <a:lnTo>
                    <a:pt x="946" y="544"/>
                  </a:lnTo>
                  <a:lnTo>
                    <a:pt x="1345" y="544"/>
                  </a:lnTo>
                  <a:lnTo>
                    <a:pt x="1345" y="426"/>
                  </a:lnTo>
                  <a:lnTo>
                    <a:pt x="946" y="426"/>
                  </a:lnTo>
                  <a:lnTo>
                    <a:pt x="946" y="136"/>
                  </a:lnTo>
                  <a:lnTo>
                    <a:pt x="1378" y="136"/>
                  </a:lnTo>
                  <a:lnTo>
                    <a:pt x="1378" y="17"/>
                  </a:lnTo>
                  <a:lnTo>
                    <a:pt x="819" y="17"/>
                  </a:lnTo>
                  <a:lnTo>
                    <a:pt x="819" y="962"/>
                  </a:lnTo>
                  <a:lnTo>
                    <a:pt x="1385" y="962"/>
                  </a:lnTo>
                  <a:lnTo>
                    <a:pt x="1385" y="843"/>
                  </a:lnTo>
                  <a:lnTo>
                    <a:pt x="946" y="843"/>
                  </a:lnTo>
                  <a:close/>
                  <a:moveTo>
                    <a:pt x="296" y="979"/>
                  </a:moveTo>
                  <a:lnTo>
                    <a:pt x="296" y="979"/>
                  </a:lnTo>
                  <a:lnTo>
                    <a:pt x="329" y="979"/>
                  </a:lnTo>
                  <a:lnTo>
                    <a:pt x="360" y="975"/>
                  </a:lnTo>
                  <a:lnTo>
                    <a:pt x="390" y="969"/>
                  </a:lnTo>
                  <a:lnTo>
                    <a:pt x="420" y="962"/>
                  </a:lnTo>
                  <a:lnTo>
                    <a:pt x="447" y="952"/>
                  </a:lnTo>
                  <a:lnTo>
                    <a:pt x="473" y="939"/>
                  </a:lnTo>
                  <a:lnTo>
                    <a:pt x="486" y="932"/>
                  </a:lnTo>
                  <a:lnTo>
                    <a:pt x="498" y="923"/>
                  </a:lnTo>
                  <a:lnTo>
                    <a:pt x="509" y="916"/>
                  </a:lnTo>
                  <a:lnTo>
                    <a:pt x="521" y="906"/>
                  </a:lnTo>
                  <a:lnTo>
                    <a:pt x="531" y="897"/>
                  </a:lnTo>
                  <a:lnTo>
                    <a:pt x="541" y="887"/>
                  </a:lnTo>
                  <a:lnTo>
                    <a:pt x="551" y="876"/>
                  </a:lnTo>
                  <a:lnTo>
                    <a:pt x="560" y="866"/>
                  </a:lnTo>
                  <a:lnTo>
                    <a:pt x="568" y="853"/>
                  </a:lnTo>
                  <a:lnTo>
                    <a:pt x="576" y="841"/>
                  </a:lnTo>
                  <a:lnTo>
                    <a:pt x="583" y="828"/>
                  </a:lnTo>
                  <a:lnTo>
                    <a:pt x="590" y="814"/>
                  </a:lnTo>
                  <a:lnTo>
                    <a:pt x="596" y="801"/>
                  </a:lnTo>
                  <a:lnTo>
                    <a:pt x="600" y="785"/>
                  </a:lnTo>
                  <a:lnTo>
                    <a:pt x="604" y="771"/>
                  </a:lnTo>
                  <a:lnTo>
                    <a:pt x="609" y="755"/>
                  </a:lnTo>
                  <a:lnTo>
                    <a:pt x="612" y="738"/>
                  </a:lnTo>
                  <a:lnTo>
                    <a:pt x="613" y="721"/>
                  </a:lnTo>
                  <a:lnTo>
                    <a:pt x="614" y="703"/>
                  </a:lnTo>
                  <a:lnTo>
                    <a:pt x="614" y="685"/>
                  </a:lnTo>
                  <a:lnTo>
                    <a:pt x="614" y="17"/>
                  </a:lnTo>
                  <a:lnTo>
                    <a:pt x="491" y="17"/>
                  </a:lnTo>
                  <a:lnTo>
                    <a:pt x="491" y="685"/>
                  </a:lnTo>
                  <a:lnTo>
                    <a:pt x="489" y="706"/>
                  </a:lnTo>
                  <a:lnTo>
                    <a:pt x="486" y="726"/>
                  </a:lnTo>
                  <a:lnTo>
                    <a:pt x="482" y="745"/>
                  </a:lnTo>
                  <a:lnTo>
                    <a:pt x="476" y="762"/>
                  </a:lnTo>
                  <a:lnTo>
                    <a:pt x="469" y="777"/>
                  </a:lnTo>
                  <a:lnTo>
                    <a:pt x="460" y="791"/>
                  </a:lnTo>
                  <a:lnTo>
                    <a:pt x="449" y="804"/>
                  </a:lnTo>
                  <a:lnTo>
                    <a:pt x="437" y="815"/>
                  </a:lnTo>
                  <a:lnTo>
                    <a:pt x="424" y="825"/>
                  </a:lnTo>
                  <a:lnTo>
                    <a:pt x="409" y="834"/>
                  </a:lnTo>
                  <a:lnTo>
                    <a:pt x="393" y="841"/>
                  </a:lnTo>
                  <a:lnTo>
                    <a:pt x="375" y="847"/>
                  </a:lnTo>
                  <a:lnTo>
                    <a:pt x="358" y="851"/>
                  </a:lnTo>
                  <a:lnTo>
                    <a:pt x="338" y="854"/>
                  </a:lnTo>
                  <a:lnTo>
                    <a:pt x="318" y="856"/>
                  </a:lnTo>
                  <a:lnTo>
                    <a:pt x="296" y="857"/>
                  </a:lnTo>
                  <a:lnTo>
                    <a:pt x="280" y="857"/>
                  </a:lnTo>
                  <a:lnTo>
                    <a:pt x="263" y="856"/>
                  </a:lnTo>
                  <a:lnTo>
                    <a:pt x="247" y="853"/>
                  </a:lnTo>
                  <a:lnTo>
                    <a:pt x="233" y="851"/>
                  </a:lnTo>
                  <a:lnTo>
                    <a:pt x="218" y="847"/>
                  </a:lnTo>
                  <a:lnTo>
                    <a:pt x="204" y="843"/>
                  </a:lnTo>
                  <a:lnTo>
                    <a:pt x="191" y="837"/>
                  </a:lnTo>
                  <a:lnTo>
                    <a:pt x="178" y="831"/>
                  </a:lnTo>
                  <a:lnTo>
                    <a:pt x="167" y="824"/>
                  </a:lnTo>
                  <a:lnTo>
                    <a:pt x="157" y="817"/>
                  </a:lnTo>
                  <a:lnTo>
                    <a:pt x="146" y="807"/>
                  </a:lnTo>
                  <a:lnTo>
                    <a:pt x="136" y="798"/>
                  </a:lnTo>
                  <a:lnTo>
                    <a:pt x="128" y="787"/>
                  </a:lnTo>
                  <a:lnTo>
                    <a:pt x="121" y="775"/>
                  </a:lnTo>
                  <a:lnTo>
                    <a:pt x="113" y="762"/>
                  </a:lnTo>
                  <a:lnTo>
                    <a:pt x="108" y="749"/>
                  </a:lnTo>
                  <a:lnTo>
                    <a:pt x="0" y="811"/>
                  </a:lnTo>
                  <a:lnTo>
                    <a:pt x="10" y="831"/>
                  </a:lnTo>
                  <a:lnTo>
                    <a:pt x="21" y="850"/>
                  </a:lnTo>
                  <a:lnTo>
                    <a:pt x="34" y="868"/>
                  </a:lnTo>
                  <a:lnTo>
                    <a:pt x="49" y="884"/>
                  </a:lnTo>
                  <a:lnTo>
                    <a:pt x="64" y="900"/>
                  </a:lnTo>
                  <a:lnTo>
                    <a:pt x="80" y="913"/>
                  </a:lnTo>
                  <a:lnTo>
                    <a:pt x="99" y="926"/>
                  </a:lnTo>
                  <a:lnTo>
                    <a:pt x="118" y="937"/>
                  </a:lnTo>
                  <a:lnTo>
                    <a:pt x="136" y="947"/>
                  </a:lnTo>
                  <a:lnTo>
                    <a:pt x="157" y="956"/>
                  </a:lnTo>
                  <a:lnTo>
                    <a:pt x="178" y="963"/>
                  </a:lnTo>
                  <a:lnTo>
                    <a:pt x="201" y="969"/>
                  </a:lnTo>
                  <a:lnTo>
                    <a:pt x="224" y="973"/>
                  </a:lnTo>
                  <a:lnTo>
                    <a:pt x="247" y="978"/>
                  </a:lnTo>
                  <a:lnTo>
                    <a:pt x="272" y="979"/>
                  </a:lnTo>
                  <a:lnTo>
                    <a:pt x="296" y="9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8" name="Freeform 62">
              <a:extLst>
                <a:ext uri="{FF2B5EF4-FFF2-40B4-BE49-F238E27FC236}">
                  <a16:creationId xmlns:a16="http://schemas.microsoft.com/office/drawing/2014/main" id="{CC9C01EB-36B8-6440-F52D-1D9876E02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1338" y="3203575"/>
              <a:ext cx="1670050" cy="522288"/>
            </a:xfrm>
            <a:custGeom>
              <a:avLst/>
              <a:gdLst>
                <a:gd name="T0" fmla="*/ 3115 w 3156"/>
                <a:gd name="T1" fmla="*/ 376 h 985"/>
                <a:gd name="T2" fmla="*/ 3149 w 3156"/>
                <a:gd name="T3" fmla="*/ 20 h 985"/>
                <a:gd name="T4" fmla="*/ 3156 w 3156"/>
                <a:gd name="T5" fmla="*/ 738 h 985"/>
                <a:gd name="T6" fmla="*/ 2118 w 3156"/>
                <a:gd name="T7" fmla="*/ 20 h 985"/>
                <a:gd name="T8" fmla="*/ 2445 w 3156"/>
                <a:gd name="T9" fmla="*/ 731 h 985"/>
                <a:gd name="T10" fmla="*/ 1227 w 3156"/>
                <a:gd name="T11" fmla="*/ 748 h 985"/>
                <a:gd name="T12" fmla="*/ 1130 w 3156"/>
                <a:gd name="T13" fmla="*/ 719 h 985"/>
                <a:gd name="T14" fmla="*/ 1055 w 3156"/>
                <a:gd name="T15" fmla="*/ 659 h 985"/>
                <a:gd name="T16" fmla="*/ 1009 w 3156"/>
                <a:gd name="T17" fmla="*/ 573 h 985"/>
                <a:gd name="T18" fmla="*/ 999 w 3156"/>
                <a:gd name="T19" fmla="*/ 465 h 985"/>
                <a:gd name="T20" fmla="*/ 1028 w 3156"/>
                <a:gd name="T21" fmla="*/ 366 h 985"/>
                <a:gd name="T22" fmla="*/ 1090 w 3156"/>
                <a:gd name="T23" fmla="*/ 291 h 985"/>
                <a:gd name="T24" fmla="*/ 1176 w 3156"/>
                <a:gd name="T25" fmla="*/ 247 h 985"/>
                <a:gd name="T26" fmla="*/ 1280 w 3156"/>
                <a:gd name="T27" fmla="*/ 237 h 985"/>
                <a:gd name="T28" fmla="*/ 1378 w 3156"/>
                <a:gd name="T29" fmla="*/ 266 h 985"/>
                <a:gd name="T30" fmla="*/ 1453 w 3156"/>
                <a:gd name="T31" fmla="*/ 326 h 985"/>
                <a:gd name="T32" fmla="*/ 1499 w 3156"/>
                <a:gd name="T33" fmla="*/ 412 h 985"/>
                <a:gd name="T34" fmla="*/ 1509 w 3156"/>
                <a:gd name="T35" fmla="*/ 520 h 985"/>
                <a:gd name="T36" fmla="*/ 1479 w 3156"/>
                <a:gd name="T37" fmla="*/ 619 h 985"/>
                <a:gd name="T38" fmla="*/ 1418 w 3156"/>
                <a:gd name="T39" fmla="*/ 694 h 985"/>
                <a:gd name="T40" fmla="*/ 1330 w 3156"/>
                <a:gd name="T41" fmla="*/ 738 h 985"/>
                <a:gd name="T42" fmla="*/ 1254 w 3156"/>
                <a:gd name="T43" fmla="*/ 985 h 985"/>
                <a:gd name="T44" fmla="*/ 1330 w 3156"/>
                <a:gd name="T45" fmla="*/ 979 h 985"/>
                <a:gd name="T46" fmla="*/ 1425 w 3156"/>
                <a:gd name="T47" fmla="*/ 956 h 985"/>
                <a:gd name="T48" fmla="*/ 1512 w 3156"/>
                <a:gd name="T49" fmla="*/ 915 h 985"/>
                <a:gd name="T50" fmla="*/ 1588 w 3156"/>
                <a:gd name="T51" fmla="*/ 859 h 985"/>
                <a:gd name="T52" fmla="*/ 1653 w 3156"/>
                <a:gd name="T53" fmla="*/ 790 h 985"/>
                <a:gd name="T54" fmla="*/ 1702 w 3156"/>
                <a:gd name="T55" fmla="*/ 709 h 985"/>
                <a:gd name="T56" fmla="*/ 1735 w 3156"/>
                <a:gd name="T57" fmla="*/ 617 h 985"/>
                <a:gd name="T58" fmla="*/ 1749 w 3156"/>
                <a:gd name="T59" fmla="*/ 518 h 985"/>
                <a:gd name="T60" fmla="*/ 1745 w 3156"/>
                <a:gd name="T61" fmla="*/ 416 h 985"/>
                <a:gd name="T62" fmla="*/ 1721 w 3156"/>
                <a:gd name="T63" fmla="*/ 320 h 985"/>
                <a:gd name="T64" fmla="*/ 1679 w 3156"/>
                <a:gd name="T65" fmla="*/ 234 h 985"/>
                <a:gd name="T66" fmla="*/ 1623 w 3156"/>
                <a:gd name="T67" fmla="*/ 159 h 985"/>
                <a:gd name="T68" fmla="*/ 1552 w 3156"/>
                <a:gd name="T69" fmla="*/ 96 h 985"/>
                <a:gd name="T70" fmla="*/ 1470 w 3156"/>
                <a:gd name="T71" fmla="*/ 47 h 985"/>
                <a:gd name="T72" fmla="*/ 1378 w 3156"/>
                <a:gd name="T73" fmla="*/ 14 h 985"/>
                <a:gd name="T74" fmla="*/ 1280 w 3156"/>
                <a:gd name="T75" fmla="*/ 0 h 985"/>
                <a:gd name="T76" fmla="*/ 1178 w 3156"/>
                <a:gd name="T77" fmla="*/ 6 h 985"/>
                <a:gd name="T78" fmla="*/ 1083 w 3156"/>
                <a:gd name="T79" fmla="*/ 29 h 985"/>
                <a:gd name="T80" fmla="*/ 995 w 3156"/>
                <a:gd name="T81" fmla="*/ 70 h 985"/>
                <a:gd name="T82" fmla="*/ 919 w 3156"/>
                <a:gd name="T83" fmla="*/ 126 h 985"/>
                <a:gd name="T84" fmla="*/ 855 w 3156"/>
                <a:gd name="T85" fmla="*/ 195 h 985"/>
                <a:gd name="T86" fmla="*/ 806 w 3156"/>
                <a:gd name="T87" fmla="*/ 276 h 985"/>
                <a:gd name="T88" fmla="*/ 772 w 3156"/>
                <a:gd name="T89" fmla="*/ 368 h 985"/>
                <a:gd name="T90" fmla="*/ 757 w 3156"/>
                <a:gd name="T91" fmla="*/ 467 h 985"/>
                <a:gd name="T92" fmla="*/ 763 w 3156"/>
                <a:gd name="T93" fmla="*/ 569 h 985"/>
                <a:gd name="T94" fmla="*/ 786 w 3156"/>
                <a:gd name="T95" fmla="*/ 665 h 985"/>
                <a:gd name="T96" fmla="*/ 828 w 3156"/>
                <a:gd name="T97" fmla="*/ 751 h 985"/>
                <a:gd name="T98" fmla="*/ 885 w 3156"/>
                <a:gd name="T99" fmla="*/ 826 h 985"/>
                <a:gd name="T100" fmla="*/ 956 w 3156"/>
                <a:gd name="T101" fmla="*/ 889 h 985"/>
                <a:gd name="T102" fmla="*/ 1038 w 3156"/>
                <a:gd name="T103" fmla="*/ 938 h 985"/>
                <a:gd name="T104" fmla="*/ 1129 w 3156"/>
                <a:gd name="T105" fmla="*/ 971 h 985"/>
                <a:gd name="T106" fmla="*/ 1228 w 3156"/>
                <a:gd name="T107" fmla="*/ 985 h 985"/>
                <a:gd name="T108" fmla="*/ 471 w 3156"/>
                <a:gd name="T109" fmla="*/ 480 h 985"/>
                <a:gd name="T110" fmla="*/ 242 w 3156"/>
                <a:gd name="T111" fmla="*/ 20 h 985"/>
                <a:gd name="T112" fmla="*/ 242 w 3156"/>
                <a:gd name="T113" fmla="*/ 543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56" h="985">
                  <a:moveTo>
                    <a:pt x="2789" y="738"/>
                  </a:moveTo>
                  <a:lnTo>
                    <a:pt x="2789" y="599"/>
                  </a:lnTo>
                  <a:lnTo>
                    <a:pt x="3115" y="599"/>
                  </a:lnTo>
                  <a:lnTo>
                    <a:pt x="3115" y="376"/>
                  </a:lnTo>
                  <a:lnTo>
                    <a:pt x="2789" y="376"/>
                  </a:lnTo>
                  <a:lnTo>
                    <a:pt x="2789" y="246"/>
                  </a:lnTo>
                  <a:lnTo>
                    <a:pt x="3149" y="246"/>
                  </a:lnTo>
                  <a:lnTo>
                    <a:pt x="3149" y="20"/>
                  </a:lnTo>
                  <a:lnTo>
                    <a:pt x="2547" y="20"/>
                  </a:lnTo>
                  <a:lnTo>
                    <a:pt x="2547" y="965"/>
                  </a:lnTo>
                  <a:lnTo>
                    <a:pt x="3156" y="965"/>
                  </a:lnTo>
                  <a:lnTo>
                    <a:pt x="3156" y="738"/>
                  </a:lnTo>
                  <a:lnTo>
                    <a:pt x="2789" y="738"/>
                  </a:lnTo>
                  <a:close/>
                  <a:moveTo>
                    <a:pt x="2118" y="731"/>
                  </a:moveTo>
                  <a:lnTo>
                    <a:pt x="2118" y="731"/>
                  </a:lnTo>
                  <a:lnTo>
                    <a:pt x="2118" y="20"/>
                  </a:lnTo>
                  <a:lnTo>
                    <a:pt x="1876" y="20"/>
                  </a:lnTo>
                  <a:lnTo>
                    <a:pt x="1876" y="965"/>
                  </a:lnTo>
                  <a:lnTo>
                    <a:pt x="2445" y="965"/>
                  </a:lnTo>
                  <a:lnTo>
                    <a:pt x="2445" y="731"/>
                  </a:lnTo>
                  <a:lnTo>
                    <a:pt x="2118" y="731"/>
                  </a:lnTo>
                  <a:close/>
                  <a:moveTo>
                    <a:pt x="1254" y="750"/>
                  </a:moveTo>
                  <a:lnTo>
                    <a:pt x="1254" y="750"/>
                  </a:lnTo>
                  <a:lnTo>
                    <a:pt x="1227" y="748"/>
                  </a:lnTo>
                  <a:lnTo>
                    <a:pt x="1201" y="744"/>
                  </a:lnTo>
                  <a:lnTo>
                    <a:pt x="1176" y="738"/>
                  </a:lnTo>
                  <a:lnTo>
                    <a:pt x="1153" y="731"/>
                  </a:lnTo>
                  <a:lnTo>
                    <a:pt x="1130" y="719"/>
                  </a:lnTo>
                  <a:lnTo>
                    <a:pt x="1109" y="708"/>
                  </a:lnTo>
                  <a:lnTo>
                    <a:pt x="1090" y="694"/>
                  </a:lnTo>
                  <a:lnTo>
                    <a:pt x="1071" y="678"/>
                  </a:lnTo>
                  <a:lnTo>
                    <a:pt x="1055" y="659"/>
                  </a:lnTo>
                  <a:lnTo>
                    <a:pt x="1041" y="640"/>
                  </a:lnTo>
                  <a:lnTo>
                    <a:pt x="1028" y="619"/>
                  </a:lnTo>
                  <a:lnTo>
                    <a:pt x="1018" y="596"/>
                  </a:lnTo>
                  <a:lnTo>
                    <a:pt x="1009" y="573"/>
                  </a:lnTo>
                  <a:lnTo>
                    <a:pt x="1004" y="547"/>
                  </a:lnTo>
                  <a:lnTo>
                    <a:pt x="999" y="520"/>
                  </a:lnTo>
                  <a:lnTo>
                    <a:pt x="998" y="492"/>
                  </a:lnTo>
                  <a:lnTo>
                    <a:pt x="999" y="465"/>
                  </a:lnTo>
                  <a:lnTo>
                    <a:pt x="1004" y="438"/>
                  </a:lnTo>
                  <a:lnTo>
                    <a:pt x="1009" y="412"/>
                  </a:lnTo>
                  <a:lnTo>
                    <a:pt x="1018" y="389"/>
                  </a:lnTo>
                  <a:lnTo>
                    <a:pt x="1028" y="366"/>
                  </a:lnTo>
                  <a:lnTo>
                    <a:pt x="1041" y="345"/>
                  </a:lnTo>
                  <a:lnTo>
                    <a:pt x="1055" y="326"/>
                  </a:lnTo>
                  <a:lnTo>
                    <a:pt x="1071" y="307"/>
                  </a:lnTo>
                  <a:lnTo>
                    <a:pt x="1090" y="291"/>
                  </a:lnTo>
                  <a:lnTo>
                    <a:pt x="1109" y="277"/>
                  </a:lnTo>
                  <a:lnTo>
                    <a:pt x="1130" y="266"/>
                  </a:lnTo>
                  <a:lnTo>
                    <a:pt x="1153" y="254"/>
                  </a:lnTo>
                  <a:lnTo>
                    <a:pt x="1176" y="247"/>
                  </a:lnTo>
                  <a:lnTo>
                    <a:pt x="1201" y="241"/>
                  </a:lnTo>
                  <a:lnTo>
                    <a:pt x="1227" y="237"/>
                  </a:lnTo>
                  <a:lnTo>
                    <a:pt x="1254" y="235"/>
                  </a:lnTo>
                  <a:lnTo>
                    <a:pt x="1280" y="237"/>
                  </a:lnTo>
                  <a:lnTo>
                    <a:pt x="1306" y="241"/>
                  </a:lnTo>
                  <a:lnTo>
                    <a:pt x="1330" y="247"/>
                  </a:lnTo>
                  <a:lnTo>
                    <a:pt x="1355" y="254"/>
                  </a:lnTo>
                  <a:lnTo>
                    <a:pt x="1378" y="266"/>
                  </a:lnTo>
                  <a:lnTo>
                    <a:pt x="1398" y="277"/>
                  </a:lnTo>
                  <a:lnTo>
                    <a:pt x="1418" y="291"/>
                  </a:lnTo>
                  <a:lnTo>
                    <a:pt x="1436" y="307"/>
                  </a:lnTo>
                  <a:lnTo>
                    <a:pt x="1453" y="326"/>
                  </a:lnTo>
                  <a:lnTo>
                    <a:pt x="1467" y="345"/>
                  </a:lnTo>
                  <a:lnTo>
                    <a:pt x="1479" y="366"/>
                  </a:lnTo>
                  <a:lnTo>
                    <a:pt x="1490" y="389"/>
                  </a:lnTo>
                  <a:lnTo>
                    <a:pt x="1499" y="412"/>
                  </a:lnTo>
                  <a:lnTo>
                    <a:pt x="1505" y="438"/>
                  </a:lnTo>
                  <a:lnTo>
                    <a:pt x="1509" y="465"/>
                  </a:lnTo>
                  <a:lnTo>
                    <a:pt x="1509" y="492"/>
                  </a:lnTo>
                  <a:lnTo>
                    <a:pt x="1509" y="520"/>
                  </a:lnTo>
                  <a:lnTo>
                    <a:pt x="1505" y="547"/>
                  </a:lnTo>
                  <a:lnTo>
                    <a:pt x="1499" y="573"/>
                  </a:lnTo>
                  <a:lnTo>
                    <a:pt x="1490" y="596"/>
                  </a:lnTo>
                  <a:lnTo>
                    <a:pt x="1479" y="619"/>
                  </a:lnTo>
                  <a:lnTo>
                    <a:pt x="1467" y="640"/>
                  </a:lnTo>
                  <a:lnTo>
                    <a:pt x="1453" y="659"/>
                  </a:lnTo>
                  <a:lnTo>
                    <a:pt x="1436" y="678"/>
                  </a:lnTo>
                  <a:lnTo>
                    <a:pt x="1418" y="694"/>
                  </a:lnTo>
                  <a:lnTo>
                    <a:pt x="1398" y="708"/>
                  </a:lnTo>
                  <a:lnTo>
                    <a:pt x="1378" y="719"/>
                  </a:lnTo>
                  <a:lnTo>
                    <a:pt x="1355" y="731"/>
                  </a:lnTo>
                  <a:lnTo>
                    <a:pt x="1330" y="738"/>
                  </a:lnTo>
                  <a:lnTo>
                    <a:pt x="1306" y="744"/>
                  </a:lnTo>
                  <a:lnTo>
                    <a:pt x="1280" y="748"/>
                  </a:lnTo>
                  <a:lnTo>
                    <a:pt x="1254" y="750"/>
                  </a:lnTo>
                  <a:close/>
                  <a:moveTo>
                    <a:pt x="1254" y="985"/>
                  </a:moveTo>
                  <a:lnTo>
                    <a:pt x="1254" y="985"/>
                  </a:lnTo>
                  <a:lnTo>
                    <a:pt x="1280" y="985"/>
                  </a:lnTo>
                  <a:lnTo>
                    <a:pt x="1305" y="982"/>
                  </a:lnTo>
                  <a:lnTo>
                    <a:pt x="1330" y="979"/>
                  </a:lnTo>
                  <a:lnTo>
                    <a:pt x="1355" y="975"/>
                  </a:lnTo>
                  <a:lnTo>
                    <a:pt x="1378" y="971"/>
                  </a:lnTo>
                  <a:lnTo>
                    <a:pt x="1402" y="964"/>
                  </a:lnTo>
                  <a:lnTo>
                    <a:pt x="1425" y="956"/>
                  </a:lnTo>
                  <a:lnTo>
                    <a:pt x="1449" y="948"/>
                  </a:lnTo>
                  <a:lnTo>
                    <a:pt x="1470" y="938"/>
                  </a:lnTo>
                  <a:lnTo>
                    <a:pt x="1492" y="928"/>
                  </a:lnTo>
                  <a:lnTo>
                    <a:pt x="1512" y="915"/>
                  </a:lnTo>
                  <a:lnTo>
                    <a:pt x="1532" y="903"/>
                  </a:lnTo>
                  <a:lnTo>
                    <a:pt x="1552" y="889"/>
                  </a:lnTo>
                  <a:lnTo>
                    <a:pt x="1571" y="874"/>
                  </a:lnTo>
                  <a:lnTo>
                    <a:pt x="1588" y="859"/>
                  </a:lnTo>
                  <a:lnTo>
                    <a:pt x="1605" y="843"/>
                  </a:lnTo>
                  <a:lnTo>
                    <a:pt x="1623" y="826"/>
                  </a:lnTo>
                  <a:lnTo>
                    <a:pt x="1637" y="808"/>
                  </a:lnTo>
                  <a:lnTo>
                    <a:pt x="1653" y="790"/>
                  </a:lnTo>
                  <a:lnTo>
                    <a:pt x="1666" y="771"/>
                  </a:lnTo>
                  <a:lnTo>
                    <a:pt x="1679" y="751"/>
                  </a:lnTo>
                  <a:lnTo>
                    <a:pt x="1690" y="729"/>
                  </a:lnTo>
                  <a:lnTo>
                    <a:pt x="1702" y="709"/>
                  </a:lnTo>
                  <a:lnTo>
                    <a:pt x="1712" y="686"/>
                  </a:lnTo>
                  <a:lnTo>
                    <a:pt x="1721" y="665"/>
                  </a:lnTo>
                  <a:lnTo>
                    <a:pt x="1728" y="642"/>
                  </a:lnTo>
                  <a:lnTo>
                    <a:pt x="1735" y="617"/>
                  </a:lnTo>
                  <a:lnTo>
                    <a:pt x="1741" y="593"/>
                  </a:lnTo>
                  <a:lnTo>
                    <a:pt x="1745" y="569"/>
                  </a:lnTo>
                  <a:lnTo>
                    <a:pt x="1748" y="544"/>
                  </a:lnTo>
                  <a:lnTo>
                    <a:pt x="1749" y="518"/>
                  </a:lnTo>
                  <a:lnTo>
                    <a:pt x="1751" y="492"/>
                  </a:lnTo>
                  <a:lnTo>
                    <a:pt x="1749" y="467"/>
                  </a:lnTo>
                  <a:lnTo>
                    <a:pt x="1748" y="441"/>
                  </a:lnTo>
                  <a:lnTo>
                    <a:pt x="1745" y="416"/>
                  </a:lnTo>
                  <a:lnTo>
                    <a:pt x="1741" y="392"/>
                  </a:lnTo>
                  <a:lnTo>
                    <a:pt x="1735" y="368"/>
                  </a:lnTo>
                  <a:lnTo>
                    <a:pt x="1728" y="343"/>
                  </a:lnTo>
                  <a:lnTo>
                    <a:pt x="1721" y="320"/>
                  </a:lnTo>
                  <a:lnTo>
                    <a:pt x="1712" y="299"/>
                  </a:lnTo>
                  <a:lnTo>
                    <a:pt x="1702" y="276"/>
                  </a:lnTo>
                  <a:lnTo>
                    <a:pt x="1690" y="256"/>
                  </a:lnTo>
                  <a:lnTo>
                    <a:pt x="1679" y="234"/>
                  </a:lnTo>
                  <a:lnTo>
                    <a:pt x="1666" y="214"/>
                  </a:lnTo>
                  <a:lnTo>
                    <a:pt x="1653" y="195"/>
                  </a:lnTo>
                  <a:lnTo>
                    <a:pt x="1637" y="177"/>
                  </a:lnTo>
                  <a:lnTo>
                    <a:pt x="1623" y="159"/>
                  </a:lnTo>
                  <a:lnTo>
                    <a:pt x="1605" y="142"/>
                  </a:lnTo>
                  <a:lnTo>
                    <a:pt x="1588" y="126"/>
                  </a:lnTo>
                  <a:lnTo>
                    <a:pt x="1571" y="111"/>
                  </a:lnTo>
                  <a:lnTo>
                    <a:pt x="1552" y="96"/>
                  </a:lnTo>
                  <a:lnTo>
                    <a:pt x="1532" y="82"/>
                  </a:lnTo>
                  <a:lnTo>
                    <a:pt x="1512" y="70"/>
                  </a:lnTo>
                  <a:lnTo>
                    <a:pt x="1492" y="57"/>
                  </a:lnTo>
                  <a:lnTo>
                    <a:pt x="1470" y="47"/>
                  </a:lnTo>
                  <a:lnTo>
                    <a:pt x="1449" y="37"/>
                  </a:lnTo>
                  <a:lnTo>
                    <a:pt x="1425" y="29"/>
                  </a:lnTo>
                  <a:lnTo>
                    <a:pt x="1402" y="21"/>
                  </a:lnTo>
                  <a:lnTo>
                    <a:pt x="1378" y="14"/>
                  </a:lnTo>
                  <a:lnTo>
                    <a:pt x="1355" y="10"/>
                  </a:lnTo>
                  <a:lnTo>
                    <a:pt x="1330" y="6"/>
                  </a:lnTo>
                  <a:lnTo>
                    <a:pt x="1305" y="3"/>
                  </a:lnTo>
                  <a:lnTo>
                    <a:pt x="1280" y="0"/>
                  </a:lnTo>
                  <a:lnTo>
                    <a:pt x="1254" y="0"/>
                  </a:lnTo>
                  <a:lnTo>
                    <a:pt x="1228" y="0"/>
                  </a:lnTo>
                  <a:lnTo>
                    <a:pt x="1202" y="3"/>
                  </a:lnTo>
                  <a:lnTo>
                    <a:pt x="1178" y="6"/>
                  </a:lnTo>
                  <a:lnTo>
                    <a:pt x="1153" y="10"/>
                  </a:lnTo>
                  <a:lnTo>
                    <a:pt x="1129" y="14"/>
                  </a:lnTo>
                  <a:lnTo>
                    <a:pt x="1106" y="21"/>
                  </a:lnTo>
                  <a:lnTo>
                    <a:pt x="1083" y="29"/>
                  </a:lnTo>
                  <a:lnTo>
                    <a:pt x="1060" y="37"/>
                  </a:lnTo>
                  <a:lnTo>
                    <a:pt x="1038" y="47"/>
                  </a:lnTo>
                  <a:lnTo>
                    <a:pt x="1017" y="57"/>
                  </a:lnTo>
                  <a:lnTo>
                    <a:pt x="995" y="70"/>
                  </a:lnTo>
                  <a:lnTo>
                    <a:pt x="975" y="82"/>
                  </a:lnTo>
                  <a:lnTo>
                    <a:pt x="956" y="96"/>
                  </a:lnTo>
                  <a:lnTo>
                    <a:pt x="937" y="111"/>
                  </a:lnTo>
                  <a:lnTo>
                    <a:pt x="919" y="126"/>
                  </a:lnTo>
                  <a:lnTo>
                    <a:pt x="901" y="142"/>
                  </a:lnTo>
                  <a:lnTo>
                    <a:pt x="885" y="159"/>
                  </a:lnTo>
                  <a:lnTo>
                    <a:pt x="870" y="177"/>
                  </a:lnTo>
                  <a:lnTo>
                    <a:pt x="855" y="195"/>
                  </a:lnTo>
                  <a:lnTo>
                    <a:pt x="841" y="214"/>
                  </a:lnTo>
                  <a:lnTo>
                    <a:pt x="828" y="234"/>
                  </a:lnTo>
                  <a:lnTo>
                    <a:pt x="816" y="256"/>
                  </a:lnTo>
                  <a:lnTo>
                    <a:pt x="806" y="276"/>
                  </a:lnTo>
                  <a:lnTo>
                    <a:pt x="796" y="299"/>
                  </a:lnTo>
                  <a:lnTo>
                    <a:pt x="786" y="320"/>
                  </a:lnTo>
                  <a:lnTo>
                    <a:pt x="779" y="343"/>
                  </a:lnTo>
                  <a:lnTo>
                    <a:pt x="772" y="368"/>
                  </a:lnTo>
                  <a:lnTo>
                    <a:pt x="767" y="392"/>
                  </a:lnTo>
                  <a:lnTo>
                    <a:pt x="763" y="416"/>
                  </a:lnTo>
                  <a:lnTo>
                    <a:pt x="759" y="441"/>
                  </a:lnTo>
                  <a:lnTo>
                    <a:pt x="757" y="467"/>
                  </a:lnTo>
                  <a:lnTo>
                    <a:pt x="757" y="492"/>
                  </a:lnTo>
                  <a:lnTo>
                    <a:pt x="757" y="518"/>
                  </a:lnTo>
                  <a:lnTo>
                    <a:pt x="759" y="544"/>
                  </a:lnTo>
                  <a:lnTo>
                    <a:pt x="763" y="569"/>
                  </a:lnTo>
                  <a:lnTo>
                    <a:pt x="767" y="593"/>
                  </a:lnTo>
                  <a:lnTo>
                    <a:pt x="772" y="617"/>
                  </a:lnTo>
                  <a:lnTo>
                    <a:pt x="779" y="642"/>
                  </a:lnTo>
                  <a:lnTo>
                    <a:pt x="786" y="665"/>
                  </a:lnTo>
                  <a:lnTo>
                    <a:pt x="796" y="686"/>
                  </a:lnTo>
                  <a:lnTo>
                    <a:pt x="806" y="709"/>
                  </a:lnTo>
                  <a:lnTo>
                    <a:pt x="816" y="729"/>
                  </a:lnTo>
                  <a:lnTo>
                    <a:pt x="828" y="751"/>
                  </a:lnTo>
                  <a:lnTo>
                    <a:pt x="841" y="771"/>
                  </a:lnTo>
                  <a:lnTo>
                    <a:pt x="855" y="790"/>
                  </a:lnTo>
                  <a:lnTo>
                    <a:pt x="870" y="808"/>
                  </a:lnTo>
                  <a:lnTo>
                    <a:pt x="885" y="826"/>
                  </a:lnTo>
                  <a:lnTo>
                    <a:pt x="901" y="843"/>
                  </a:lnTo>
                  <a:lnTo>
                    <a:pt x="919" y="859"/>
                  </a:lnTo>
                  <a:lnTo>
                    <a:pt x="937" y="874"/>
                  </a:lnTo>
                  <a:lnTo>
                    <a:pt x="956" y="889"/>
                  </a:lnTo>
                  <a:lnTo>
                    <a:pt x="975" y="903"/>
                  </a:lnTo>
                  <a:lnTo>
                    <a:pt x="995" y="915"/>
                  </a:lnTo>
                  <a:lnTo>
                    <a:pt x="1017" y="928"/>
                  </a:lnTo>
                  <a:lnTo>
                    <a:pt x="1038" y="938"/>
                  </a:lnTo>
                  <a:lnTo>
                    <a:pt x="1060" y="948"/>
                  </a:lnTo>
                  <a:lnTo>
                    <a:pt x="1083" y="956"/>
                  </a:lnTo>
                  <a:lnTo>
                    <a:pt x="1106" y="964"/>
                  </a:lnTo>
                  <a:lnTo>
                    <a:pt x="1129" y="971"/>
                  </a:lnTo>
                  <a:lnTo>
                    <a:pt x="1153" y="975"/>
                  </a:lnTo>
                  <a:lnTo>
                    <a:pt x="1178" y="979"/>
                  </a:lnTo>
                  <a:lnTo>
                    <a:pt x="1202" y="982"/>
                  </a:lnTo>
                  <a:lnTo>
                    <a:pt x="1228" y="985"/>
                  </a:lnTo>
                  <a:lnTo>
                    <a:pt x="1254" y="985"/>
                  </a:lnTo>
                  <a:close/>
                  <a:moveTo>
                    <a:pt x="785" y="965"/>
                  </a:moveTo>
                  <a:lnTo>
                    <a:pt x="785" y="965"/>
                  </a:lnTo>
                  <a:lnTo>
                    <a:pt x="471" y="480"/>
                  </a:lnTo>
                  <a:lnTo>
                    <a:pt x="772" y="20"/>
                  </a:lnTo>
                  <a:lnTo>
                    <a:pt x="501" y="20"/>
                  </a:lnTo>
                  <a:lnTo>
                    <a:pt x="242" y="416"/>
                  </a:lnTo>
                  <a:lnTo>
                    <a:pt x="242" y="20"/>
                  </a:lnTo>
                  <a:lnTo>
                    <a:pt x="0" y="20"/>
                  </a:lnTo>
                  <a:lnTo>
                    <a:pt x="0" y="965"/>
                  </a:lnTo>
                  <a:lnTo>
                    <a:pt x="242" y="965"/>
                  </a:lnTo>
                  <a:lnTo>
                    <a:pt x="242" y="543"/>
                  </a:lnTo>
                  <a:lnTo>
                    <a:pt x="514" y="965"/>
                  </a:lnTo>
                  <a:lnTo>
                    <a:pt x="785" y="965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9" name="Freeform 63">
              <a:extLst>
                <a:ext uri="{FF2B5EF4-FFF2-40B4-BE49-F238E27FC236}">
                  <a16:creationId xmlns:a16="http://schemas.microsoft.com/office/drawing/2014/main" id="{79C7BA46-9117-F012-F563-B71F092C5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0" y="3214688"/>
              <a:ext cx="895350" cy="500063"/>
            </a:xfrm>
            <a:custGeom>
              <a:avLst/>
              <a:gdLst>
                <a:gd name="T0" fmla="*/ 1096 w 1691"/>
                <a:gd name="T1" fmla="*/ 616 h 945"/>
                <a:gd name="T2" fmla="*/ 1264 w 1691"/>
                <a:gd name="T3" fmla="*/ 149 h 945"/>
                <a:gd name="T4" fmla="*/ 1436 w 1691"/>
                <a:gd name="T5" fmla="*/ 616 h 945"/>
                <a:gd name="T6" fmla="*/ 1096 w 1691"/>
                <a:gd name="T7" fmla="*/ 616 h 945"/>
                <a:gd name="T8" fmla="*/ 1555 w 1691"/>
                <a:gd name="T9" fmla="*/ 945 h 945"/>
                <a:gd name="T10" fmla="*/ 1555 w 1691"/>
                <a:gd name="T11" fmla="*/ 945 h 945"/>
                <a:gd name="T12" fmla="*/ 1691 w 1691"/>
                <a:gd name="T13" fmla="*/ 945 h 945"/>
                <a:gd name="T14" fmla="*/ 1336 w 1691"/>
                <a:gd name="T15" fmla="*/ 0 h 945"/>
                <a:gd name="T16" fmla="*/ 1194 w 1691"/>
                <a:gd name="T17" fmla="*/ 0 h 945"/>
                <a:gd name="T18" fmla="*/ 841 w 1691"/>
                <a:gd name="T19" fmla="*/ 945 h 945"/>
                <a:gd name="T20" fmla="*/ 975 w 1691"/>
                <a:gd name="T21" fmla="*/ 945 h 945"/>
                <a:gd name="T22" fmla="*/ 1053 w 1691"/>
                <a:gd name="T23" fmla="*/ 732 h 945"/>
                <a:gd name="T24" fmla="*/ 1479 w 1691"/>
                <a:gd name="T25" fmla="*/ 732 h 945"/>
                <a:gd name="T26" fmla="*/ 1555 w 1691"/>
                <a:gd name="T27" fmla="*/ 945 h 945"/>
                <a:gd name="T28" fmla="*/ 589 w 1691"/>
                <a:gd name="T29" fmla="*/ 0 h 945"/>
                <a:gd name="T30" fmla="*/ 589 w 1691"/>
                <a:gd name="T31" fmla="*/ 0 h 945"/>
                <a:gd name="T32" fmla="*/ 589 w 1691"/>
                <a:gd name="T33" fmla="*/ 705 h 945"/>
                <a:gd name="T34" fmla="*/ 102 w 1691"/>
                <a:gd name="T35" fmla="*/ 0 h 945"/>
                <a:gd name="T36" fmla="*/ 0 w 1691"/>
                <a:gd name="T37" fmla="*/ 0 h 945"/>
                <a:gd name="T38" fmla="*/ 0 w 1691"/>
                <a:gd name="T39" fmla="*/ 945 h 945"/>
                <a:gd name="T40" fmla="*/ 127 w 1691"/>
                <a:gd name="T41" fmla="*/ 945 h 945"/>
                <a:gd name="T42" fmla="*/ 127 w 1691"/>
                <a:gd name="T43" fmla="*/ 238 h 945"/>
                <a:gd name="T44" fmla="*/ 613 w 1691"/>
                <a:gd name="T45" fmla="*/ 945 h 945"/>
                <a:gd name="T46" fmla="*/ 716 w 1691"/>
                <a:gd name="T47" fmla="*/ 945 h 945"/>
                <a:gd name="T48" fmla="*/ 716 w 1691"/>
                <a:gd name="T49" fmla="*/ 0 h 945"/>
                <a:gd name="T50" fmla="*/ 589 w 1691"/>
                <a:gd name="T51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1" h="945">
                  <a:moveTo>
                    <a:pt x="1096" y="616"/>
                  </a:moveTo>
                  <a:lnTo>
                    <a:pt x="1264" y="149"/>
                  </a:lnTo>
                  <a:lnTo>
                    <a:pt x="1436" y="616"/>
                  </a:lnTo>
                  <a:lnTo>
                    <a:pt x="1096" y="616"/>
                  </a:lnTo>
                  <a:close/>
                  <a:moveTo>
                    <a:pt x="1555" y="945"/>
                  </a:moveTo>
                  <a:lnTo>
                    <a:pt x="1555" y="945"/>
                  </a:lnTo>
                  <a:lnTo>
                    <a:pt x="1691" y="945"/>
                  </a:lnTo>
                  <a:lnTo>
                    <a:pt x="1336" y="0"/>
                  </a:lnTo>
                  <a:lnTo>
                    <a:pt x="1194" y="0"/>
                  </a:lnTo>
                  <a:lnTo>
                    <a:pt x="841" y="945"/>
                  </a:lnTo>
                  <a:lnTo>
                    <a:pt x="975" y="945"/>
                  </a:lnTo>
                  <a:lnTo>
                    <a:pt x="1053" y="732"/>
                  </a:lnTo>
                  <a:lnTo>
                    <a:pt x="1479" y="732"/>
                  </a:lnTo>
                  <a:lnTo>
                    <a:pt x="1555" y="945"/>
                  </a:lnTo>
                  <a:close/>
                  <a:moveTo>
                    <a:pt x="589" y="0"/>
                  </a:moveTo>
                  <a:lnTo>
                    <a:pt x="589" y="0"/>
                  </a:lnTo>
                  <a:lnTo>
                    <a:pt x="589" y="70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945"/>
                  </a:lnTo>
                  <a:lnTo>
                    <a:pt x="127" y="945"/>
                  </a:lnTo>
                  <a:lnTo>
                    <a:pt x="127" y="238"/>
                  </a:lnTo>
                  <a:lnTo>
                    <a:pt x="613" y="945"/>
                  </a:lnTo>
                  <a:lnTo>
                    <a:pt x="716" y="945"/>
                  </a:lnTo>
                  <a:lnTo>
                    <a:pt x="716" y="0"/>
                  </a:lnTo>
                  <a:lnTo>
                    <a:pt x="5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pic>
        <p:nvPicPr>
          <p:cNvPr id="1067" name="Obrázek 1066">
            <a:extLst>
              <a:ext uri="{FF2B5EF4-FFF2-40B4-BE49-F238E27FC236}">
                <a16:creationId xmlns:a16="http://schemas.microsoft.com/office/drawing/2014/main" id="{37979C49-9CE1-32D7-C18F-E3F7701675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448" y="5177962"/>
            <a:ext cx="85808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01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000" dirty="0">
                <a:latin typeface="Metropolis" panose="00000500000000000000" pitchFamily="50" charset="0"/>
              </a:rPr>
              <a:t>Bezpečný cyklist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825625"/>
            <a:ext cx="5675416" cy="4351338"/>
          </a:xfrm>
        </p:spPr>
        <p:txBody>
          <a:bodyPr/>
          <a:lstStyle/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Ucelený pohled na pravidla, zásady bezpečné jízdy a aktuální problematiku cyklistiky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Určeno učitelům, policistům, autoškolám i veřejnosti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Online, bezplatně na ebook.nakolejensprilbou.cz</a:t>
            </a:r>
          </a:p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394" y="0"/>
            <a:ext cx="4848606" cy="6858000"/>
          </a:xfrm>
          <a:prstGeom prst="rect">
            <a:avLst/>
          </a:prstGeom>
        </p:spPr>
      </p:pic>
      <p:pic>
        <p:nvPicPr>
          <p:cNvPr id="4" name="Obrázek 3" descr="Obsah obrázku Grafika, design&#10;&#10;Popis byl vytvořen automaticky">
            <a:extLst>
              <a:ext uri="{FF2B5EF4-FFF2-40B4-BE49-F238E27FC236}">
                <a16:creationId xmlns:a16="http://schemas.microsoft.com/office/drawing/2014/main" id="{0881D925-D937-3760-0F82-DD22C58491F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011823"/>
            <a:ext cx="1211120" cy="48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809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185AD35-E394-A2FE-25B7-71D22308A0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5794DC1-FE3C-A87A-60C7-69731C1EEB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46C953C7-0B05-070E-3359-7AC1940D045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9525"/>
            <a:ext cx="12192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726E8D9D-C627-D0FD-42DB-D3EA73496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0" name="Skupina 1059">
            <a:extLst>
              <a:ext uri="{FF2B5EF4-FFF2-40B4-BE49-F238E27FC236}">
                <a16:creationId xmlns:a16="http://schemas.microsoft.com/office/drawing/2014/main" id="{B9277C8B-987D-60A7-9A7A-676285B4D4A7}"/>
              </a:ext>
            </a:extLst>
          </p:cNvPr>
          <p:cNvGrpSpPr/>
          <p:nvPr/>
        </p:nvGrpSpPr>
        <p:grpSpPr>
          <a:xfrm>
            <a:off x="0" y="-2653"/>
            <a:ext cx="9906000" cy="6858000"/>
            <a:chOff x="0" y="9525"/>
            <a:chExt cx="9906000" cy="6838950"/>
          </a:xfrm>
        </p:grpSpPr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D08329F1-57FA-CC72-5D45-E0F26D3E07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525"/>
              <a:ext cx="9906000" cy="6838950"/>
            </a:xfrm>
            <a:prstGeom prst="rect">
              <a:avLst/>
            </a:prstGeom>
            <a:solidFill>
              <a:srgbClr val="009E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pic>
          <p:nvPicPr>
            <p:cNvPr id="1031" name="Picture 7">
              <a:extLst>
                <a:ext uri="{FF2B5EF4-FFF2-40B4-BE49-F238E27FC236}">
                  <a16:creationId xmlns:a16="http://schemas.microsoft.com/office/drawing/2014/main" id="{EF7B087B-484A-2FC1-8835-24BC88EE6F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1925" y="9525"/>
              <a:ext cx="8474075" cy="683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Rectangle 9">
            <a:extLst>
              <a:ext uri="{FF2B5EF4-FFF2-40B4-BE49-F238E27FC236}">
                <a16:creationId xmlns:a16="http://schemas.microsoft.com/office/drawing/2014/main" id="{0C37FF93-8CFB-48AC-8743-FE0E89858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5489" y="-2653"/>
            <a:ext cx="2286000" cy="687017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1" name="Skupina 1060">
            <a:extLst>
              <a:ext uri="{FF2B5EF4-FFF2-40B4-BE49-F238E27FC236}">
                <a16:creationId xmlns:a16="http://schemas.microsoft.com/office/drawing/2014/main" id="{ECD28CA6-8A06-C6E3-E8FD-60E9EABB3D1A}"/>
              </a:ext>
            </a:extLst>
          </p:cNvPr>
          <p:cNvGrpSpPr/>
          <p:nvPr/>
        </p:nvGrpSpPr>
        <p:grpSpPr>
          <a:xfrm>
            <a:off x="666750" y="654050"/>
            <a:ext cx="1524000" cy="762001"/>
            <a:chOff x="666750" y="654050"/>
            <a:chExt cx="1524000" cy="762001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6E69C003-DB27-2CD0-BE7D-4722E7CF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50" y="654050"/>
              <a:ext cx="649288" cy="600075"/>
            </a:xfrm>
            <a:custGeom>
              <a:avLst/>
              <a:gdLst>
                <a:gd name="T0" fmla="*/ 141 w 1227"/>
                <a:gd name="T1" fmla="*/ 116 h 1134"/>
                <a:gd name="T2" fmla="*/ 246 w 1227"/>
                <a:gd name="T3" fmla="*/ 103 h 1134"/>
                <a:gd name="T4" fmla="*/ 382 w 1227"/>
                <a:gd name="T5" fmla="*/ 87 h 1134"/>
                <a:gd name="T6" fmla="*/ 534 w 1227"/>
                <a:gd name="T7" fmla="*/ 70 h 1134"/>
                <a:gd name="T8" fmla="*/ 693 w 1227"/>
                <a:gd name="T9" fmla="*/ 51 h 1134"/>
                <a:gd name="T10" fmla="*/ 847 w 1227"/>
                <a:gd name="T11" fmla="*/ 33 h 1134"/>
                <a:gd name="T12" fmla="*/ 981 w 1227"/>
                <a:gd name="T13" fmla="*/ 17 h 1134"/>
                <a:gd name="T14" fmla="*/ 1086 w 1227"/>
                <a:gd name="T15" fmla="*/ 5 h 1134"/>
                <a:gd name="T16" fmla="*/ 1135 w 1227"/>
                <a:gd name="T17" fmla="*/ 0 h 1134"/>
                <a:gd name="T18" fmla="*/ 1155 w 1227"/>
                <a:gd name="T19" fmla="*/ 3 h 1134"/>
                <a:gd name="T20" fmla="*/ 1174 w 1227"/>
                <a:gd name="T21" fmla="*/ 10 h 1134"/>
                <a:gd name="T22" fmla="*/ 1189 w 1227"/>
                <a:gd name="T23" fmla="*/ 21 h 1134"/>
                <a:gd name="T24" fmla="*/ 1204 w 1227"/>
                <a:gd name="T25" fmla="*/ 37 h 1134"/>
                <a:gd name="T26" fmla="*/ 1215 w 1227"/>
                <a:gd name="T27" fmla="*/ 56 h 1134"/>
                <a:gd name="T28" fmla="*/ 1223 w 1227"/>
                <a:gd name="T29" fmla="*/ 77 h 1134"/>
                <a:gd name="T30" fmla="*/ 1227 w 1227"/>
                <a:gd name="T31" fmla="*/ 102 h 1134"/>
                <a:gd name="T32" fmla="*/ 1227 w 1227"/>
                <a:gd name="T33" fmla="*/ 663 h 1134"/>
                <a:gd name="T34" fmla="*/ 1225 w 1227"/>
                <a:gd name="T35" fmla="*/ 688 h 1134"/>
                <a:gd name="T36" fmla="*/ 1220 w 1227"/>
                <a:gd name="T37" fmla="*/ 712 h 1134"/>
                <a:gd name="T38" fmla="*/ 1210 w 1227"/>
                <a:gd name="T39" fmla="*/ 734 h 1134"/>
                <a:gd name="T40" fmla="*/ 1197 w 1227"/>
                <a:gd name="T41" fmla="*/ 752 h 1134"/>
                <a:gd name="T42" fmla="*/ 1182 w 1227"/>
                <a:gd name="T43" fmla="*/ 767 h 1134"/>
                <a:gd name="T44" fmla="*/ 1164 w 1227"/>
                <a:gd name="T45" fmla="*/ 779 h 1134"/>
                <a:gd name="T46" fmla="*/ 1145 w 1227"/>
                <a:gd name="T47" fmla="*/ 787 h 1134"/>
                <a:gd name="T48" fmla="*/ 1125 w 1227"/>
                <a:gd name="T49" fmla="*/ 788 h 1134"/>
                <a:gd name="T50" fmla="*/ 1103 w 1227"/>
                <a:gd name="T51" fmla="*/ 1134 h 1134"/>
                <a:gd name="T52" fmla="*/ 104 w 1227"/>
                <a:gd name="T53" fmla="*/ 788 h 1134"/>
                <a:gd name="T54" fmla="*/ 82 w 1227"/>
                <a:gd name="T55" fmla="*/ 787 h 1134"/>
                <a:gd name="T56" fmla="*/ 63 w 1227"/>
                <a:gd name="T57" fmla="*/ 781 h 1134"/>
                <a:gd name="T58" fmla="*/ 46 w 1227"/>
                <a:gd name="T59" fmla="*/ 771 h 1134"/>
                <a:gd name="T60" fmla="*/ 30 w 1227"/>
                <a:gd name="T61" fmla="*/ 758 h 1134"/>
                <a:gd name="T62" fmla="*/ 17 w 1227"/>
                <a:gd name="T63" fmla="*/ 744 h 1134"/>
                <a:gd name="T64" fmla="*/ 9 w 1227"/>
                <a:gd name="T65" fmla="*/ 726 h 1134"/>
                <a:gd name="T66" fmla="*/ 1 w 1227"/>
                <a:gd name="T67" fmla="*/ 706 h 1134"/>
                <a:gd name="T68" fmla="*/ 0 w 1227"/>
                <a:gd name="T69" fmla="*/ 686 h 1134"/>
                <a:gd name="T70" fmla="*/ 0 w 1227"/>
                <a:gd name="T71" fmla="*/ 225 h 1134"/>
                <a:gd name="T72" fmla="*/ 4 w 1227"/>
                <a:gd name="T73" fmla="*/ 205 h 1134"/>
                <a:gd name="T74" fmla="*/ 13 w 1227"/>
                <a:gd name="T75" fmla="*/ 185 h 1134"/>
                <a:gd name="T76" fmla="*/ 23 w 1227"/>
                <a:gd name="T77" fmla="*/ 168 h 1134"/>
                <a:gd name="T78" fmla="*/ 37 w 1227"/>
                <a:gd name="T79" fmla="*/ 152 h 1134"/>
                <a:gd name="T80" fmla="*/ 55 w 1227"/>
                <a:gd name="T81" fmla="*/ 139 h 1134"/>
                <a:gd name="T82" fmla="*/ 73 w 1227"/>
                <a:gd name="T83" fmla="*/ 129 h 1134"/>
                <a:gd name="T84" fmla="*/ 94 w 1227"/>
                <a:gd name="T85" fmla="*/ 12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7" h="1134">
                  <a:moveTo>
                    <a:pt x="104" y="120"/>
                  </a:moveTo>
                  <a:lnTo>
                    <a:pt x="141" y="116"/>
                  </a:lnTo>
                  <a:lnTo>
                    <a:pt x="189" y="110"/>
                  </a:lnTo>
                  <a:lnTo>
                    <a:pt x="246" y="103"/>
                  </a:lnTo>
                  <a:lnTo>
                    <a:pt x="311" y="96"/>
                  </a:lnTo>
                  <a:lnTo>
                    <a:pt x="382" y="87"/>
                  </a:lnTo>
                  <a:lnTo>
                    <a:pt x="456" y="79"/>
                  </a:lnTo>
                  <a:lnTo>
                    <a:pt x="534" y="70"/>
                  </a:lnTo>
                  <a:lnTo>
                    <a:pt x="613" y="60"/>
                  </a:lnTo>
                  <a:lnTo>
                    <a:pt x="693" y="51"/>
                  </a:lnTo>
                  <a:lnTo>
                    <a:pt x="772" y="41"/>
                  </a:lnTo>
                  <a:lnTo>
                    <a:pt x="847" y="33"/>
                  </a:lnTo>
                  <a:lnTo>
                    <a:pt x="917" y="24"/>
                  </a:lnTo>
                  <a:lnTo>
                    <a:pt x="981" y="17"/>
                  </a:lnTo>
                  <a:lnTo>
                    <a:pt x="1038" y="10"/>
                  </a:lnTo>
                  <a:lnTo>
                    <a:pt x="1086" y="5"/>
                  </a:lnTo>
                  <a:lnTo>
                    <a:pt x="1125" y="0"/>
                  </a:lnTo>
                  <a:lnTo>
                    <a:pt x="1135" y="0"/>
                  </a:lnTo>
                  <a:lnTo>
                    <a:pt x="1145" y="1"/>
                  </a:lnTo>
                  <a:lnTo>
                    <a:pt x="1155" y="3"/>
                  </a:lnTo>
                  <a:lnTo>
                    <a:pt x="1164" y="5"/>
                  </a:lnTo>
                  <a:lnTo>
                    <a:pt x="1174" y="10"/>
                  </a:lnTo>
                  <a:lnTo>
                    <a:pt x="1182" y="16"/>
                  </a:lnTo>
                  <a:lnTo>
                    <a:pt x="1189" y="21"/>
                  </a:lnTo>
                  <a:lnTo>
                    <a:pt x="1197" y="28"/>
                  </a:lnTo>
                  <a:lnTo>
                    <a:pt x="1204" y="37"/>
                  </a:lnTo>
                  <a:lnTo>
                    <a:pt x="1210" y="46"/>
                  </a:lnTo>
                  <a:lnTo>
                    <a:pt x="1215" y="56"/>
                  </a:lnTo>
                  <a:lnTo>
                    <a:pt x="1220" y="66"/>
                  </a:lnTo>
                  <a:lnTo>
                    <a:pt x="1223" y="77"/>
                  </a:lnTo>
                  <a:lnTo>
                    <a:pt x="1225" y="89"/>
                  </a:lnTo>
                  <a:lnTo>
                    <a:pt x="1227" y="102"/>
                  </a:lnTo>
                  <a:lnTo>
                    <a:pt x="1227" y="115"/>
                  </a:lnTo>
                  <a:lnTo>
                    <a:pt x="1227" y="663"/>
                  </a:lnTo>
                  <a:lnTo>
                    <a:pt x="1227" y="676"/>
                  </a:lnTo>
                  <a:lnTo>
                    <a:pt x="1225" y="688"/>
                  </a:lnTo>
                  <a:lnTo>
                    <a:pt x="1223" y="700"/>
                  </a:lnTo>
                  <a:lnTo>
                    <a:pt x="1220" y="712"/>
                  </a:lnTo>
                  <a:lnTo>
                    <a:pt x="1215" y="722"/>
                  </a:lnTo>
                  <a:lnTo>
                    <a:pt x="1210" y="734"/>
                  </a:lnTo>
                  <a:lnTo>
                    <a:pt x="1204" y="742"/>
                  </a:lnTo>
                  <a:lnTo>
                    <a:pt x="1197" y="752"/>
                  </a:lnTo>
                  <a:lnTo>
                    <a:pt x="1189" y="759"/>
                  </a:lnTo>
                  <a:lnTo>
                    <a:pt x="1182" y="767"/>
                  </a:lnTo>
                  <a:lnTo>
                    <a:pt x="1174" y="774"/>
                  </a:lnTo>
                  <a:lnTo>
                    <a:pt x="1164" y="779"/>
                  </a:lnTo>
                  <a:lnTo>
                    <a:pt x="1155" y="784"/>
                  </a:lnTo>
                  <a:lnTo>
                    <a:pt x="1145" y="787"/>
                  </a:lnTo>
                  <a:lnTo>
                    <a:pt x="1135" y="788"/>
                  </a:lnTo>
                  <a:lnTo>
                    <a:pt x="1125" y="788"/>
                  </a:lnTo>
                  <a:lnTo>
                    <a:pt x="1103" y="788"/>
                  </a:lnTo>
                  <a:lnTo>
                    <a:pt x="1103" y="1134"/>
                  </a:lnTo>
                  <a:lnTo>
                    <a:pt x="935" y="788"/>
                  </a:lnTo>
                  <a:lnTo>
                    <a:pt x="104" y="788"/>
                  </a:lnTo>
                  <a:lnTo>
                    <a:pt x="94" y="788"/>
                  </a:lnTo>
                  <a:lnTo>
                    <a:pt x="82" y="787"/>
                  </a:lnTo>
                  <a:lnTo>
                    <a:pt x="73" y="784"/>
                  </a:lnTo>
                  <a:lnTo>
                    <a:pt x="63" y="781"/>
                  </a:lnTo>
                  <a:lnTo>
                    <a:pt x="55" y="777"/>
                  </a:lnTo>
                  <a:lnTo>
                    <a:pt x="46" y="771"/>
                  </a:lnTo>
                  <a:lnTo>
                    <a:pt x="37" y="765"/>
                  </a:lnTo>
                  <a:lnTo>
                    <a:pt x="30" y="758"/>
                  </a:lnTo>
                  <a:lnTo>
                    <a:pt x="23" y="751"/>
                  </a:lnTo>
                  <a:lnTo>
                    <a:pt x="17" y="744"/>
                  </a:lnTo>
                  <a:lnTo>
                    <a:pt x="13" y="735"/>
                  </a:lnTo>
                  <a:lnTo>
                    <a:pt x="9" y="726"/>
                  </a:lnTo>
                  <a:lnTo>
                    <a:pt x="4" y="716"/>
                  </a:lnTo>
                  <a:lnTo>
                    <a:pt x="1" y="706"/>
                  </a:lnTo>
                  <a:lnTo>
                    <a:pt x="0" y="696"/>
                  </a:lnTo>
                  <a:lnTo>
                    <a:pt x="0" y="686"/>
                  </a:lnTo>
                  <a:lnTo>
                    <a:pt x="0" y="237"/>
                  </a:lnTo>
                  <a:lnTo>
                    <a:pt x="0" y="225"/>
                  </a:lnTo>
                  <a:lnTo>
                    <a:pt x="1" y="215"/>
                  </a:lnTo>
                  <a:lnTo>
                    <a:pt x="4" y="205"/>
                  </a:lnTo>
                  <a:lnTo>
                    <a:pt x="9" y="195"/>
                  </a:lnTo>
                  <a:lnTo>
                    <a:pt x="13" y="185"/>
                  </a:lnTo>
                  <a:lnTo>
                    <a:pt x="17" y="176"/>
                  </a:lnTo>
                  <a:lnTo>
                    <a:pt x="23" y="168"/>
                  </a:lnTo>
                  <a:lnTo>
                    <a:pt x="30" y="159"/>
                  </a:lnTo>
                  <a:lnTo>
                    <a:pt x="37" y="152"/>
                  </a:lnTo>
                  <a:lnTo>
                    <a:pt x="46" y="145"/>
                  </a:lnTo>
                  <a:lnTo>
                    <a:pt x="55" y="139"/>
                  </a:lnTo>
                  <a:lnTo>
                    <a:pt x="63" y="133"/>
                  </a:lnTo>
                  <a:lnTo>
                    <a:pt x="73" y="129"/>
                  </a:lnTo>
                  <a:lnTo>
                    <a:pt x="82" y="125"/>
                  </a:lnTo>
                  <a:lnTo>
                    <a:pt x="94" y="122"/>
                  </a:lnTo>
                  <a:lnTo>
                    <a:pt x="10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AA4E13-8F1E-EEDF-7C12-A003C0177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6350" y="1141413"/>
              <a:ext cx="914400" cy="274638"/>
            </a:xfrm>
            <a:custGeom>
              <a:avLst/>
              <a:gdLst>
                <a:gd name="T0" fmla="*/ 79 w 1728"/>
                <a:gd name="T1" fmla="*/ 357 h 519"/>
                <a:gd name="T2" fmla="*/ 16 w 1728"/>
                <a:gd name="T3" fmla="*/ 476 h 519"/>
                <a:gd name="T4" fmla="*/ 147 w 1728"/>
                <a:gd name="T5" fmla="*/ 517 h 519"/>
                <a:gd name="T6" fmla="*/ 240 w 1728"/>
                <a:gd name="T7" fmla="*/ 443 h 519"/>
                <a:gd name="T8" fmla="*/ 253 w 1728"/>
                <a:gd name="T9" fmla="*/ 364 h 519"/>
                <a:gd name="T10" fmla="*/ 147 w 1728"/>
                <a:gd name="T11" fmla="*/ 517 h 519"/>
                <a:gd name="T12" fmla="*/ 399 w 1728"/>
                <a:gd name="T13" fmla="*/ 517 h 519"/>
                <a:gd name="T14" fmla="*/ 393 w 1728"/>
                <a:gd name="T15" fmla="*/ 360 h 519"/>
                <a:gd name="T16" fmla="*/ 600 w 1728"/>
                <a:gd name="T17" fmla="*/ 518 h 519"/>
                <a:gd name="T18" fmla="*/ 567 w 1728"/>
                <a:gd name="T19" fmla="*/ 415 h 519"/>
                <a:gd name="T20" fmla="*/ 624 w 1728"/>
                <a:gd name="T21" fmla="*/ 392 h 519"/>
                <a:gd name="T22" fmla="*/ 541 w 1728"/>
                <a:gd name="T23" fmla="*/ 366 h 519"/>
                <a:gd name="T24" fmla="*/ 615 w 1728"/>
                <a:gd name="T25" fmla="*/ 465 h 519"/>
                <a:gd name="T26" fmla="*/ 527 w 1728"/>
                <a:gd name="T27" fmla="*/ 476 h 519"/>
                <a:gd name="T28" fmla="*/ 766 w 1728"/>
                <a:gd name="T29" fmla="*/ 517 h 519"/>
                <a:gd name="T30" fmla="*/ 880 w 1728"/>
                <a:gd name="T31" fmla="*/ 400 h 519"/>
                <a:gd name="T32" fmla="*/ 755 w 1728"/>
                <a:gd name="T33" fmla="*/ 504 h 519"/>
                <a:gd name="T34" fmla="*/ 900 w 1728"/>
                <a:gd name="T35" fmla="*/ 504 h 519"/>
                <a:gd name="T36" fmla="*/ 1012 w 1728"/>
                <a:gd name="T37" fmla="*/ 517 h 519"/>
                <a:gd name="T38" fmla="*/ 1032 w 1728"/>
                <a:gd name="T39" fmla="*/ 406 h 519"/>
                <a:gd name="T40" fmla="*/ 927 w 1728"/>
                <a:gd name="T41" fmla="*/ 380 h 519"/>
                <a:gd name="T42" fmla="*/ 949 w 1728"/>
                <a:gd name="T43" fmla="*/ 310 h 519"/>
                <a:gd name="T44" fmla="*/ 976 w 1728"/>
                <a:gd name="T45" fmla="*/ 340 h 519"/>
                <a:gd name="T46" fmla="*/ 1058 w 1728"/>
                <a:gd name="T47" fmla="*/ 508 h 519"/>
                <a:gd name="T48" fmla="*/ 1068 w 1728"/>
                <a:gd name="T49" fmla="*/ 354 h 519"/>
                <a:gd name="T50" fmla="*/ 1233 w 1728"/>
                <a:gd name="T51" fmla="*/ 511 h 519"/>
                <a:gd name="T52" fmla="*/ 1125 w 1728"/>
                <a:gd name="T53" fmla="*/ 357 h 519"/>
                <a:gd name="T54" fmla="*/ 1384 w 1728"/>
                <a:gd name="T55" fmla="*/ 491 h 519"/>
                <a:gd name="T56" fmla="*/ 1374 w 1728"/>
                <a:gd name="T57" fmla="*/ 374 h 519"/>
                <a:gd name="T58" fmla="*/ 1335 w 1728"/>
                <a:gd name="T59" fmla="*/ 382 h 519"/>
                <a:gd name="T60" fmla="*/ 1335 w 1728"/>
                <a:gd name="T61" fmla="*/ 448 h 519"/>
                <a:gd name="T62" fmla="*/ 1513 w 1728"/>
                <a:gd name="T63" fmla="*/ 515 h 519"/>
                <a:gd name="T64" fmla="*/ 1486 w 1728"/>
                <a:gd name="T65" fmla="*/ 351 h 519"/>
                <a:gd name="T66" fmla="*/ 1457 w 1728"/>
                <a:gd name="T67" fmla="*/ 515 h 519"/>
                <a:gd name="T68" fmla="*/ 1463 w 1728"/>
                <a:gd name="T69" fmla="*/ 383 h 519"/>
                <a:gd name="T70" fmla="*/ 1486 w 1728"/>
                <a:gd name="T71" fmla="*/ 494 h 519"/>
                <a:gd name="T72" fmla="*/ 1721 w 1728"/>
                <a:gd name="T73" fmla="*/ 356 h 519"/>
                <a:gd name="T74" fmla="*/ 1646 w 1728"/>
                <a:gd name="T75" fmla="*/ 492 h 519"/>
                <a:gd name="T76" fmla="*/ 1590 w 1728"/>
                <a:gd name="T77" fmla="*/ 360 h 519"/>
                <a:gd name="T78" fmla="*/ 69 w 1728"/>
                <a:gd name="T79" fmla="*/ 261 h 519"/>
                <a:gd name="T80" fmla="*/ 287 w 1728"/>
                <a:gd name="T81" fmla="*/ 268 h 519"/>
                <a:gd name="T82" fmla="*/ 118 w 1728"/>
                <a:gd name="T83" fmla="*/ 15 h 519"/>
                <a:gd name="T84" fmla="*/ 347 w 1728"/>
                <a:gd name="T85" fmla="*/ 271 h 519"/>
                <a:gd name="T86" fmla="*/ 593 w 1728"/>
                <a:gd name="T87" fmla="*/ 247 h 519"/>
                <a:gd name="T88" fmla="*/ 416 w 1728"/>
                <a:gd name="T89" fmla="*/ 163 h 519"/>
                <a:gd name="T90" fmla="*/ 802 w 1728"/>
                <a:gd name="T91" fmla="*/ 194 h 519"/>
                <a:gd name="T92" fmla="*/ 965 w 1728"/>
                <a:gd name="T93" fmla="*/ 37 h 519"/>
                <a:gd name="T94" fmla="*/ 791 w 1728"/>
                <a:gd name="T95" fmla="*/ 5 h 519"/>
                <a:gd name="T96" fmla="*/ 1210 w 1728"/>
                <a:gd name="T97" fmla="*/ 248 h 519"/>
                <a:gd name="T98" fmla="*/ 1251 w 1728"/>
                <a:gd name="T99" fmla="*/ 73 h 519"/>
                <a:gd name="T100" fmla="*/ 1070 w 1728"/>
                <a:gd name="T101" fmla="*/ 10 h 519"/>
                <a:gd name="T102" fmla="*/ 991 w 1728"/>
                <a:gd name="T103" fmla="*/ 171 h 519"/>
                <a:gd name="T104" fmla="*/ 1126 w 1728"/>
                <a:gd name="T105" fmla="*/ 231 h 519"/>
                <a:gd name="T106" fmla="*/ 1037 w 1728"/>
                <a:gd name="T107" fmla="*/ 117 h 519"/>
                <a:gd name="T108" fmla="*/ 1171 w 1728"/>
                <a:gd name="T109" fmla="*/ 54 h 519"/>
                <a:gd name="T110" fmla="*/ 1197 w 1728"/>
                <a:gd name="T111" fmla="*/ 196 h 519"/>
                <a:gd name="T112" fmla="*/ 1480 w 1728"/>
                <a:gd name="T113" fmla="*/ 270 h 519"/>
                <a:gd name="T114" fmla="*/ 1331 w 1728"/>
                <a:gd name="T115" fmla="*/ 1 h 519"/>
                <a:gd name="T116" fmla="*/ 1722 w 1728"/>
                <a:gd name="T117" fmla="*/ 234 h 519"/>
                <a:gd name="T118" fmla="*/ 1572 w 1728"/>
                <a:gd name="T119" fmla="*/ 115 h 519"/>
                <a:gd name="T120" fmla="*/ 1529 w 1728"/>
                <a:gd name="T121" fmla="*/ 1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28" h="519">
                  <a:moveTo>
                    <a:pt x="49" y="519"/>
                  </a:moveTo>
                  <a:lnTo>
                    <a:pt x="60" y="518"/>
                  </a:lnTo>
                  <a:lnTo>
                    <a:pt x="72" y="515"/>
                  </a:lnTo>
                  <a:lnTo>
                    <a:pt x="81" y="511"/>
                  </a:lnTo>
                  <a:lnTo>
                    <a:pt x="89" y="505"/>
                  </a:lnTo>
                  <a:lnTo>
                    <a:pt x="95" y="496"/>
                  </a:lnTo>
                  <a:lnTo>
                    <a:pt x="99" y="486"/>
                  </a:lnTo>
                  <a:lnTo>
                    <a:pt x="102" y="475"/>
                  </a:lnTo>
                  <a:lnTo>
                    <a:pt x="104" y="462"/>
                  </a:lnTo>
                  <a:lnTo>
                    <a:pt x="104" y="367"/>
                  </a:lnTo>
                  <a:lnTo>
                    <a:pt x="104" y="364"/>
                  </a:lnTo>
                  <a:lnTo>
                    <a:pt x="102" y="360"/>
                  </a:lnTo>
                  <a:lnTo>
                    <a:pt x="99" y="357"/>
                  </a:lnTo>
                  <a:lnTo>
                    <a:pt x="96" y="356"/>
                  </a:lnTo>
                  <a:lnTo>
                    <a:pt x="94" y="354"/>
                  </a:lnTo>
                  <a:lnTo>
                    <a:pt x="89" y="353"/>
                  </a:lnTo>
                  <a:lnTo>
                    <a:pt x="86" y="354"/>
                  </a:lnTo>
                  <a:lnTo>
                    <a:pt x="82" y="356"/>
                  </a:lnTo>
                  <a:lnTo>
                    <a:pt x="79" y="357"/>
                  </a:lnTo>
                  <a:lnTo>
                    <a:pt x="78" y="360"/>
                  </a:lnTo>
                  <a:lnTo>
                    <a:pt x="76" y="364"/>
                  </a:lnTo>
                  <a:lnTo>
                    <a:pt x="75" y="367"/>
                  </a:lnTo>
                  <a:lnTo>
                    <a:pt x="75" y="461"/>
                  </a:lnTo>
                  <a:lnTo>
                    <a:pt x="75" y="471"/>
                  </a:lnTo>
                  <a:lnTo>
                    <a:pt x="72" y="479"/>
                  </a:lnTo>
                  <a:lnTo>
                    <a:pt x="68" y="485"/>
                  </a:lnTo>
                  <a:lnTo>
                    <a:pt x="63" y="489"/>
                  </a:lnTo>
                  <a:lnTo>
                    <a:pt x="56" y="492"/>
                  </a:lnTo>
                  <a:lnTo>
                    <a:pt x="49" y="492"/>
                  </a:lnTo>
                  <a:lnTo>
                    <a:pt x="43" y="492"/>
                  </a:lnTo>
                  <a:lnTo>
                    <a:pt x="39" y="491"/>
                  </a:lnTo>
                  <a:lnTo>
                    <a:pt x="35" y="489"/>
                  </a:lnTo>
                  <a:lnTo>
                    <a:pt x="30" y="486"/>
                  </a:lnTo>
                  <a:lnTo>
                    <a:pt x="26" y="484"/>
                  </a:lnTo>
                  <a:lnTo>
                    <a:pt x="23" y="481"/>
                  </a:lnTo>
                  <a:lnTo>
                    <a:pt x="20" y="479"/>
                  </a:lnTo>
                  <a:lnTo>
                    <a:pt x="19" y="478"/>
                  </a:lnTo>
                  <a:lnTo>
                    <a:pt x="16" y="476"/>
                  </a:lnTo>
                  <a:lnTo>
                    <a:pt x="13" y="476"/>
                  </a:lnTo>
                  <a:lnTo>
                    <a:pt x="10" y="478"/>
                  </a:lnTo>
                  <a:lnTo>
                    <a:pt x="7" y="479"/>
                  </a:lnTo>
                  <a:lnTo>
                    <a:pt x="4" y="481"/>
                  </a:lnTo>
                  <a:lnTo>
                    <a:pt x="1" y="484"/>
                  </a:lnTo>
                  <a:lnTo>
                    <a:pt x="0" y="486"/>
                  </a:lnTo>
                  <a:lnTo>
                    <a:pt x="0" y="491"/>
                  </a:lnTo>
                  <a:lnTo>
                    <a:pt x="0" y="494"/>
                  </a:lnTo>
                  <a:lnTo>
                    <a:pt x="1" y="496"/>
                  </a:lnTo>
                  <a:lnTo>
                    <a:pt x="3" y="499"/>
                  </a:lnTo>
                  <a:lnTo>
                    <a:pt x="4" y="501"/>
                  </a:lnTo>
                  <a:lnTo>
                    <a:pt x="10" y="507"/>
                  </a:lnTo>
                  <a:lnTo>
                    <a:pt x="16" y="511"/>
                  </a:lnTo>
                  <a:lnTo>
                    <a:pt x="23" y="514"/>
                  </a:lnTo>
                  <a:lnTo>
                    <a:pt x="32" y="517"/>
                  </a:lnTo>
                  <a:lnTo>
                    <a:pt x="40" y="518"/>
                  </a:lnTo>
                  <a:lnTo>
                    <a:pt x="49" y="519"/>
                  </a:lnTo>
                  <a:close/>
                  <a:moveTo>
                    <a:pt x="147" y="517"/>
                  </a:moveTo>
                  <a:lnTo>
                    <a:pt x="147" y="517"/>
                  </a:lnTo>
                  <a:lnTo>
                    <a:pt x="243" y="517"/>
                  </a:lnTo>
                  <a:lnTo>
                    <a:pt x="246" y="517"/>
                  </a:lnTo>
                  <a:lnTo>
                    <a:pt x="249" y="515"/>
                  </a:lnTo>
                  <a:lnTo>
                    <a:pt x="252" y="512"/>
                  </a:lnTo>
                  <a:lnTo>
                    <a:pt x="253" y="511"/>
                  </a:lnTo>
                  <a:lnTo>
                    <a:pt x="255" y="508"/>
                  </a:lnTo>
                  <a:lnTo>
                    <a:pt x="255" y="504"/>
                  </a:lnTo>
                  <a:lnTo>
                    <a:pt x="255" y="501"/>
                  </a:lnTo>
                  <a:lnTo>
                    <a:pt x="253" y="498"/>
                  </a:lnTo>
                  <a:lnTo>
                    <a:pt x="252" y="495"/>
                  </a:lnTo>
                  <a:lnTo>
                    <a:pt x="249" y="494"/>
                  </a:lnTo>
                  <a:lnTo>
                    <a:pt x="246" y="492"/>
                  </a:lnTo>
                  <a:lnTo>
                    <a:pt x="243" y="491"/>
                  </a:lnTo>
                  <a:lnTo>
                    <a:pt x="161" y="491"/>
                  </a:lnTo>
                  <a:lnTo>
                    <a:pt x="161" y="448"/>
                  </a:lnTo>
                  <a:lnTo>
                    <a:pt x="230" y="448"/>
                  </a:lnTo>
                  <a:lnTo>
                    <a:pt x="235" y="448"/>
                  </a:lnTo>
                  <a:lnTo>
                    <a:pt x="238" y="446"/>
                  </a:lnTo>
                  <a:lnTo>
                    <a:pt x="240" y="443"/>
                  </a:lnTo>
                  <a:lnTo>
                    <a:pt x="242" y="442"/>
                  </a:lnTo>
                  <a:lnTo>
                    <a:pt x="243" y="439"/>
                  </a:lnTo>
                  <a:lnTo>
                    <a:pt x="243" y="435"/>
                  </a:lnTo>
                  <a:lnTo>
                    <a:pt x="243" y="432"/>
                  </a:lnTo>
                  <a:lnTo>
                    <a:pt x="242" y="429"/>
                  </a:lnTo>
                  <a:lnTo>
                    <a:pt x="240" y="426"/>
                  </a:lnTo>
                  <a:lnTo>
                    <a:pt x="238" y="425"/>
                  </a:lnTo>
                  <a:lnTo>
                    <a:pt x="235" y="423"/>
                  </a:lnTo>
                  <a:lnTo>
                    <a:pt x="230" y="422"/>
                  </a:lnTo>
                  <a:lnTo>
                    <a:pt x="161" y="422"/>
                  </a:lnTo>
                  <a:lnTo>
                    <a:pt x="161" y="380"/>
                  </a:lnTo>
                  <a:lnTo>
                    <a:pt x="242" y="380"/>
                  </a:lnTo>
                  <a:lnTo>
                    <a:pt x="245" y="380"/>
                  </a:lnTo>
                  <a:lnTo>
                    <a:pt x="248" y="379"/>
                  </a:lnTo>
                  <a:lnTo>
                    <a:pt x="251" y="376"/>
                  </a:lnTo>
                  <a:lnTo>
                    <a:pt x="252" y="374"/>
                  </a:lnTo>
                  <a:lnTo>
                    <a:pt x="253" y="372"/>
                  </a:lnTo>
                  <a:lnTo>
                    <a:pt x="255" y="367"/>
                  </a:lnTo>
                  <a:lnTo>
                    <a:pt x="253" y="364"/>
                  </a:lnTo>
                  <a:lnTo>
                    <a:pt x="252" y="362"/>
                  </a:lnTo>
                  <a:lnTo>
                    <a:pt x="251" y="359"/>
                  </a:lnTo>
                  <a:lnTo>
                    <a:pt x="248" y="356"/>
                  </a:lnTo>
                  <a:lnTo>
                    <a:pt x="245" y="356"/>
                  </a:lnTo>
                  <a:lnTo>
                    <a:pt x="242" y="354"/>
                  </a:lnTo>
                  <a:lnTo>
                    <a:pt x="147" y="354"/>
                  </a:lnTo>
                  <a:lnTo>
                    <a:pt x="143" y="356"/>
                  </a:lnTo>
                  <a:lnTo>
                    <a:pt x="140" y="357"/>
                  </a:lnTo>
                  <a:lnTo>
                    <a:pt x="137" y="359"/>
                  </a:lnTo>
                  <a:lnTo>
                    <a:pt x="134" y="362"/>
                  </a:lnTo>
                  <a:lnTo>
                    <a:pt x="132" y="366"/>
                  </a:lnTo>
                  <a:lnTo>
                    <a:pt x="132" y="369"/>
                  </a:lnTo>
                  <a:lnTo>
                    <a:pt x="132" y="502"/>
                  </a:lnTo>
                  <a:lnTo>
                    <a:pt x="132" y="507"/>
                  </a:lnTo>
                  <a:lnTo>
                    <a:pt x="134" y="509"/>
                  </a:lnTo>
                  <a:lnTo>
                    <a:pt x="137" y="512"/>
                  </a:lnTo>
                  <a:lnTo>
                    <a:pt x="140" y="515"/>
                  </a:lnTo>
                  <a:lnTo>
                    <a:pt x="143" y="517"/>
                  </a:lnTo>
                  <a:lnTo>
                    <a:pt x="147" y="517"/>
                  </a:lnTo>
                  <a:close/>
                  <a:moveTo>
                    <a:pt x="278" y="504"/>
                  </a:moveTo>
                  <a:lnTo>
                    <a:pt x="278" y="504"/>
                  </a:lnTo>
                  <a:lnTo>
                    <a:pt x="278" y="508"/>
                  </a:lnTo>
                  <a:lnTo>
                    <a:pt x="279" y="511"/>
                  </a:lnTo>
                  <a:lnTo>
                    <a:pt x="282" y="514"/>
                  </a:lnTo>
                  <a:lnTo>
                    <a:pt x="285" y="517"/>
                  </a:lnTo>
                  <a:lnTo>
                    <a:pt x="288" y="517"/>
                  </a:lnTo>
                  <a:lnTo>
                    <a:pt x="292" y="518"/>
                  </a:lnTo>
                  <a:lnTo>
                    <a:pt x="295" y="517"/>
                  </a:lnTo>
                  <a:lnTo>
                    <a:pt x="300" y="517"/>
                  </a:lnTo>
                  <a:lnTo>
                    <a:pt x="302" y="514"/>
                  </a:lnTo>
                  <a:lnTo>
                    <a:pt x="304" y="511"/>
                  </a:lnTo>
                  <a:lnTo>
                    <a:pt x="305" y="508"/>
                  </a:lnTo>
                  <a:lnTo>
                    <a:pt x="305" y="504"/>
                  </a:lnTo>
                  <a:lnTo>
                    <a:pt x="305" y="402"/>
                  </a:lnTo>
                  <a:lnTo>
                    <a:pt x="389" y="509"/>
                  </a:lnTo>
                  <a:lnTo>
                    <a:pt x="392" y="512"/>
                  </a:lnTo>
                  <a:lnTo>
                    <a:pt x="396" y="515"/>
                  </a:lnTo>
                  <a:lnTo>
                    <a:pt x="399" y="517"/>
                  </a:lnTo>
                  <a:lnTo>
                    <a:pt x="405" y="518"/>
                  </a:lnTo>
                  <a:lnTo>
                    <a:pt x="405" y="518"/>
                  </a:lnTo>
                  <a:lnTo>
                    <a:pt x="409" y="517"/>
                  </a:lnTo>
                  <a:lnTo>
                    <a:pt x="412" y="515"/>
                  </a:lnTo>
                  <a:lnTo>
                    <a:pt x="415" y="514"/>
                  </a:lnTo>
                  <a:lnTo>
                    <a:pt x="418" y="511"/>
                  </a:lnTo>
                  <a:lnTo>
                    <a:pt x="419" y="507"/>
                  </a:lnTo>
                  <a:lnTo>
                    <a:pt x="419" y="504"/>
                  </a:lnTo>
                  <a:lnTo>
                    <a:pt x="419" y="367"/>
                  </a:lnTo>
                  <a:lnTo>
                    <a:pt x="419" y="364"/>
                  </a:lnTo>
                  <a:lnTo>
                    <a:pt x="418" y="360"/>
                  </a:lnTo>
                  <a:lnTo>
                    <a:pt x="415" y="357"/>
                  </a:lnTo>
                  <a:lnTo>
                    <a:pt x="412" y="356"/>
                  </a:lnTo>
                  <a:lnTo>
                    <a:pt x="409" y="354"/>
                  </a:lnTo>
                  <a:lnTo>
                    <a:pt x="405" y="353"/>
                  </a:lnTo>
                  <a:lnTo>
                    <a:pt x="402" y="354"/>
                  </a:lnTo>
                  <a:lnTo>
                    <a:pt x="397" y="356"/>
                  </a:lnTo>
                  <a:lnTo>
                    <a:pt x="396" y="357"/>
                  </a:lnTo>
                  <a:lnTo>
                    <a:pt x="393" y="360"/>
                  </a:lnTo>
                  <a:lnTo>
                    <a:pt x="392" y="364"/>
                  </a:lnTo>
                  <a:lnTo>
                    <a:pt x="392" y="367"/>
                  </a:lnTo>
                  <a:lnTo>
                    <a:pt x="392" y="466"/>
                  </a:lnTo>
                  <a:lnTo>
                    <a:pt x="310" y="362"/>
                  </a:lnTo>
                  <a:lnTo>
                    <a:pt x="307" y="359"/>
                  </a:lnTo>
                  <a:lnTo>
                    <a:pt x="304" y="356"/>
                  </a:lnTo>
                  <a:lnTo>
                    <a:pt x="300" y="354"/>
                  </a:lnTo>
                  <a:lnTo>
                    <a:pt x="295" y="354"/>
                  </a:lnTo>
                  <a:lnTo>
                    <a:pt x="292" y="354"/>
                  </a:lnTo>
                  <a:lnTo>
                    <a:pt x="288" y="354"/>
                  </a:lnTo>
                  <a:lnTo>
                    <a:pt x="285" y="356"/>
                  </a:lnTo>
                  <a:lnTo>
                    <a:pt x="282" y="359"/>
                  </a:lnTo>
                  <a:lnTo>
                    <a:pt x="279" y="362"/>
                  </a:lnTo>
                  <a:lnTo>
                    <a:pt x="278" y="364"/>
                  </a:lnTo>
                  <a:lnTo>
                    <a:pt x="278" y="369"/>
                  </a:lnTo>
                  <a:lnTo>
                    <a:pt x="278" y="504"/>
                  </a:lnTo>
                  <a:close/>
                  <a:moveTo>
                    <a:pt x="588" y="519"/>
                  </a:moveTo>
                  <a:lnTo>
                    <a:pt x="588" y="519"/>
                  </a:lnTo>
                  <a:lnTo>
                    <a:pt x="600" y="518"/>
                  </a:lnTo>
                  <a:lnTo>
                    <a:pt x="611" y="515"/>
                  </a:lnTo>
                  <a:lnTo>
                    <a:pt x="621" y="512"/>
                  </a:lnTo>
                  <a:lnTo>
                    <a:pt x="629" y="507"/>
                  </a:lnTo>
                  <a:lnTo>
                    <a:pt x="636" y="499"/>
                  </a:lnTo>
                  <a:lnTo>
                    <a:pt x="641" y="491"/>
                  </a:lnTo>
                  <a:lnTo>
                    <a:pt x="644" y="481"/>
                  </a:lnTo>
                  <a:lnTo>
                    <a:pt x="645" y="471"/>
                  </a:lnTo>
                  <a:lnTo>
                    <a:pt x="645" y="471"/>
                  </a:lnTo>
                  <a:lnTo>
                    <a:pt x="645" y="461"/>
                  </a:lnTo>
                  <a:lnTo>
                    <a:pt x="642" y="452"/>
                  </a:lnTo>
                  <a:lnTo>
                    <a:pt x="638" y="446"/>
                  </a:lnTo>
                  <a:lnTo>
                    <a:pt x="632" y="439"/>
                  </a:lnTo>
                  <a:lnTo>
                    <a:pt x="625" y="435"/>
                  </a:lnTo>
                  <a:lnTo>
                    <a:pt x="616" y="430"/>
                  </a:lnTo>
                  <a:lnTo>
                    <a:pt x="606" y="426"/>
                  </a:lnTo>
                  <a:lnTo>
                    <a:pt x="593" y="423"/>
                  </a:lnTo>
                  <a:lnTo>
                    <a:pt x="583" y="420"/>
                  </a:lnTo>
                  <a:lnTo>
                    <a:pt x="575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59" y="409"/>
                  </a:lnTo>
                  <a:lnTo>
                    <a:pt x="556" y="406"/>
                  </a:lnTo>
                  <a:lnTo>
                    <a:pt x="556" y="402"/>
                  </a:lnTo>
                  <a:lnTo>
                    <a:pt x="554" y="397"/>
                  </a:lnTo>
                  <a:lnTo>
                    <a:pt x="554" y="397"/>
                  </a:lnTo>
                  <a:lnTo>
                    <a:pt x="556" y="392"/>
                  </a:lnTo>
                  <a:lnTo>
                    <a:pt x="557" y="387"/>
                  </a:lnTo>
                  <a:lnTo>
                    <a:pt x="562" y="383"/>
                  </a:lnTo>
                  <a:lnTo>
                    <a:pt x="567" y="380"/>
                  </a:lnTo>
                  <a:lnTo>
                    <a:pt x="573" y="379"/>
                  </a:lnTo>
                  <a:lnTo>
                    <a:pt x="582" y="377"/>
                  </a:lnTo>
                  <a:lnTo>
                    <a:pt x="590" y="379"/>
                  </a:lnTo>
                  <a:lnTo>
                    <a:pt x="600" y="380"/>
                  </a:lnTo>
                  <a:lnTo>
                    <a:pt x="609" y="384"/>
                  </a:lnTo>
                  <a:lnTo>
                    <a:pt x="619" y="390"/>
                  </a:lnTo>
                  <a:lnTo>
                    <a:pt x="621" y="390"/>
                  </a:lnTo>
                  <a:lnTo>
                    <a:pt x="622" y="392"/>
                  </a:lnTo>
                  <a:lnTo>
                    <a:pt x="624" y="392"/>
                  </a:lnTo>
                  <a:lnTo>
                    <a:pt x="626" y="392"/>
                  </a:lnTo>
                  <a:lnTo>
                    <a:pt x="629" y="392"/>
                  </a:lnTo>
                  <a:lnTo>
                    <a:pt x="632" y="390"/>
                  </a:lnTo>
                  <a:lnTo>
                    <a:pt x="635" y="389"/>
                  </a:lnTo>
                  <a:lnTo>
                    <a:pt x="638" y="386"/>
                  </a:lnTo>
                  <a:lnTo>
                    <a:pt x="639" y="382"/>
                  </a:lnTo>
                  <a:lnTo>
                    <a:pt x="639" y="379"/>
                  </a:lnTo>
                  <a:lnTo>
                    <a:pt x="639" y="374"/>
                  </a:lnTo>
                  <a:lnTo>
                    <a:pt x="638" y="372"/>
                  </a:lnTo>
                  <a:lnTo>
                    <a:pt x="635" y="369"/>
                  </a:lnTo>
                  <a:lnTo>
                    <a:pt x="634" y="367"/>
                  </a:lnTo>
                  <a:lnTo>
                    <a:pt x="622" y="362"/>
                  </a:lnTo>
                  <a:lnTo>
                    <a:pt x="609" y="356"/>
                  </a:lnTo>
                  <a:lnTo>
                    <a:pt x="596" y="353"/>
                  </a:lnTo>
                  <a:lnTo>
                    <a:pt x="582" y="353"/>
                  </a:lnTo>
                  <a:lnTo>
                    <a:pt x="570" y="353"/>
                  </a:lnTo>
                  <a:lnTo>
                    <a:pt x="559" y="356"/>
                  </a:lnTo>
                  <a:lnTo>
                    <a:pt x="550" y="360"/>
                  </a:lnTo>
                  <a:lnTo>
                    <a:pt x="541" y="366"/>
                  </a:lnTo>
                  <a:lnTo>
                    <a:pt x="536" y="372"/>
                  </a:lnTo>
                  <a:lnTo>
                    <a:pt x="530" y="380"/>
                  </a:lnTo>
                  <a:lnTo>
                    <a:pt x="527" y="389"/>
                  </a:lnTo>
                  <a:lnTo>
                    <a:pt x="526" y="399"/>
                  </a:lnTo>
                  <a:lnTo>
                    <a:pt x="526" y="400"/>
                  </a:lnTo>
                  <a:lnTo>
                    <a:pt x="527" y="410"/>
                  </a:lnTo>
                  <a:lnTo>
                    <a:pt x="530" y="419"/>
                  </a:lnTo>
                  <a:lnTo>
                    <a:pt x="534" y="426"/>
                  </a:lnTo>
                  <a:lnTo>
                    <a:pt x="540" y="432"/>
                  </a:lnTo>
                  <a:lnTo>
                    <a:pt x="549" y="438"/>
                  </a:lnTo>
                  <a:lnTo>
                    <a:pt x="557" y="442"/>
                  </a:lnTo>
                  <a:lnTo>
                    <a:pt x="567" y="445"/>
                  </a:lnTo>
                  <a:lnTo>
                    <a:pt x="580" y="448"/>
                  </a:lnTo>
                  <a:lnTo>
                    <a:pt x="590" y="451"/>
                  </a:lnTo>
                  <a:lnTo>
                    <a:pt x="599" y="453"/>
                  </a:lnTo>
                  <a:lnTo>
                    <a:pt x="605" y="456"/>
                  </a:lnTo>
                  <a:lnTo>
                    <a:pt x="611" y="459"/>
                  </a:lnTo>
                  <a:lnTo>
                    <a:pt x="613" y="462"/>
                  </a:lnTo>
                  <a:lnTo>
                    <a:pt x="615" y="465"/>
                  </a:lnTo>
                  <a:lnTo>
                    <a:pt x="616" y="469"/>
                  </a:lnTo>
                  <a:lnTo>
                    <a:pt x="616" y="474"/>
                  </a:lnTo>
                  <a:lnTo>
                    <a:pt x="616" y="474"/>
                  </a:lnTo>
                  <a:lnTo>
                    <a:pt x="616" y="479"/>
                  </a:lnTo>
                  <a:lnTo>
                    <a:pt x="613" y="484"/>
                  </a:lnTo>
                  <a:lnTo>
                    <a:pt x="609" y="488"/>
                  </a:lnTo>
                  <a:lnTo>
                    <a:pt x="603" y="491"/>
                  </a:lnTo>
                  <a:lnTo>
                    <a:pt x="596" y="494"/>
                  </a:lnTo>
                  <a:lnTo>
                    <a:pt x="588" y="494"/>
                  </a:lnTo>
                  <a:lnTo>
                    <a:pt x="576" y="492"/>
                  </a:lnTo>
                  <a:lnTo>
                    <a:pt x="564" y="489"/>
                  </a:lnTo>
                  <a:lnTo>
                    <a:pt x="553" y="484"/>
                  </a:lnTo>
                  <a:lnTo>
                    <a:pt x="543" y="476"/>
                  </a:lnTo>
                  <a:lnTo>
                    <a:pt x="541" y="476"/>
                  </a:lnTo>
                  <a:lnTo>
                    <a:pt x="539" y="475"/>
                  </a:lnTo>
                  <a:lnTo>
                    <a:pt x="537" y="475"/>
                  </a:lnTo>
                  <a:lnTo>
                    <a:pt x="534" y="475"/>
                  </a:lnTo>
                  <a:lnTo>
                    <a:pt x="531" y="475"/>
                  </a:lnTo>
                  <a:lnTo>
                    <a:pt x="527" y="476"/>
                  </a:lnTo>
                  <a:lnTo>
                    <a:pt x="524" y="478"/>
                  </a:lnTo>
                  <a:lnTo>
                    <a:pt x="523" y="481"/>
                  </a:lnTo>
                  <a:lnTo>
                    <a:pt x="521" y="484"/>
                  </a:lnTo>
                  <a:lnTo>
                    <a:pt x="521" y="488"/>
                  </a:lnTo>
                  <a:lnTo>
                    <a:pt x="521" y="491"/>
                  </a:lnTo>
                  <a:lnTo>
                    <a:pt x="523" y="494"/>
                  </a:lnTo>
                  <a:lnTo>
                    <a:pt x="524" y="496"/>
                  </a:lnTo>
                  <a:lnTo>
                    <a:pt x="527" y="498"/>
                  </a:lnTo>
                  <a:lnTo>
                    <a:pt x="540" y="508"/>
                  </a:lnTo>
                  <a:lnTo>
                    <a:pt x="556" y="514"/>
                  </a:lnTo>
                  <a:lnTo>
                    <a:pt x="572" y="518"/>
                  </a:lnTo>
                  <a:lnTo>
                    <a:pt x="588" y="519"/>
                  </a:lnTo>
                  <a:close/>
                  <a:moveTo>
                    <a:pt x="755" y="504"/>
                  </a:moveTo>
                  <a:lnTo>
                    <a:pt x="755" y="504"/>
                  </a:lnTo>
                  <a:lnTo>
                    <a:pt x="756" y="508"/>
                  </a:lnTo>
                  <a:lnTo>
                    <a:pt x="757" y="511"/>
                  </a:lnTo>
                  <a:lnTo>
                    <a:pt x="759" y="514"/>
                  </a:lnTo>
                  <a:lnTo>
                    <a:pt x="762" y="515"/>
                  </a:lnTo>
                  <a:lnTo>
                    <a:pt x="766" y="517"/>
                  </a:lnTo>
                  <a:lnTo>
                    <a:pt x="769" y="518"/>
                  </a:lnTo>
                  <a:lnTo>
                    <a:pt x="773" y="517"/>
                  </a:lnTo>
                  <a:lnTo>
                    <a:pt x="776" y="515"/>
                  </a:lnTo>
                  <a:lnTo>
                    <a:pt x="779" y="514"/>
                  </a:lnTo>
                  <a:lnTo>
                    <a:pt x="782" y="511"/>
                  </a:lnTo>
                  <a:lnTo>
                    <a:pt x="783" y="508"/>
                  </a:lnTo>
                  <a:lnTo>
                    <a:pt x="783" y="504"/>
                  </a:lnTo>
                  <a:lnTo>
                    <a:pt x="783" y="465"/>
                  </a:lnTo>
                  <a:lnTo>
                    <a:pt x="816" y="465"/>
                  </a:lnTo>
                  <a:lnTo>
                    <a:pt x="829" y="463"/>
                  </a:lnTo>
                  <a:lnTo>
                    <a:pt x="841" y="461"/>
                  </a:lnTo>
                  <a:lnTo>
                    <a:pt x="852" y="456"/>
                  </a:lnTo>
                  <a:lnTo>
                    <a:pt x="861" y="451"/>
                  </a:lnTo>
                  <a:lnTo>
                    <a:pt x="870" y="443"/>
                  </a:lnTo>
                  <a:lnTo>
                    <a:pt x="876" y="433"/>
                  </a:lnTo>
                  <a:lnTo>
                    <a:pt x="880" y="422"/>
                  </a:lnTo>
                  <a:lnTo>
                    <a:pt x="881" y="409"/>
                  </a:lnTo>
                  <a:lnTo>
                    <a:pt x="881" y="409"/>
                  </a:lnTo>
                  <a:lnTo>
                    <a:pt x="880" y="400"/>
                  </a:lnTo>
                  <a:lnTo>
                    <a:pt x="878" y="393"/>
                  </a:lnTo>
                  <a:lnTo>
                    <a:pt x="877" y="386"/>
                  </a:lnTo>
                  <a:lnTo>
                    <a:pt x="873" y="380"/>
                  </a:lnTo>
                  <a:lnTo>
                    <a:pt x="870" y="374"/>
                  </a:lnTo>
                  <a:lnTo>
                    <a:pt x="864" y="370"/>
                  </a:lnTo>
                  <a:lnTo>
                    <a:pt x="858" y="366"/>
                  </a:lnTo>
                  <a:lnTo>
                    <a:pt x="852" y="362"/>
                  </a:lnTo>
                  <a:lnTo>
                    <a:pt x="845" y="359"/>
                  </a:lnTo>
                  <a:lnTo>
                    <a:pt x="837" y="356"/>
                  </a:lnTo>
                  <a:lnTo>
                    <a:pt x="828" y="356"/>
                  </a:lnTo>
                  <a:lnTo>
                    <a:pt x="819" y="354"/>
                  </a:lnTo>
                  <a:lnTo>
                    <a:pt x="769" y="354"/>
                  </a:lnTo>
                  <a:lnTo>
                    <a:pt x="766" y="356"/>
                  </a:lnTo>
                  <a:lnTo>
                    <a:pt x="762" y="357"/>
                  </a:lnTo>
                  <a:lnTo>
                    <a:pt x="759" y="359"/>
                  </a:lnTo>
                  <a:lnTo>
                    <a:pt x="757" y="362"/>
                  </a:lnTo>
                  <a:lnTo>
                    <a:pt x="756" y="366"/>
                  </a:lnTo>
                  <a:lnTo>
                    <a:pt x="755" y="369"/>
                  </a:lnTo>
                  <a:lnTo>
                    <a:pt x="755" y="504"/>
                  </a:lnTo>
                  <a:close/>
                  <a:moveTo>
                    <a:pt x="783" y="439"/>
                  </a:moveTo>
                  <a:lnTo>
                    <a:pt x="783" y="439"/>
                  </a:lnTo>
                  <a:lnTo>
                    <a:pt x="783" y="380"/>
                  </a:lnTo>
                  <a:lnTo>
                    <a:pt x="816" y="380"/>
                  </a:lnTo>
                  <a:lnTo>
                    <a:pt x="827" y="382"/>
                  </a:lnTo>
                  <a:lnTo>
                    <a:pt x="835" y="384"/>
                  </a:lnTo>
                  <a:lnTo>
                    <a:pt x="842" y="387"/>
                  </a:lnTo>
                  <a:lnTo>
                    <a:pt x="847" y="393"/>
                  </a:lnTo>
                  <a:lnTo>
                    <a:pt x="851" y="400"/>
                  </a:lnTo>
                  <a:lnTo>
                    <a:pt x="851" y="409"/>
                  </a:lnTo>
                  <a:lnTo>
                    <a:pt x="851" y="410"/>
                  </a:lnTo>
                  <a:lnTo>
                    <a:pt x="851" y="418"/>
                  </a:lnTo>
                  <a:lnTo>
                    <a:pt x="848" y="425"/>
                  </a:lnTo>
                  <a:lnTo>
                    <a:pt x="842" y="430"/>
                  </a:lnTo>
                  <a:lnTo>
                    <a:pt x="835" y="435"/>
                  </a:lnTo>
                  <a:lnTo>
                    <a:pt x="827" y="438"/>
                  </a:lnTo>
                  <a:lnTo>
                    <a:pt x="816" y="439"/>
                  </a:lnTo>
                  <a:lnTo>
                    <a:pt x="783" y="439"/>
                  </a:lnTo>
                  <a:close/>
                  <a:moveTo>
                    <a:pt x="900" y="504"/>
                  </a:moveTo>
                  <a:lnTo>
                    <a:pt x="900" y="504"/>
                  </a:lnTo>
                  <a:lnTo>
                    <a:pt x="900" y="508"/>
                  </a:lnTo>
                  <a:lnTo>
                    <a:pt x="901" y="511"/>
                  </a:lnTo>
                  <a:lnTo>
                    <a:pt x="904" y="514"/>
                  </a:lnTo>
                  <a:lnTo>
                    <a:pt x="907" y="515"/>
                  </a:lnTo>
                  <a:lnTo>
                    <a:pt x="910" y="517"/>
                  </a:lnTo>
                  <a:lnTo>
                    <a:pt x="914" y="518"/>
                  </a:lnTo>
                  <a:lnTo>
                    <a:pt x="917" y="517"/>
                  </a:lnTo>
                  <a:lnTo>
                    <a:pt x="922" y="515"/>
                  </a:lnTo>
                  <a:lnTo>
                    <a:pt x="924" y="514"/>
                  </a:lnTo>
                  <a:lnTo>
                    <a:pt x="926" y="511"/>
                  </a:lnTo>
                  <a:lnTo>
                    <a:pt x="927" y="508"/>
                  </a:lnTo>
                  <a:lnTo>
                    <a:pt x="927" y="504"/>
                  </a:lnTo>
                  <a:lnTo>
                    <a:pt x="927" y="461"/>
                  </a:lnTo>
                  <a:lnTo>
                    <a:pt x="965" y="461"/>
                  </a:lnTo>
                  <a:lnTo>
                    <a:pt x="1004" y="511"/>
                  </a:lnTo>
                  <a:lnTo>
                    <a:pt x="1007" y="514"/>
                  </a:lnTo>
                  <a:lnTo>
                    <a:pt x="1009" y="515"/>
                  </a:lnTo>
                  <a:lnTo>
                    <a:pt x="1012" y="517"/>
                  </a:lnTo>
                  <a:lnTo>
                    <a:pt x="1018" y="518"/>
                  </a:lnTo>
                  <a:lnTo>
                    <a:pt x="1021" y="518"/>
                  </a:lnTo>
                  <a:lnTo>
                    <a:pt x="1024" y="517"/>
                  </a:lnTo>
                  <a:lnTo>
                    <a:pt x="1027" y="514"/>
                  </a:lnTo>
                  <a:lnTo>
                    <a:pt x="1030" y="511"/>
                  </a:lnTo>
                  <a:lnTo>
                    <a:pt x="1031" y="508"/>
                  </a:lnTo>
                  <a:lnTo>
                    <a:pt x="1031" y="505"/>
                  </a:lnTo>
                  <a:lnTo>
                    <a:pt x="1031" y="502"/>
                  </a:lnTo>
                  <a:lnTo>
                    <a:pt x="1030" y="499"/>
                  </a:lnTo>
                  <a:lnTo>
                    <a:pt x="1028" y="496"/>
                  </a:lnTo>
                  <a:lnTo>
                    <a:pt x="1027" y="494"/>
                  </a:lnTo>
                  <a:lnTo>
                    <a:pt x="995" y="455"/>
                  </a:lnTo>
                  <a:lnTo>
                    <a:pt x="1005" y="451"/>
                  </a:lnTo>
                  <a:lnTo>
                    <a:pt x="1015" y="445"/>
                  </a:lnTo>
                  <a:lnTo>
                    <a:pt x="1022" y="438"/>
                  </a:lnTo>
                  <a:lnTo>
                    <a:pt x="1028" y="429"/>
                  </a:lnTo>
                  <a:lnTo>
                    <a:pt x="1031" y="419"/>
                  </a:lnTo>
                  <a:lnTo>
                    <a:pt x="1032" y="406"/>
                  </a:lnTo>
                  <a:lnTo>
                    <a:pt x="1032" y="406"/>
                  </a:lnTo>
                  <a:lnTo>
                    <a:pt x="1031" y="396"/>
                  </a:lnTo>
                  <a:lnTo>
                    <a:pt x="1028" y="386"/>
                  </a:lnTo>
                  <a:lnTo>
                    <a:pt x="1024" y="377"/>
                  </a:lnTo>
                  <a:lnTo>
                    <a:pt x="1018" y="372"/>
                  </a:lnTo>
                  <a:lnTo>
                    <a:pt x="1009" y="364"/>
                  </a:lnTo>
                  <a:lnTo>
                    <a:pt x="999" y="359"/>
                  </a:lnTo>
                  <a:lnTo>
                    <a:pt x="986" y="356"/>
                  </a:lnTo>
                  <a:lnTo>
                    <a:pt x="972" y="354"/>
                  </a:lnTo>
                  <a:lnTo>
                    <a:pt x="914" y="354"/>
                  </a:lnTo>
                  <a:lnTo>
                    <a:pt x="910" y="356"/>
                  </a:lnTo>
                  <a:lnTo>
                    <a:pt x="907" y="357"/>
                  </a:lnTo>
                  <a:lnTo>
                    <a:pt x="904" y="359"/>
                  </a:lnTo>
                  <a:lnTo>
                    <a:pt x="901" y="362"/>
                  </a:lnTo>
                  <a:lnTo>
                    <a:pt x="900" y="366"/>
                  </a:lnTo>
                  <a:lnTo>
                    <a:pt x="900" y="369"/>
                  </a:lnTo>
                  <a:lnTo>
                    <a:pt x="900" y="504"/>
                  </a:lnTo>
                  <a:close/>
                  <a:moveTo>
                    <a:pt x="927" y="435"/>
                  </a:moveTo>
                  <a:lnTo>
                    <a:pt x="927" y="435"/>
                  </a:lnTo>
                  <a:lnTo>
                    <a:pt x="927" y="380"/>
                  </a:lnTo>
                  <a:lnTo>
                    <a:pt x="969" y="380"/>
                  </a:lnTo>
                  <a:lnTo>
                    <a:pt x="979" y="382"/>
                  </a:lnTo>
                  <a:lnTo>
                    <a:pt x="988" y="383"/>
                  </a:lnTo>
                  <a:lnTo>
                    <a:pt x="995" y="387"/>
                  </a:lnTo>
                  <a:lnTo>
                    <a:pt x="999" y="393"/>
                  </a:lnTo>
                  <a:lnTo>
                    <a:pt x="1002" y="399"/>
                  </a:lnTo>
                  <a:lnTo>
                    <a:pt x="1004" y="407"/>
                  </a:lnTo>
                  <a:lnTo>
                    <a:pt x="1004" y="407"/>
                  </a:lnTo>
                  <a:lnTo>
                    <a:pt x="1002" y="416"/>
                  </a:lnTo>
                  <a:lnTo>
                    <a:pt x="999" y="422"/>
                  </a:lnTo>
                  <a:lnTo>
                    <a:pt x="994" y="428"/>
                  </a:lnTo>
                  <a:lnTo>
                    <a:pt x="988" y="432"/>
                  </a:lnTo>
                  <a:lnTo>
                    <a:pt x="979" y="435"/>
                  </a:lnTo>
                  <a:lnTo>
                    <a:pt x="969" y="435"/>
                  </a:lnTo>
                  <a:lnTo>
                    <a:pt x="927" y="435"/>
                  </a:lnTo>
                  <a:close/>
                  <a:moveTo>
                    <a:pt x="965" y="323"/>
                  </a:moveTo>
                  <a:lnTo>
                    <a:pt x="965" y="323"/>
                  </a:lnTo>
                  <a:lnTo>
                    <a:pt x="952" y="313"/>
                  </a:lnTo>
                  <a:lnTo>
                    <a:pt x="949" y="310"/>
                  </a:lnTo>
                  <a:lnTo>
                    <a:pt x="946" y="308"/>
                  </a:lnTo>
                  <a:lnTo>
                    <a:pt x="943" y="307"/>
                  </a:lnTo>
                  <a:lnTo>
                    <a:pt x="940" y="307"/>
                  </a:lnTo>
                  <a:lnTo>
                    <a:pt x="937" y="306"/>
                  </a:lnTo>
                  <a:lnTo>
                    <a:pt x="935" y="306"/>
                  </a:lnTo>
                  <a:lnTo>
                    <a:pt x="933" y="307"/>
                  </a:lnTo>
                  <a:lnTo>
                    <a:pt x="930" y="307"/>
                  </a:lnTo>
                  <a:lnTo>
                    <a:pt x="929" y="308"/>
                  </a:lnTo>
                  <a:lnTo>
                    <a:pt x="929" y="311"/>
                  </a:lnTo>
                  <a:lnTo>
                    <a:pt x="929" y="314"/>
                  </a:lnTo>
                  <a:lnTo>
                    <a:pt x="932" y="316"/>
                  </a:lnTo>
                  <a:lnTo>
                    <a:pt x="946" y="336"/>
                  </a:lnTo>
                  <a:lnTo>
                    <a:pt x="949" y="339"/>
                  </a:lnTo>
                  <a:lnTo>
                    <a:pt x="952" y="340"/>
                  </a:lnTo>
                  <a:lnTo>
                    <a:pt x="956" y="341"/>
                  </a:lnTo>
                  <a:lnTo>
                    <a:pt x="960" y="343"/>
                  </a:lnTo>
                  <a:lnTo>
                    <a:pt x="968" y="343"/>
                  </a:lnTo>
                  <a:lnTo>
                    <a:pt x="972" y="341"/>
                  </a:lnTo>
                  <a:lnTo>
                    <a:pt x="976" y="340"/>
                  </a:lnTo>
                  <a:lnTo>
                    <a:pt x="979" y="339"/>
                  </a:lnTo>
                  <a:lnTo>
                    <a:pt x="982" y="336"/>
                  </a:lnTo>
                  <a:lnTo>
                    <a:pt x="996" y="316"/>
                  </a:lnTo>
                  <a:lnTo>
                    <a:pt x="999" y="314"/>
                  </a:lnTo>
                  <a:lnTo>
                    <a:pt x="999" y="311"/>
                  </a:lnTo>
                  <a:lnTo>
                    <a:pt x="999" y="308"/>
                  </a:lnTo>
                  <a:lnTo>
                    <a:pt x="998" y="307"/>
                  </a:lnTo>
                  <a:lnTo>
                    <a:pt x="996" y="307"/>
                  </a:lnTo>
                  <a:lnTo>
                    <a:pt x="994" y="306"/>
                  </a:lnTo>
                  <a:lnTo>
                    <a:pt x="991" y="306"/>
                  </a:lnTo>
                  <a:lnTo>
                    <a:pt x="988" y="307"/>
                  </a:lnTo>
                  <a:lnTo>
                    <a:pt x="985" y="307"/>
                  </a:lnTo>
                  <a:lnTo>
                    <a:pt x="982" y="308"/>
                  </a:lnTo>
                  <a:lnTo>
                    <a:pt x="979" y="310"/>
                  </a:lnTo>
                  <a:lnTo>
                    <a:pt x="976" y="313"/>
                  </a:lnTo>
                  <a:lnTo>
                    <a:pt x="965" y="323"/>
                  </a:lnTo>
                  <a:close/>
                  <a:moveTo>
                    <a:pt x="1058" y="504"/>
                  </a:moveTo>
                  <a:lnTo>
                    <a:pt x="1058" y="504"/>
                  </a:lnTo>
                  <a:lnTo>
                    <a:pt x="1058" y="508"/>
                  </a:lnTo>
                  <a:lnTo>
                    <a:pt x="1060" y="511"/>
                  </a:lnTo>
                  <a:lnTo>
                    <a:pt x="1063" y="514"/>
                  </a:lnTo>
                  <a:lnTo>
                    <a:pt x="1066" y="515"/>
                  </a:lnTo>
                  <a:lnTo>
                    <a:pt x="1068" y="517"/>
                  </a:lnTo>
                  <a:lnTo>
                    <a:pt x="1073" y="518"/>
                  </a:lnTo>
                  <a:lnTo>
                    <a:pt x="1077" y="517"/>
                  </a:lnTo>
                  <a:lnTo>
                    <a:pt x="1080" y="515"/>
                  </a:lnTo>
                  <a:lnTo>
                    <a:pt x="1083" y="514"/>
                  </a:lnTo>
                  <a:lnTo>
                    <a:pt x="1086" y="511"/>
                  </a:lnTo>
                  <a:lnTo>
                    <a:pt x="1087" y="508"/>
                  </a:lnTo>
                  <a:lnTo>
                    <a:pt x="1087" y="504"/>
                  </a:lnTo>
                  <a:lnTo>
                    <a:pt x="1087" y="367"/>
                  </a:lnTo>
                  <a:lnTo>
                    <a:pt x="1087" y="364"/>
                  </a:lnTo>
                  <a:lnTo>
                    <a:pt x="1086" y="360"/>
                  </a:lnTo>
                  <a:lnTo>
                    <a:pt x="1083" y="357"/>
                  </a:lnTo>
                  <a:lnTo>
                    <a:pt x="1080" y="356"/>
                  </a:lnTo>
                  <a:lnTo>
                    <a:pt x="1077" y="354"/>
                  </a:lnTo>
                  <a:lnTo>
                    <a:pt x="1073" y="353"/>
                  </a:lnTo>
                  <a:lnTo>
                    <a:pt x="1068" y="354"/>
                  </a:lnTo>
                  <a:lnTo>
                    <a:pt x="1066" y="356"/>
                  </a:lnTo>
                  <a:lnTo>
                    <a:pt x="1063" y="357"/>
                  </a:lnTo>
                  <a:lnTo>
                    <a:pt x="1060" y="360"/>
                  </a:lnTo>
                  <a:lnTo>
                    <a:pt x="1058" y="364"/>
                  </a:lnTo>
                  <a:lnTo>
                    <a:pt x="1058" y="367"/>
                  </a:lnTo>
                  <a:lnTo>
                    <a:pt x="1058" y="504"/>
                  </a:lnTo>
                  <a:close/>
                  <a:moveTo>
                    <a:pt x="1120" y="502"/>
                  </a:moveTo>
                  <a:lnTo>
                    <a:pt x="1120" y="502"/>
                  </a:lnTo>
                  <a:lnTo>
                    <a:pt x="1120" y="507"/>
                  </a:lnTo>
                  <a:lnTo>
                    <a:pt x="1122" y="509"/>
                  </a:lnTo>
                  <a:lnTo>
                    <a:pt x="1125" y="512"/>
                  </a:lnTo>
                  <a:lnTo>
                    <a:pt x="1128" y="515"/>
                  </a:lnTo>
                  <a:lnTo>
                    <a:pt x="1130" y="517"/>
                  </a:lnTo>
                  <a:lnTo>
                    <a:pt x="1135" y="517"/>
                  </a:lnTo>
                  <a:lnTo>
                    <a:pt x="1223" y="517"/>
                  </a:lnTo>
                  <a:lnTo>
                    <a:pt x="1225" y="517"/>
                  </a:lnTo>
                  <a:lnTo>
                    <a:pt x="1228" y="515"/>
                  </a:lnTo>
                  <a:lnTo>
                    <a:pt x="1231" y="512"/>
                  </a:lnTo>
                  <a:lnTo>
                    <a:pt x="1233" y="511"/>
                  </a:lnTo>
                  <a:lnTo>
                    <a:pt x="1234" y="507"/>
                  </a:lnTo>
                  <a:lnTo>
                    <a:pt x="1236" y="504"/>
                  </a:lnTo>
                  <a:lnTo>
                    <a:pt x="1234" y="501"/>
                  </a:lnTo>
                  <a:lnTo>
                    <a:pt x="1233" y="496"/>
                  </a:lnTo>
                  <a:lnTo>
                    <a:pt x="1231" y="495"/>
                  </a:lnTo>
                  <a:lnTo>
                    <a:pt x="1228" y="492"/>
                  </a:lnTo>
                  <a:lnTo>
                    <a:pt x="1225" y="491"/>
                  </a:lnTo>
                  <a:lnTo>
                    <a:pt x="1223" y="491"/>
                  </a:lnTo>
                  <a:lnTo>
                    <a:pt x="1149" y="491"/>
                  </a:lnTo>
                  <a:lnTo>
                    <a:pt x="1149" y="367"/>
                  </a:lnTo>
                  <a:lnTo>
                    <a:pt x="1148" y="364"/>
                  </a:lnTo>
                  <a:lnTo>
                    <a:pt x="1146" y="360"/>
                  </a:lnTo>
                  <a:lnTo>
                    <a:pt x="1145" y="357"/>
                  </a:lnTo>
                  <a:lnTo>
                    <a:pt x="1142" y="356"/>
                  </a:lnTo>
                  <a:lnTo>
                    <a:pt x="1138" y="354"/>
                  </a:lnTo>
                  <a:lnTo>
                    <a:pt x="1135" y="353"/>
                  </a:lnTo>
                  <a:lnTo>
                    <a:pt x="1130" y="354"/>
                  </a:lnTo>
                  <a:lnTo>
                    <a:pt x="1128" y="356"/>
                  </a:lnTo>
                  <a:lnTo>
                    <a:pt x="1125" y="357"/>
                  </a:lnTo>
                  <a:lnTo>
                    <a:pt x="1122" y="360"/>
                  </a:lnTo>
                  <a:lnTo>
                    <a:pt x="1120" y="364"/>
                  </a:lnTo>
                  <a:lnTo>
                    <a:pt x="1120" y="367"/>
                  </a:lnTo>
                  <a:lnTo>
                    <a:pt x="1120" y="502"/>
                  </a:lnTo>
                  <a:close/>
                  <a:moveTo>
                    <a:pt x="1253" y="502"/>
                  </a:moveTo>
                  <a:lnTo>
                    <a:pt x="1253" y="502"/>
                  </a:lnTo>
                  <a:lnTo>
                    <a:pt x="1254" y="507"/>
                  </a:lnTo>
                  <a:lnTo>
                    <a:pt x="1256" y="509"/>
                  </a:lnTo>
                  <a:lnTo>
                    <a:pt x="1257" y="512"/>
                  </a:lnTo>
                  <a:lnTo>
                    <a:pt x="1260" y="515"/>
                  </a:lnTo>
                  <a:lnTo>
                    <a:pt x="1264" y="517"/>
                  </a:lnTo>
                  <a:lnTo>
                    <a:pt x="1267" y="517"/>
                  </a:lnTo>
                  <a:lnTo>
                    <a:pt x="1328" y="517"/>
                  </a:lnTo>
                  <a:lnTo>
                    <a:pt x="1341" y="517"/>
                  </a:lnTo>
                  <a:lnTo>
                    <a:pt x="1354" y="514"/>
                  </a:lnTo>
                  <a:lnTo>
                    <a:pt x="1364" y="511"/>
                  </a:lnTo>
                  <a:lnTo>
                    <a:pt x="1372" y="505"/>
                  </a:lnTo>
                  <a:lnTo>
                    <a:pt x="1380" y="499"/>
                  </a:lnTo>
                  <a:lnTo>
                    <a:pt x="1384" y="491"/>
                  </a:lnTo>
                  <a:lnTo>
                    <a:pt x="1387" y="482"/>
                  </a:lnTo>
                  <a:lnTo>
                    <a:pt x="1388" y="472"/>
                  </a:lnTo>
                  <a:lnTo>
                    <a:pt x="1388" y="472"/>
                  </a:lnTo>
                  <a:lnTo>
                    <a:pt x="1387" y="462"/>
                  </a:lnTo>
                  <a:lnTo>
                    <a:pt x="1384" y="453"/>
                  </a:lnTo>
                  <a:lnTo>
                    <a:pt x="1380" y="446"/>
                  </a:lnTo>
                  <a:lnTo>
                    <a:pt x="1372" y="440"/>
                  </a:lnTo>
                  <a:lnTo>
                    <a:pt x="1365" y="436"/>
                  </a:lnTo>
                  <a:lnTo>
                    <a:pt x="1356" y="432"/>
                  </a:lnTo>
                  <a:lnTo>
                    <a:pt x="1362" y="429"/>
                  </a:lnTo>
                  <a:lnTo>
                    <a:pt x="1368" y="425"/>
                  </a:lnTo>
                  <a:lnTo>
                    <a:pt x="1372" y="419"/>
                  </a:lnTo>
                  <a:lnTo>
                    <a:pt x="1377" y="413"/>
                  </a:lnTo>
                  <a:lnTo>
                    <a:pt x="1378" y="406"/>
                  </a:lnTo>
                  <a:lnTo>
                    <a:pt x="1380" y="396"/>
                  </a:lnTo>
                  <a:lnTo>
                    <a:pt x="1380" y="396"/>
                  </a:lnTo>
                  <a:lnTo>
                    <a:pt x="1378" y="389"/>
                  </a:lnTo>
                  <a:lnTo>
                    <a:pt x="1377" y="382"/>
                  </a:lnTo>
                  <a:lnTo>
                    <a:pt x="1374" y="374"/>
                  </a:lnTo>
                  <a:lnTo>
                    <a:pt x="1368" y="369"/>
                  </a:lnTo>
                  <a:lnTo>
                    <a:pt x="1361" y="363"/>
                  </a:lnTo>
                  <a:lnTo>
                    <a:pt x="1351" y="359"/>
                  </a:lnTo>
                  <a:lnTo>
                    <a:pt x="1339" y="356"/>
                  </a:lnTo>
                  <a:lnTo>
                    <a:pt x="1326" y="354"/>
                  </a:lnTo>
                  <a:lnTo>
                    <a:pt x="1267" y="354"/>
                  </a:lnTo>
                  <a:lnTo>
                    <a:pt x="1264" y="356"/>
                  </a:lnTo>
                  <a:lnTo>
                    <a:pt x="1260" y="357"/>
                  </a:lnTo>
                  <a:lnTo>
                    <a:pt x="1257" y="359"/>
                  </a:lnTo>
                  <a:lnTo>
                    <a:pt x="1256" y="362"/>
                  </a:lnTo>
                  <a:lnTo>
                    <a:pt x="1254" y="366"/>
                  </a:lnTo>
                  <a:lnTo>
                    <a:pt x="1253" y="369"/>
                  </a:lnTo>
                  <a:lnTo>
                    <a:pt x="1253" y="502"/>
                  </a:lnTo>
                  <a:close/>
                  <a:moveTo>
                    <a:pt x="1282" y="423"/>
                  </a:moveTo>
                  <a:lnTo>
                    <a:pt x="1282" y="423"/>
                  </a:lnTo>
                  <a:lnTo>
                    <a:pt x="1282" y="380"/>
                  </a:lnTo>
                  <a:lnTo>
                    <a:pt x="1322" y="380"/>
                  </a:lnTo>
                  <a:lnTo>
                    <a:pt x="1329" y="380"/>
                  </a:lnTo>
                  <a:lnTo>
                    <a:pt x="1335" y="382"/>
                  </a:lnTo>
                  <a:lnTo>
                    <a:pt x="1339" y="383"/>
                  </a:lnTo>
                  <a:lnTo>
                    <a:pt x="1344" y="386"/>
                  </a:lnTo>
                  <a:lnTo>
                    <a:pt x="1346" y="389"/>
                  </a:lnTo>
                  <a:lnTo>
                    <a:pt x="1349" y="392"/>
                  </a:lnTo>
                  <a:lnTo>
                    <a:pt x="1351" y="396"/>
                  </a:lnTo>
                  <a:lnTo>
                    <a:pt x="1351" y="400"/>
                  </a:lnTo>
                  <a:lnTo>
                    <a:pt x="1351" y="400"/>
                  </a:lnTo>
                  <a:lnTo>
                    <a:pt x="1349" y="407"/>
                  </a:lnTo>
                  <a:lnTo>
                    <a:pt x="1346" y="413"/>
                  </a:lnTo>
                  <a:lnTo>
                    <a:pt x="1342" y="418"/>
                  </a:lnTo>
                  <a:lnTo>
                    <a:pt x="1336" y="420"/>
                  </a:lnTo>
                  <a:lnTo>
                    <a:pt x="1329" y="422"/>
                  </a:lnTo>
                  <a:lnTo>
                    <a:pt x="1320" y="423"/>
                  </a:lnTo>
                  <a:lnTo>
                    <a:pt x="1282" y="423"/>
                  </a:lnTo>
                  <a:close/>
                  <a:moveTo>
                    <a:pt x="1282" y="491"/>
                  </a:moveTo>
                  <a:lnTo>
                    <a:pt x="1282" y="491"/>
                  </a:lnTo>
                  <a:lnTo>
                    <a:pt x="1282" y="448"/>
                  </a:lnTo>
                  <a:lnTo>
                    <a:pt x="1326" y="448"/>
                  </a:lnTo>
                  <a:lnTo>
                    <a:pt x="1335" y="448"/>
                  </a:lnTo>
                  <a:lnTo>
                    <a:pt x="1341" y="449"/>
                  </a:lnTo>
                  <a:lnTo>
                    <a:pt x="1346" y="451"/>
                  </a:lnTo>
                  <a:lnTo>
                    <a:pt x="1352" y="453"/>
                  </a:lnTo>
                  <a:lnTo>
                    <a:pt x="1355" y="456"/>
                  </a:lnTo>
                  <a:lnTo>
                    <a:pt x="1358" y="459"/>
                  </a:lnTo>
                  <a:lnTo>
                    <a:pt x="1359" y="463"/>
                  </a:lnTo>
                  <a:lnTo>
                    <a:pt x="1359" y="469"/>
                  </a:lnTo>
                  <a:lnTo>
                    <a:pt x="1359" y="469"/>
                  </a:lnTo>
                  <a:lnTo>
                    <a:pt x="1359" y="476"/>
                  </a:lnTo>
                  <a:lnTo>
                    <a:pt x="1356" y="482"/>
                  </a:lnTo>
                  <a:lnTo>
                    <a:pt x="1352" y="486"/>
                  </a:lnTo>
                  <a:lnTo>
                    <a:pt x="1345" y="489"/>
                  </a:lnTo>
                  <a:lnTo>
                    <a:pt x="1338" y="491"/>
                  </a:lnTo>
                  <a:lnTo>
                    <a:pt x="1329" y="491"/>
                  </a:lnTo>
                  <a:lnTo>
                    <a:pt x="1282" y="491"/>
                  </a:lnTo>
                  <a:close/>
                  <a:moveTo>
                    <a:pt x="1486" y="519"/>
                  </a:moveTo>
                  <a:lnTo>
                    <a:pt x="1486" y="519"/>
                  </a:lnTo>
                  <a:lnTo>
                    <a:pt x="1500" y="518"/>
                  </a:lnTo>
                  <a:lnTo>
                    <a:pt x="1513" y="515"/>
                  </a:lnTo>
                  <a:lnTo>
                    <a:pt x="1526" y="509"/>
                  </a:lnTo>
                  <a:lnTo>
                    <a:pt x="1538" y="504"/>
                  </a:lnTo>
                  <a:lnTo>
                    <a:pt x="1547" y="495"/>
                  </a:lnTo>
                  <a:lnTo>
                    <a:pt x="1555" y="485"/>
                  </a:lnTo>
                  <a:lnTo>
                    <a:pt x="1562" y="474"/>
                  </a:lnTo>
                  <a:lnTo>
                    <a:pt x="1567" y="462"/>
                  </a:lnTo>
                  <a:lnTo>
                    <a:pt x="1570" y="449"/>
                  </a:lnTo>
                  <a:lnTo>
                    <a:pt x="1571" y="436"/>
                  </a:lnTo>
                  <a:lnTo>
                    <a:pt x="1571" y="435"/>
                  </a:lnTo>
                  <a:lnTo>
                    <a:pt x="1570" y="422"/>
                  </a:lnTo>
                  <a:lnTo>
                    <a:pt x="1567" y="409"/>
                  </a:lnTo>
                  <a:lnTo>
                    <a:pt x="1562" y="397"/>
                  </a:lnTo>
                  <a:lnTo>
                    <a:pt x="1555" y="386"/>
                  </a:lnTo>
                  <a:lnTo>
                    <a:pt x="1547" y="376"/>
                  </a:lnTo>
                  <a:lnTo>
                    <a:pt x="1538" y="369"/>
                  </a:lnTo>
                  <a:lnTo>
                    <a:pt x="1526" y="362"/>
                  </a:lnTo>
                  <a:lnTo>
                    <a:pt x="1513" y="356"/>
                  </a:lnTo>
                  <a:lnTo>
                    <a:pt x="1500" y="353"/>
                  </a:lnTo>
                  <a:lnTo>
                    <a:pt x="1486" y="351"/>
                  </a:lnTo>
                  <a:lnTo>
                    <a:pt x="1472" y="353"/>
                  </a:lnTo>
                  <a:lnTo>
                    <a:pt x="1459" y="356"/>
                  </a:lnTo>
                  <a:lnTo>
                    <a:pt x="1446" y="362"/>
                  </a:lnTo>
                  <a:lnTo>
                    <a:pt x="1434" y="369"/>
                  </a:lnTo>
                  <a:lnTo>
                    <a:pt x="1424" y="377"/>
                  </a:lnTo>
                  <a:lnTo>
                    <a:pt x="1417" y="386"/>
                  </a:lnTo>
                  <a:lnTo>
                    <a:pt x="1410" y="397"/>
                  </a:lnTo>
                  <a:lnTo>
                    <a:pt x="1405" y="409"/>
                  </a:lnTo>
                  <a:lnTo>
                    <a:pt x="1403" y="422"/>
                  </a:lnTo>
                  <a:lnTo>
                    <a:pt x="1401" y="436"/>
                  </a:lnTo>
                  <a:lnTo>
                    <a:pt x="1401" y="436"/>
                  </a:lnTo>
                  <a:lnTo>
                    <a:pt x="1403" y="449"/>
                  </a:lnTo>
                  <a:lnTo>
                    <a:pt x="1405" y="462"/>
                  </a:lnTo>
                  <a:lnTo>
                    <a:pt x="1410" y="474"/>
                  </a:lnTo>
                  <a:lnTo>
                    <a:pt x="1417" y="485"/>
                  </a:lnTo>
                  <a:lnTo>
                    <a:pt x="1424" y="495"/>
                  </a:lnTo>
                  <a:lnTo>
                    <a:pt x="1434" y="504"/>
                  </a:lnTo>
                  <a:lnTo>
                    <a:pt x="1446" y="509"/>
                  </a:lnTo>
                  <a:lnTo>
                    <a:pt x="1457" y="515"/>
                  </a:lnTo>
                  <a:lnTo>
                    <a:pt x="1472" y="518"/>
                  </a:lnTo>
                  <a:lnTo>
                    <a:pt x="1486" y="519"/>
                  </a:lnTo>
                  <a:close/>
                  <a:moveTo>
                    <a:pt x="1486" y="494"/>
                  </a:moveTo>
                  <a:lnTo>
                    <a:pt x="1486" y="494"/>
                  </a:lnTo>
                  <a:lnTo>
                    <a:pt x="1475" y="492"/>
                  </a:lnTo>
                  <a:lnTo>
                    <a:pt x="1464" y="488"/>
                  </a:lnTo>
                  <a:lnTo>
                    <a:pt x="1454" y="484"/>
                  </a:lnTo>
                  <a:lnTo>
                    <a:pt x="1446" y="476"/>
                  </a:lnTo>
                  <a:lnTo>
                    <a:pt x="1440" y="468"/>
                  </a:lnTo>
                  <a:lnTo>
                    <a:pt x="1436" y="458"/>
                  </a:lnTo>
                  <a:lnTo>
                    <a:pt x="1431" y="448"/>
                  </a:lnTo>
                  <a:lnTo>
                    <a:pt x="1431" y="436"/>
                  </a:lnTo>
                  <a:lnTo>
                    <a:pt x="1431" y="435"/>
                  </a:lnTo>
                  <a:lnTo>
                    <a:pt x="1431" y="423"/>
                  </a:lnTo>
                  <a:lnTo>
                    <a:pt x="1434" y="413"/>
                  </a:lnTo>
                  <a:lnTo>
                    <a:pt x="1440" y="403"/>
                  </a:lnTo>
                  <a:lnTo>
                    <a:pt x="1446" y="395"/>
                  </a:lnTo>
                  <a:lnTo>
                    <a:pt x="1454" y="387"/>
                  </a:lnTo>
                  <a:lnTo>
                    <a:pt x="1463" y="383"/>
                  </a:lnTo>
                  <a:lnTo>
                    <a:pt x="1475" y="379"/>
                  </a:lnTo>
                  <a:lnTo>
                    <a:pt x="1486" y="379"/>
                  </a:lnTo>
                  <a:lnTo>
                    <a:pt x="1498" y="379"/>
                  </a:lnTo>
                  <a:lnTo>
                    <a:pt x="1508" y="383"/>
                  </a:lnTo>
                  <a:lnTo>
                    <a:pt x="1518" y="387"/>
                  </a:lnTo>
                  <a:lnTo>
                    <a:pt x="1525" y="395"/>
                  </a:lnTo>
                  <a:lnTo>
                    <a:pt x="1532" y="403"/>
                  </a:lnTo>
                  <a:lnTo>
                    <a:pt x="1536" y="413"/>
                  </a:lnTo>
                  <a:lnTo>
                    <a:pt x="1539" y="425"/>
                  </a:lnTo>
                  <a:lnTo>
                    <a:pt x="1541" y="436"/>
                  </a:lnTo>
                  <a:lnTo>
                    <a:pt x="1541" y="436"/>
                  </a:lnTo>
                  <a:lnTo>
                    <a:pt x="1539" y="448"/>
                  </a:lnTo>
                  <a:lnTo>
                    <a:pt x="1536" y="458"/>
                  </a:lnTo>
                  <a:lnTo>
                    <a:pt x="1532" y="468"/>
                  </a:lnTo>
                  <a:lnTo>
                    <a:pt x="1525" y="476"/>
                  </a:lnTo>
                  <a:lnTo>
                    <a:pt x="1518" y="484"/>
                  </a:lnTo>
                  <a:lnTo>
                    <a:pt x="1508" y="488"/>
                  </a:lnTo>
                  <a:lnTo>
                    <a:pt x="1498" y="492"/>
                  </a:lnTo>
                  <a:lnTo>
                    <a:pt x="1486" y="494"/>
                  </a:lnTo>
                  <a:close/>
                  <a:moveTo>
                    <a:pt x="1657" y="519"/>
                  </a:moveTo>
                  <a:lnTo>
                    <a:pt x="1657" y="519"/>
                  </a:lnTo>
                  <a:lnTo>
                    <a:pt x="1673" y="518"/>
                  </a:lnTo>
                  <a:lnTo>
                    <a:pt x="1686" y="515"/>
                  </a:lnTo>
                  <a:lnTo>
                    <a:pt x="1692" y="512"/>
                  </a:lnTo>
                  <a:lnTo>
                    <a:pt x="1698" y="509"/>
                  </a:lnTo>
                  <a:lnTo>
                    <a:pt x="1704" y="505"/>
                  </a:lnTo>
                  <a:lnTo>
                    <a:pt x="1708" y="501"/>
                  </a:lnTo>
                  <a:lnTo>
                    <a:pt x="1712" y="496"/>
                  </a:lnTo>
                  <a:lnTo>
                    <a:pt x="1716" y="491"/>
                  </a:lnTo>
                  <a:lnTo>
                    <a:pt x="1719" y="485"/>
                  </a:lnTo>
                  <a:lnTo>
                    <a:pt x="1722" y="478"/>
                  </a:lnTo>
                  <a:lnTo>
                    <a:pt x="1727" y="463"/>
                  </a:lnTo>
                  <a:lnTo>
                    <a:pt x="1727" y="446"/>
                  </a:lnTo>
                  <a:lnTo>
                    <a:pt x="1727" y="367"/>
                  </a:lnTo>
                  <a:lnTo>
                    <a:pt x="1727" y="364"/>
                  </a:lnTo>
                  <a:lnTo>
                    <a:pt x="1725" y="360"/>
                  </a:lnTo>
                  <a:lnTo>
                    <a:pt x="1724" y="357"/>
                  </a:lnTo>
                  <a:lnTo>
                    <a:pt x="1721" y="356"/>
                  </a:lnTo>
                  <a:lnTo>
                    <a:pt x="1716" y="354"/>
                  </a:lnTo>
                  <a:lnTo>
                    <a:pt x="1714" y="353"/>
                  </a:lnTo>
                  <a:lnTo>
                    <a:pt x="1709" y="354"/>
                  </a:lnTo>
                  <a:lnTo>
                    <a:pt x="1706" y="356"/>
                  </a:lnTo>
                  <a:lnTo>
                    <a:pt x="1704" y="357"/>
                  </a:lnTo>
                  <a:lnTo>
                    <a:pt x="1701" y="360"/>
                  </a:lnTo>
                  <a:lnTo>
                    <a:pt x="1699" y="364"/>
                  </a:lnTo>
                  <a:lnTo>
                    <a:pt x="1699" y="367"/>
                  </a:lnTo>
                  <a:lnTo>
                    <a:pt x="1699" y="448"/>
                  </a:lnTo>
                  <a:lnTo>
                    <a:pt x="1698" y="462"/>
                  </a:lnTo>
                  <a:lnTo>
                    <a:pt x="1693" y="474"/>
                  </a:lnTo>
                  <a:lnTo>
                    <a:pt x="1691" y="478"/>
                  </a:lnTo>
                  <a:lnTo>
                    <a:pt x="1688" y="482"/>
                  </a:lnTo>
                  <a:lnTo>
                    <a:pt x="1683" y="485"/>
                  </a:lnTo>
                  <a:lnTo>
                    <a:pt x="1679" y="488"/>
                  </a:lnTo>
                  <a:lnTo>
                    <a:pt x="1669" y="492"/>
                  </a:lnTo>
                  <a:lnTo>
                    <a:pt x="1657" y="492"/>
                  </a:lnTo>
                  <a:lnTo>
                    <a:pt x="1652" y="492"/>
                  </a:lnTo>
                  <a:lnTo>
                    <a:pt x="1646" y="492"/>
                  </a:lnTo>
                  <a:lnTo>
                    <a:pt x="1640" y="489"/>
                  </a:lnTo>
                  <a:lnTo>
                    <a:pt x="1636" y="488"/>
                  </a:lnTo>
                  <a:lnTo>
                    <a:pt x="1632" y="485"/>
                  </a:lnTo>
                  <a:lnTo>
                    <a:pt x="1627" y="481"/>
                  </a:lnTo>
                  <a:lnTo>
                    <a:pt x="1624" y="476"/>
                  </a:lnTo>
                  <a:lnTo>
                    <a:pt x="1621" y="472"/>
                  </a:lnTo>
                  <a:lnTo>
                    <a:pt x="1619" y="461"/>
                  </a:lnTo>
                  <a:lnTo>
                    <a:pt x="1617" y="446"/>
                  </a:lnTo>
                  <a:lnTo>
                    <a:pt x="1617" y="367"/>
                  </a:lnTo>
                  <a:lnTo>
                    <a:pt x="1616" y="364"/>
                  </a:lnTo>
                  <a:lnTo>
                    <a:pt x="1614" y="360"/>
                  </a:lnTo>
                  <a:lnTo>
                    <a:pt x="1613" y="357"/>
                  </a:lnTo>
                  <a:lnTo>
                    <a:pt x="1610" y="356"/>
                  </a:lnTo>
                  <a:lnTo>
                    <a:pt x="1607" y="354"/>
                  </a:lnTo>
                  <a:lnTo>
                    <a:pt x="1603" y="353"/>
                  </a:lnTo>
                  <a:lnTo>
                    <a:pt x="1598" y="354"/>
                  </a:lnTo>
                  <a:lnTo>
                    <a:pt x="1596" y="356"/>
                  </a:lnTo>
                  <a:lnTo>
                    <a:pt x="1593" y="357"/>
                  </a:lnTo>
                  <a:lnTo>
                    <a:pt x="1590" y="360"/>
                  </a:lnTo>
                  <a:lnTo>
                    <a:pt x="1588" y="364"/>
                  </a:lnTo>
                  <a:lnTo>
                    <a:pt x="1588" y="367"/>
                  </a:lnTo>
                  <a:lnTo>
                    <a:pt x="1588" y="448"/>
                  </a:lnTo>
                  <a:lnTo>
                    <a:pt x="1590" y="465"/>
                  </a:lnTo>
                  <a:lnTo>
                    <a:pt x="1593" y="479"/>
                  </a:lnTo>
                  <a:lnTo>
                    <a:pt x="1596" y="485"/>
                  </a:lnTo>
                  <a:lnTo>
                    <a:pt x="1598" y="491"/>
                  </a:lnTo>
                  <a:lnTo>
                    <a:pt x="1603" y="496"/>
                  </a:lnTo>
                  <a:lnTo>
                    <a:pt x="1607" y="501"/>
                  </a:lnTo>
                  <a:lnTo>
                    <a:pt x="1611" y="505"/>
                  </a:lnTo>
                  <a:lnTo>
                    <a:pt x="1617" y="509"/>
                  </a:lnTo>
                  <a:lnTo>
                    <a:pt x="1623" y="512"/>
                  </a:lnTo>
                  <a:lnTo>
                    <a:pt x="1629" y="515"/>
                  </a:lnTo>
                  <a:lnTo>
                    <a:pt x="1642" y="518"/>
                  </a:lnTo>
                  <a:lnTo>
                    <a:pt x="1657" y="519"/>
                  </a:lnTo>
                  <a:close/>
                  <a:moveTo>
                    <a:pt x="66" y="250"/>
                  </a:moveTo>
                  <a:lnTo>
                    <a:pt x="66" y="250"/>
                  </a:lnTo>
                  <a:lnTo>
                    <a:pt x="66" y="255"/>
                  </a:lnTo>
                  <a:lnTo>
                    <a:pt x="69" y="261"/>
                  </a:lnTo>
                  <a:lnTo>
                    <a:pt x="72" y="265"/>
                  </a:lnTo>
                  <a:lnTo>
                    <a:pt x="78" y="268"/>
                  </a:lnTo>
                  <a:lnTo>
                    <a:pt x="82" y="271"/>
                  </a:lnTo>
                  <a:lnTo>
                    <a:pt x="89" y="271"/>
                  </a:lnTo>
                  <a:lnTo>
                    <a:pt x="95" y="271"/>
                  </a:lnTo>
                  <a:lnTo>
                    <a:pt x="101" y="268"/>
                  </a:lnTo>
                  <a:lnTo>
                    <a:pt x="105" y="265"/>
                  </a:lnTo>
                  <a:lnTo>
                    <a:pt x="109" y="261"/>
                  </a:lnTo>
                  <a:lnTo>
                    <a:pt x="111" y="255"/>
                  </a:lnTo>
                  <a:lnTo>
                    <a:pt x="112" y="250"/>
                  </a:lnTo>
                  <a:lnTo>
                    <a:pt x="112" y="80"/>
                  </a:lnTo>
                  <a:lnTo>
                    <a:pt x="249" y="257"/>
                  </a:lnTo>
                  <a:lnTo>
                    <a:pt x="255" y="262"/>
                  </a:lnTo>
                  <a:lnTo>
                    <a:pt x="259" y="267"/>
                  </a:lnTo>
                  <a:lnTo>
                    <a:pt x="266" y="270"/>
                  </a:lnTo>
                  <a:lnTo>
                    <a:pt x="274" y="271"/>
                  </a:lnTo>
                  <a:lnTo>
                    <a:pt x="275" y="271"/>
                  </a:lnTo>
                  <a:lnTo>
                    <a:pt x="282" y="271"/>
                  </a:lnTo>
                  <a:lnTo>
                    <a:pt x="287" y="268"/>
                  </a:lnTo>
                  <a:lnTo>
                    <a:pt x="292" y="264"/>
                  </a:lnTo>
                  <a:lnTo>
                    <a:pt x="295" y="260"/>
                  </a:lnTo>
                  <a:lnTo>
                    <a:pt x="298" y="254"/>
                  </a:lnTo>
                  <a:lnTo>
                    <a:pt x="298" y="248"/>
                  </a:lnTo>
                  <a:lnTo>
                    <a:pt x="298" y="24"/>
                  </a:lnTo>
                  <a:lnTo>
                    <a:pt x="298" y="18"/>
                  </a:lnTo>
                  <a:lnTo>
                    <a:pt x="295" y="13"/>
                  </a:lnTo>
                  <a:lnTo>
                    <a:pt x="292" y="8"/>
                  </a:lnTo>
                  <a:lnTo>
                    <a:pt x="287" y="5"/>
                  </a:lnTo>
                  <a:lnTo>
                    <a:pt x="281" y="3"/>
                  </a:lnTo>
                  <a:lnTo>
                    <a:pt x="275" y="1"/>
                  </a:lnTo>
                  <a:lnTo>
                    <a:pt x="269" y="3"/>
                  </a:lnTo>
                  <a:lnTo>
                    <a:pt x="264" y="5"/>
                  </a:lnTo>
                  <a:lnTo>
                    <a:pt x="259" y="8"/>
                  </a:lnTo>
                  <a:lnTo>
                    <a:pt x="255" y="13"/>
                  </a:lnTo>
                  <a:lnTo>
                    <a:pt x="253" y="18"/>
                  </a:lnTo>
                  <a:lnTo>
                    <a:pt x="252" y="24"/>
                  </a:lnTo>
                  <a:lnTo>
                    <a:pt x="252" y="188"/>
                  </a:lnTo>
                  <a:lnTo>
                    <a:pt x="118" y="15"/>
                  </a:lnTo>
                  <a:lnTo>
                    <a:pt x="114" y="10"/>
                  </a:lnTo>
                  <a:lnTo>
                    <a:pt x="108" y="5"/>
                  </a:lnTo>
                  <a:lnTo>
                    <a:pt x="102" y="3"/>
                  </a:lnTo>
                  <a:lnTo>
                    <a:pt x="95" y="3"/>
                  </a:lnTo>
                  <a:lnTo>
                    <a:pt x="89" y="3"/>
                  </a:lnTo>
                  <a:lnTo>
                    <a:pt x="84" y="3"/>
                  </a:lnTo>
                  <a:lnTo>
                    <a:pt x="78" y="5"/>
                  </a:lnTo>
                  <a:lnTo>
                    <a:pt x="72" y="8"/>
                  </a:lnTo>
                  <a:lnTo>
                    <a:pt x="69" y="14"/>
                  </a:lnTo>
                  <a:lnTo>
                    <a:pt x="66" y="20"/>
                  </a:lnTo>
                  <a:lnTo>
                    <a:pt x="66" y="25"/>
                  </a:lnTo>
                  <a:lnTo>
                    <a:pt x="66" y="250"/>
                  </a:lnTo>
                  <a:close/>
                  <a:moveTo>
                    <a:pt x="331" y="250"/>
                  </a:moveTo>
                  <a:lnTo>
                    <a:pt x="331" y="250"/>
                  </a:lnTo>
                  <a:lnTo>
                    <a:pt x="333" y="255"/>
                  </a:lnTo>
                  <a:lnTo>
                    <a:pt x="334" y="261"/>
                  </a:lnTo>
                  <a:lnTo>
                    <a:pt x="338" y="265"/>
                  </a:lnTo>
                  <a:lnTo>
                    <a:pt x="343" y="268"/>
                  </a:lnTo>
                  <a:lnTo>
                    <a:pt x="347" y="271"/>
                  </a:lnTo>
                  <a:lnTo>
                    <a:pt x="353" y="271"/>
                  </a:lnTo>
                  <a:lnTo>
                    <a:pt x="360" y="271"/>
                  </a:lnTo>
                  <a:lnTo>
                    <a:pt x="366" y="268"/>
                  </a:lnTo>
                  <a:lnTo>
                    <a:pt x="372" y="264"/>
                  </a:lnTo>
                  <a:lnTo>
                    <a:pt x="374" y="257"/>
                  </a:lnTo>
                  <a:lnTo>
                    <a:pt x="397" y="205"/>
                  </a:lnTo>
                  <a:lnTo>
                    <a:pt x="527" y="205"/>
                  </a:lnTo>
                  <a:lnTo>
                    <a:pt x="549" y="255"/>
                  </a:lnTo>
                  <a:lnTo>
                    <a:pt x="553" y="262"/>
                  </a:lnTo>
                  <a:lnTo>
                    <a:pt x="557" y="267"/>
                  </a:lnTo>
                  <a:lnTo>
                    <a:pt x="564" y="271"/>
                  </a:lnTo>
                  <a:lnTo>
                    <a:pt x="572" y="271"/>
                  </a:lnTo>
                  <a:lnTo>
                    <a:pt x="577" y="271"/>
                  </a:lnTo>
                  <a:lnTo>
                    <a:pt x="583" y="268"/>
                  </a:lnTo>
                  <a:lnTo>
                    <a:pt x="588" y="265"/>
                  </a:lnTo>
                  <a:lnTo>
                    <a:pt x="590" y="261"/>
                  </a:lnTo>
                  <a:lnTo>
                    <a:pt x="593" y="255"/>
                  </a:lnTo>
                  <a:lnTo>
                    <a:pt x="595" y="250"/>
                  </a:lnTo>
                  <a:lnTo>
                    <a:pt x="593" y="247"/>
                  </a:lnTo>
                  <a:lnTo>
                    <a:pt x="593" y="244"/>
                  </a:lnTo>
                  <a:lnTo>
                    <a:pt x="593" y="242"/>
                  </a:lnTo>
                  <a:lnTo>
                    <a:pt x="592" y="239"/>
                  </a:lnTo>
                  <a:lnTo>
                    <a:pt x="492" y="18"/>
                  </a:lnTo>
                  <a:lnTo>
                    <a:pt x="487" y="11"/>
                  </a:lnTo>
                  <a:lnTo>
                    <a:pt x="481" y="5"/>
                  </a:lnTo>
                  <a:lnTo>
                    <a:pt x="474" y="1"/>
                  </a:lnTo>
                  <a:lnTo>
                    <a:pt x="464" y="0"/>
                  </a:lnTo>
                  <a:lnTo>
                    <a:pt x="462" y="0"/>
                  </a:lnTo>
                  <a:lnTo>
                    <a:pt x="452" y="1"/>
                  </a:lnTo>
                  <a:lnTo>
                    <a:pt x="445" y="5"/>
                  </a:lnTo>
                  <a:lnTo>
                    <a:pt x="439" y="11"/>
                  </a:lnTo>
                  <a:lnTo>
                    <a:pt x="433" y="18"/>
                  </a:lnTo>
                  <a:lnTo>
                    <a:pt x="334" y="239"/>
                  </a:lnTo>
                  <a:lnTo>
                    <a:pt x="333" y="242"/>
                  </a:lnTo>
                  <a:lnTo>
                    <a:pt x="333" y="245"/>
                  </a:lnTo>
                  <a:lnTo>
                    <a:pt x="331" y="248"/>
                  </a:lnTo>
                  <a:lnTo>
                    <a:pt x="331" y="250"/>
                  </a:lnTo>
                  <a:close/>
                  <a:moveTo>
                    <a:pt x="416" y="163"/>
                  </a:moveTo>
                  <a:lnTo>
                    <a:pt x="416" y="163"/>
                  </a:lnTo>
                  <a:lnTo>
                    <a:pt x="462" y="57"/>
                  </a:lnTo>
                  <a:lnTo>
                    <a:pt x="510" y="163"/>
                  </a:lnTo>
                  <a:lnTo>
                    <a:pt x="416" y="163"/>
                  </a:lnTo>
                  <a:close/>
                  <a:moveTo>
                    <a:pt x="755" y="248"/>
                  </a:moveTo>
                  <a:lnTo>
                    <a:pt x="755" y="248"/>
                  </a:lnTo>
                  <a:lnTo>
                    <a:pt x="756" y="255"/>
                  </a:lnTo>
                  <a:lnTo>
                    <a:pt x="759" y="260"/>
                  </a:lnTo>
                  <a:lnTo>
                    <a:pt x="762" y="265"/>
                  </a:lnTo>
                  <a:lnTo>
                    <a:pt x="766" y="268"/>
                  </a:lnTo>
                  <a:lnTo>
                    <a:pt x="772" y="271"/>
                  </a:lnTo>
                  <a:lnTo>
                    <a:pt x="779" y="271"/>
                  </a:lnTo>
                  <a:lnTo>
                    <a:pt x="785" y="271"/>
                  </a:lnTo>
                  <a:lnTo>
                    <a:pt x="791" y="268"/>
                  </a:lnTo>
                  <a:lnTo>
                    <a:pt x="795" y="265"/>
                  </a:lnTo>
                  <a:lnTo>
                    <a:pt x="799" y="260"/>
                  </a:lnTo>
                  <a:lnTo>
                    <a:pt x="801" y="255"/>
                  </a:lnTo>
                  <a:lnTo>
                    <a:pt x="802" y="248"/>
                  </a:lnTo>
                  <a:lnTo>
                    <a:pt x="802" y="194"/>
                  </a:lnTo>
                  <a:lnTo>
                    <a:pt x="845" y="152"/>
                  </a:lnTo>
                  <a:lnTo>
                    <a:pt x="932" y="261"/>
                  </a:lnTo>
                  <a:lnTo>
                    <a:pt x="935" y="265"/>
                  </a:lnTo>
                  <a:lnTo>
                    <a:pt x="939" y="268"/>
                  </a:lnTo>
                  <a:lnTo>
                    <a:pt x="945" y="271"/>
                  </a:lnTo>
                  <a:lnTo>
                    <a:pt x="950" y="271"/>
                  </a:lnTo>
                  <a:lnTo>
                    <a:pt x="958" y="271"/>
                  </a:lnTo>
                  <a:lnTo>
                    <a:pt x="963" y="268"/>
                  </a:lnTo>
                  <a:lnTo>
                    <a:pt x="968" y="265"/>
                  </a:lnTo>
                  <a:lnTo>
                    <a:pt x="972" y="261"/>
                  </a:lnTo>
                  <a:lnTo>
                    <a:pt x="973" y="255"/>
                  </a:lnTo>
                  <a:lnTo>
                    <a:pt x="975" y="250"/>
                  </a:lnTo>
                  <a:lnTo>
                    <a:pt x="975" y="244"/>
                  </a:lnTo>
                  <a:lnTo>
                    <a:pt x="973" y="239"/>
                  </a:lnTo>
                  <a:lnTo>
                    <a:pt x="971" y="235"/>
                  </a:lnTo>
                  <a:lnTo>
                    <a:pt x="968" y="232"/>
                  </a:lnTo>
                  <a:lnTo>
                    <a:pt x="878" y="120"/>
                  </a:lnTo>
                  <a:lnTo>
                    <a:pt x="962" y="41"/>
                  </a:lnTo>
                  <a:lnTo>
                    <a:pt x="965" y="37"/>
                  </a:lnTo>
                  <a:lnTo>
                    <a:pt x="968" y="33"/>
                  </a:lnTo>
                  <a:lnTo>
                    <a:pt x="969" y="28"/>
                  </a:lnTo>
                  <a:lnTo>
                    <a:pt x="969" y="23"/>
                  </a:lnTo>
                  <a:lnTo>
                    <a:pt x="969" y="18"/>
                  </a:lnTo>
                  <a:lnTo>
                    <a:pt x="968" y="13"/>
                  </a:lnTo>
                  <a:lnTo>
                    <a:pt x="963" y="8"/>
                  </a:lnTo>
                  <a:lnTo>
                    <a:pt x="959" y="5"/>
                  </a:lnTo>
                  <a:lnTo>
                    <a:pt x="955" y="3"/>
                  </a:lnTo>
                  <a:lnTo>
                    <a:pt x="948" y="1"/>
                  </a:lnTo>
                  <a:lnTo>
                    <a:pt x="942" y="3"/>
                  </a:lnTo>
                  <a:lnTo>
                    <a:pt x="937" y="4"/>
                  </a:lnTo>
                  <a:lnTo>
                    <a:pt x="933" y="7"/>
                  </a:lnTo>
                  <a:lnTo>
                    <a:pt x="929" y="10"/>
                  </a:lnTo>
                  <a:lnTo>
                    <a:pt x="802" y="137"/>
                  </a:lnTo>
                  <a:lnTo>
                    <a:pt x="802" y="25"/>
                  </a:lnTo>
                  <a:lnTo>
                    <a:pt x="801" y="18"/>
                  </a:lnTo>
                  <a:lnTo>
                    <a:pt x="799" y="13"/>
                  </a:lnTo>
                  <a:lnTo>
                    <a:pt x="795" y="8"/>
                  </a:lnTo>
                  <a:lnTo>
                    <a:pt x="791" y="5"/>
                  </a:lnTo>
                  <a:lnTo>
                    <a:pt x="785" y="3"/>
                  </a:lnTo>
                  <a:lnTo>
                    <a:pt x="779" y="1"/>
                  </a:lnTo>
                  <a:lnTo>
                    <a:pt x="772" y="3"/>
                  </a:lnTo>
                  <a:lnTo>
                    <a:pt x="766" y="5"/>
                  </a:lnTo>
                  <a:lnTo>
                    <a:pt x="762" y="8"/>
                  </a:lnTo>
                  <a:lnTo>
                    <a:pt x="759" y="13"/>
                  </a:lnTo>
                  <a:lnTo>
                    <a:pt x="756" y="18"/>
                  </a:lnTo>
                  <a:lnTo>
                    <a:pt x="755" y="25"/>
                  </a:lnTo>
                  <a:lnTo>
                    <a:pt x="755" y="248"/>
                  </a:lnTo>
                  <a:close/>
                  <a:moveTo>
                    <a:pt x="1126" y="274"/>
                  </a:moveTo>
                  <a:lnTo>
                    <a:pt x="1126" y="274"/>
                  </a:lnTo>
                  <a:lnTo>
                    <a:pt x="1138" y="274"/>
                  </a:lnTo>
                  <a:lnTo>
                    <a:pt x="1149" y="272"/>
                  </a:lnTo>
                  <a:lnTo>
                    <a:pt x="1161" y="270"/>
                  </a:lnTo>
                  <a:lnTo>
                    <a:pt x="1172" y="267"/>
                  </a:lnTo>
                  <a:lnTo>
                    <a:pt x="1182" y="264"/>
                  </a:lnTo>
                  <a:lnTo>
                    <a:pt x="1192" y="258"/>
                  </a:lnTo>
                  <a:lnTo>
                    <a:pt x="1201" y="254"/>
                  </a:lnTo>
                  <a:lnTo>
                    <a:pt x="1210" y="248"/>
                  </a:lnTo>
                  <a:lnTo>
                    <a:pt x="1218" y="241"/>
                  </a:lnTo>
                  <a:lnTo>
                    <a:pt x="1227" y="234"/>
                  </a:lnTo>
                  <a:lnTo>
                    <a:pt x="1234" y="225"/>
                  </a:lnTo>
                  <a:lnTo>
                    <a:pt x="1240" y="218"/>
                  </a:lnTo>
                  <a:lnTo>
                    <a:pt x="1246" y="209"/>
                  </a:lnTo>
                  <a:lnTo>
                    <a:pt x="1251" y="199"/>
                  </a:lnTo>
                  <a:lnTo>
                    <a:pt x="1256" y="189"/>
                  </a:lnTo>
                  <a:lnTo>
                    <a:pt x="1259" y="179"/>
                  </a:lnTo>
                  <a:lnTo>
                    <a:pt x="1261" y="169"/>
                  </a:lnTo>
                  <a:lnTo>
                    <a:pt x="1264" y="159"/>
                  </a:lnTo>
                  <a:lnTo>
                    <a:pt x="1266" y="148"/>
                  </a:lnTo>
                  <a:lnTo>
                    <a:pt x="1266" y="136"/>
                  </a:lnTo>
                  <a:lnTo>
                    <a:pt x="1266" y="136"/>
                  </a:lnTo>
                  <a:lnTo>
                    <a:pt x="1266" y="125"/>
                  </a:lnTo>
                  <a:lnTo>
                    <a:pt x="1264" y="115"/>
                  </a:lnTo>
                  <a:lnTo>
                    <a:pt x="1261" y="103"/>
                  </a:lnTo>
                  <a:lnTo>
                    <a:pt x="1259" y="93"/>
                  </a:lnTo>
                  <a:lnTo>
                    <a:pt x="1256" y="83"/>
                  </a:lnTo>
                  <a:lnTo>
                    <a:pt x="1251" y="73"/>
                  </a:lnTo>
                  <a:lnTo>
                    <a:pt x="1246" y="64"/>
                  </a:lnTo>
                  <a:lnTo>
                    <a:pt x="1240" y="56"/>
                  </a:lnTo>
                  <a:lnTo>
                    <a:pt x="1234" y="47"/>
                  </a:lnTo>
                  <a:lnTo>
                    <a:pt x="1227" y="40"/>
                  </a:lnTo>
                  <a:lnTo>
                    <a:pt x="1220" y="33"/>
                  </a:lnTo>
                  <a:lnTo>
                    <a:pt x="1211" y="25"/>
                  </a:lnTo>
                  <a:lnTo>
                    <a:pt x="1202" y="20"/>
                  </a:lnTo>
                  <a:lnTo>
                    <a:pt x="1192" y="14"/>
                  </a:lnTo>
                  <a:lnTo>
                    <a:pt x="1182" y="10"/>
                  </a:lnTo>
                  <a:lnTo>
                    <a:pt x="1172" y="5"/>
                  </a:lnTo>
                  <a:lnTo>
                    <a:pt x="1162" y="3"/>
                  </a:lnTo>
                  <a:lnTo>
                    <a:pt x="1151" y="1"/>
                  </a:lnTo>
                  <a:lnTo>
                    <a:pt x="1139" y="0"/>
                  </a:lnTo>
                  <a:lnTo>
                    <a:pt x="1126" y="0"/>
                  </a:lnTo>
                  <a:lnTo>
                    <a:pt x="1115" y="0"/>
                  </a:lnTo>
                  <a:lnTo>
                    <a:pt x="1103" y="1"/>
                  </a:lnTo>
                  <a:lnTo>
                    <a:pt x="1092" y="3"/>
                  </a:lnTo>
                  <a:lnTo>
                    <a:pt x="1080" y="5"/>
                  </a:lnTo>
                  <a:lnTo>
                    <a:pt x="1070" y="10"/>
                  </a:lnTo>
                  <a:lnTo>
                    <a:pt x="1060" y="14"/>
                  </a:lnTo>
                  <a:lnTo>
                    <a:pt x="1051" y="20"/>
                  </a:lnTo>
                  <a:lnTo>
                    <a:pt x="1041" y="25"/>
                  </a:lnTo>
                  <a:lnTo>
                    <a:pt x="1034" y="33"/>
                  </a:lnTo>
                  <a:lnTo>
                    <a:pt x="1025" y="40"/>
                  </a:lnTo>
                  <a:lnTo>
                    <a:pt x="1018" y="47"/>
                  </a:lnTo>
                  <a:lnTo>
                    <a:pt x="1012" y="56"/>
                  </a:lnTo>
                  <a:lnTo>
                    <a:pt x="1007" y="64"/>
                  </a:lnTo>
                  <a:lnTo>
                    <a:pt x="1001" y="74"/>
                  </a:lnTo>
                  <a:lnTo>
                    <a:pt x="996" y="83"/>
                  </a:lnTo>
                  <a:lnTo>
                    <a:pt x="994" y="93"/>
                  </a:lnTo>
                  <a:lnTo>
                    <a:pt x="991" y="104"/>
                  </a:lnTo>
                  <a:lnTo>
                    <a:pt x="988" y="115"/>
                  </a:lnTo>
                  <a:lnTo>
                    <a:pt x="986" y="126"/>
                  </a:lnTo>
                  <a:lnTo>
                    <a:pt x="986" y="136"/>
                  </a:lnTo>
                  <a:lnTo>
                    <a:pt x="986" y="137"/>
                  </a:lnTo>
                  <a:lnTo>
                    <a:pt x="986" y="149"/>
                  </a:lnTo>
                  <a:lnTo>
                    <a:pt x="988" y="159"/>
                  </a:lnTo>
                  <a:lnTo>
                    <a:pt x="991" y="171"/>
                  </a:lnTo>
                  <a:lnTo>
                    <a:pt x="994" y="181"/>
                  </a:lnTo>
                  <a:lnTo>
                    <a:pt x="996" y="191"/>
                  </a:lnTo>
                  <a:lnTo>
                    <a:pt x="1001" y="201"/>
                  </a:lnTo>
                  <a:lnTo>
                    <a:pt x="1007" y="209"/>
                  </a:lnTo>
                  <a:lnTo>
                    <a:pt x="1012" y="218"/>
                  </a:lnTo>
                  <a:lnTo>
                    <a:pt x="1018" y="227"/>
                  </a:lnTo>
                  <a:lnTo>
                    <a:pt x="1025" y="234"/>
                  </a:lnTo>
                  <a:lnTo>
                    <a:pt x="1032" y="241"/>
                  </a:lnTo>
                  <a:lnTo>
                    <a:pt x="1041" y="248"/>
                  </a:lnTo>
                  <a:lnTo>
                    <a:pt x="1050" y="254"/>
                  </a:lnTo>
                  <a:lnTo>
                    <a:pt x="1060" y="260"/>
                  </a:lnTo>
                  <a:lnTo>
                    <a:pt x="1068" y="264"/>
                  </a:lnTo>
                  <a:lnTo>
                    <a:pt x="1080" y="267"/>
                  </a:lnTo>
                  <a:lnTo>
                    <a:pt x="1090" y="271"/>
                  </a:lnTo>
                  <a:lnTo>
                    <a:pt x="1102" y="272"/>
                  </a:lnTo>
                  <a:lnTo>
                    <a:pt x="1113" y="274"/>
                  </a:lnTo>
                  <a:lnTo>
                    <a:pt x="1126" y="274"/>
                  </a:lnTo>
                  <a:close/>
                  <a:moveTo>
                    <a:pt x="1126" y="231"/>
                  </a:moveTo>
                  <a:lnTo>
                    <a:pt x="1126" y="231"/>
                  </a:lnTo>
                  <a:lnTo>
                    <a:pt x="1116" y="231"/>
                  </a:lnTo>
                  <a:lnTo>
                    <a:pt x="1107" y="229"/>
                  </a:lnTo>
                  <a:lnTo>
                    <a:pt x="1099" y="227"/>
                  </a:lnTo>
                  <a:lnTo>
                    <a:pt x="1090" y="224"/>
                  </a:lnTo>
                  <a:lnTo>
                    <a:pt x="1081" y="219"/>
                  </a:lnTo>
                  <a:lnTo>
                    <a:pt x="1074" y="215"/>
                  </a:lnTo>
                  <a:lnTo>
                    <a:pt x="1067" y="209"/>
                  </a:lnTo>
                  <a:lnTo>
                    <a:pt x="1061" y="204"/>
                  </a:lnTo>
                  <a:lnTo>
                    <a:pt x="1056" y="196"/>
                  </a:lnTo>
                  <a:lnTo>
                    <a:pt x="1050" y="189"/>
                  </a:lnTo>
                  <a:lnTo>
                    <a:pt x="1045" y="182"/>
                  </a:lnTo>
                  <a:lnTo>
                    <a:pt x="1043" y="173"/>
                  </a:lnTo>
                  <a:lnTo>
                    <a:pt x="1040" y="165"/>
                  </a:lnTo>
                  <a:lnTo>
                    <a:pt x="1037" y="156"/>
                  </a:lnTo>
                  <a:lnTo>
                    <a:pt x="1035" y="146"/>
                  </a:lnTo>
                  <a:lnTo>
                    <a:pt x="1035" y="136"/>
                  </a:lnTo>
                  <a:lnTo>
                    <a:pt x="1035" y="136"/>
                  </a:lnTo>
                  <a:lnTo>
                    <a:pt x="1035" y="126"/>
                  </a:lnTo>
                  <a:lnTo>
                    <a:pt x="1037" y="117"/>
                  </a:lnTo>
                  <a:lnTo>
                    <a:pt x="1040" y="107"/>
                  </a:lnTo>
                  <a:lnTo>
                    <a:pt x="1043" y="99"/>
                  </a:lnTo>
                  <a:lnTo>
                    <a:pt x="1045" y="92"/>
                  </a:lnTo>
                  <a:lnTo>
                    <a:pt x="1050" y="83"/>
                  </a:lnTo>
                  <a:lnTo>
                    <a:pt x="1056" y="76"/>
                  </a:lnTo>
                  <a:lnTo>
                    <a:pt x="1061" y="70"/>
                  </a:lnTo>
                  <a:lnTo>
                    <a:pt x="1067" y="63"/>
                  </a:lnTo>
                  <a:lnTo>
                    <a:pt x="1074" y="59"/>
                  </a:lnTo>
                  <a:lnTo>
                    <a:pt x="1081" y="53"/>
                  </a:lnTo>
                  <a:lnTo>
                    <a:pt x="1089" y="50"/>
                  </a:lnTo>
                  <a:lnTo>
                    <a:pt x="1097" y="46"/>
                  </a:lnTo>
                  <a:lnTo>
                    <a:pt x="1106" y="44"/>
                  </a:lnTo>
                  <a:lnTo>
                    <a:pt x="1116" y="43"/>
                  </a:lnTo>
                  <a:lnTo>
                    <a:pt x="1126" y="41"/>
                  </a:lnTo>
                  <a:lnTo>
                    <a:pt x="1135" y="43"/>
                  </a:lnTo>
                  <a:lnTo>
                    <a:pt x="1145" y="44"/>
                  </a:lnTo>
                  <a:lnTo>
                    <a:pt x="1153" y="46"/>
                  </a:lnTo>
                  <a:lnTo>
                    <a:pt x="1162" y="50"/>
                  </a:lnTo>
                  <a:lnTo>
                    <a:pt x="1171" y="54"/>
                  </a:lnTo>
                  <a:lnTo>
                    <a:pt x="1178" y="59"/>
                  </a:lnTo>
                  <a:lnTo>
                    <a:pt x="1185" y="64"/>
                  </a:lnTo>
                  <a:lnTo>
                    <a:pt x="1191" y="70"/>
                  </a:lnTo>
                  <a:lnTo>
                    <a:pt x="1197" y="77"/>
                  </a:lnTo>
                  <a:lnTo>
                    <a:pt x="1201" y="84"/>
                  </a:lnTo>
                  <a:lnTo>
                    <a:pt x="1205" y="92"/>
                  </a:lnTo>
                  <a:lnTo>
                    <a:pt x="1210" y="100"/>
                  </a:lnTo>
                  <a:lnTo>
                    <a:pt x="1212" y="109"/>
                  </a:lnTo>
                  <a:lnTo>
                    <a:pt x="1214" y="117"/>
                  </a:lnTo>
                  <a:lnTo>
                    <a:pt x="1215" y="127"/>
                  </a:lnTo>
                  <a:lnTo>
                    <a:pt x="1217" y="136"/>
                  </a:lnTo>
                  <a:lnTo>
                    <a:pt x="1217" y="137"/>
                  </a:lnTo>
                  <a:lnTo>
                    <a:pt x="1215" y="148"/>
                  </a:lnTo>
                  <a:lnTo>
                    <a:pt x="1214" y="156"/>
                  </a:lnTo>
                  <a:lnTo>
                    <a:pt x="1212" y="165"/>
                  </a:lnTo>
                  <a:lnTo>
                    <a:pt x="1210" y="173"/>
                  </a:lnTo>
                  <a:lnTo>
                    <a:pt x="1207" y="182"/>
                  </a:lnTo>
                  <a:lnTo>
                    <a:pt x="1202" y="189"/>
                  </a:lnTo>
                  <a:lnTo>
                    <a:pt x="1197" y="196"/>
                  </a:lnTo>
                  <a:lnTo>
                    <a:pt x="1191" y="204"/>
                  </a:lnTo>
                  <a:lnTo>
                    <a:pt x="1185" y="209"/>
                  </a:lnTo>
                  <a:lnTo>
                    <a:pt x="1178" y="215"/>
                  </a:lnTo>
                  <a:lnTo>
                    <a:pt x="1171" y="219"/>
                  </a:lnTo>
                  <a:lnTo>
                    <a:pt x="1162" y="224"/>
                  </a:lnTo>
                  <a:lnTo>
                    <a:pt x="1155" y="227"/>
                  </a:lnTo>
                  <a:lnTo>
                    <a:pt x="1145" y="229"/>
                  </a:lnTo>
                  <a:lnTo>
                    <a:pt x="1136" y="231"/>
                  </a:lnTo>
                  <a:lnTo>
                    <a:pt x="1126" y="231"/>
                  </a:lnTo>
                  <a:close/>
                  <a:moveTo>
                    <a:pt x="1308" y="247"/>
                  </a:moveTo>
                  <a:lnTo>
                    <a:pt x="1308" y="247"/>
                  </a:lnTo>
                  <a:lnTo>
                    <a:pt x="1308" y="252"/>
                  </a:lnTo>
                  <a:lnTo>
                    <a:pt x="1310" y="258"/>
                  </a:lnTo>
                  <a:lnTo>
                    <a:pt x="1315" y="262"/>
                  </a:lnTo>
                  <a:lnTo>
                    <a:pt x="1319" y="267"/>
                  </a:lnTo>
                  <a:lnTo>
                    <a:pt x="1325" y="270"/>
                  </a:lnTo>
                  <a:lnTo>
                    <a:pt x="1331" y="270"/>
                  </a:lnTo>
                  <a:lnTo>
                    <a:pt x="1475" y="270"/>
                  </a:lnTo>
                  <a:lnTo>
                    <a:pt x="1480" y="270"/>
                  </a:lnTo>
                  <a:lnTo>
                    <a:pt x="1486" y="267"/>
                  </a:lnTo>
                  <a:lnTo>
                    <a:pt x="1490" y="264"/>
                  </a:lnTo>
                  <a:lnTo>
                    <a:pt x="1493" y="260"/>
                  </a:lnTo>
                  <a:lnTo>
                    <a:pt x="1496" y="254"/>
                  </a:lnTo>
                  <a:lnTo>
                    <a:pt x="1496" y="248"/>
                  </a:lnTo>
                  <a:lnTo>
                    <a:pt x="1496" y="242"/>
                  </a:lnTo>
                  <a:lnTo>
                    <a:pt x="1493" y="238"/>
                  </a:lnTo>
                  <a:lnTo>
                    <a:pt x="1490" y="234"/>
                  </a:lnTo>
                  <a:lnTo>
                    <a:pt x="1486" y="229"/>
                  </a:lnTo>
                  <a:lnTo>
                    <a:pt x="1480" y="228"/>
                  </a:lnTo>
                  <a:lnTo>
                    <a:pt x="1475" y="227"/>
                  </a:lnTo>
                  <a:lnTo>
                    <a:pt x="1354" y="227"/>
                  </a:lnTo>
                  <a:lnTo>
                    <a:pt x="1354" y="25"/>
                  </a:lnTo>
                  <a:lnTo>
                    <a:pt x="1354" y="18"/>
                  </a:lnTo>
                  <a:lnTo>
                    <a:pt x="1351" y="13"/>
                  </a:lnTo>
                  <a:lnTo>
                    <a:pt x="1348" y="8"/>
                  </a:lnTo>
                  <a:lnTo>
                    <a:pt x="1342" y="5"/>
                  </a:lnTo>
                  <a:lnTo>
                    <a:pt x="1338" y="3"/>
                  </a:lnTo>
                  <a:lnTo>
                    <a:pt x="1331" y="1"/>
                  </a:lnTo>
                  <a:lnTo>
                    <a:pt x="1325" y="3"/>
                  </a:lnTo>
                  <a:lnTo>
                    <a:pt x="1319" y="5"/>
                  </a:lnTo>
                  <a:lnTo>
                    <a:pt x="1315" y="8"/>
                  </a:lnTo>
                  <a:lnTo>
                    <a:pt x="1310" y="13"/>
                  </a:lnTo>
                  <a:lnTo>
                    <a:pt x="1308" y="18"/>
                  </a:lnTo>
                  <a:lnTo>
                    <a:pt x="1308" y="25"/>
                  </a:lnTo>
                  <a:lnTo>
                    <a:pt x="1308" y="247"/>
                  </a:lnTo>
                  <a:close/>
                  <a:moveTo>
                    <a:pt x="1549" y="270"/>
                  </a:moveTo>
                  <a:lnTo>
                    <a:pt x="1549" y="270"/>
                  </a:lnTo>
                  <a:lnTo>
                    <a:pt x="1706" y="270"/>
                  </a:lnTo>
                  <a:lnTo>
                    <a:pt x="1712" y="270"/>
                  </a:lnTo>
                  <a:lnTo>
                    <a:pt x="1718" y="267"/>
                  </a:lnTo>
                  <a:lnTo>
                    <a:pt x="1722" y="264"/>
                  </a:lnTo>
                  <a:lnTo>
                    <a:pt x="1725" y="260"/>
                  </a:lnTo>
                  <a:lnTo>
                    <a:pt x="1727" y="254"/>
                  </a:lnTo>
                  <a:lnTo>
                    <a:pt x="1728" y="250"/>
                  </a:lnTo>
                  <a:lnTo>
                    <a:pt x="1727" y="244"/>
                  </a:lnTo>
                  <a:lnTo>
                    <a:pt x="1725" y="238"/>
                  </a:lnTo>
                  <a:lnTo>
                    <a:pt x="1722" y="234"/>
                  </a:lnTo>
                  <a:lnTo>
                    <a:pt x="1718" y="231"/>
                  </a:lnTo>
                  <a:lnTo>
                    <a:pt x="1712" y="229"/>
                  </a:lnTo>
                  <a:lnTo>
                    <a:pt x="1706" y="228"/>
                  </a:lnTo>
                  <a:lnTo>
                    <a:pt x="1572" y="228"/>
                  </a:lnTo>
                  <a:lnTo>
                    <a:pt x="1572" y="156"/>
                  </a:lnTo>
                  <a:lnTo>
                    <a:pt x="1688" y="156"/>
                  </a:lnTo>
                  <a:lnTo>
                    <a:pt x="1693" y="156"/>
                  </a:lnTo>
                  <a:lnTo>
                    <a:pt x="1699" y="153"/>
                  </a:lnTo>
                  <a:lnTo>
                    <a:pt x="1702" y="150"/>
                  </a:lnTo>
                  <a:lnTo>
                    <a:pt x="1706" y="146"/>
                  </a:lnTo>
                  <a:lnTo>
                    <a:pt x="1708" y="142"/>
                  </a:lnTo>
                  <a:lnTo>
                    <a:pt x="1709" y="136"/>
                  </a:lnTo>
                  <a:lnTo>
                    <a:pt x="1708" y="130"/>
                  </a:lnTo>
                  <a:lnTo>
                    <a:pt x="1706" y="125"/>
                  </a:lnTo>
                  <a:lnTo>
                    <a:pt x="1702" y="120"/>
                  </a:lnTo>
                  <a:lnTo>
                    <a:pt x="1699" y="117"/>
                  </a:lnTo>
                  <a:lnTo>
                    <a:pt x="1693" y="116"/>
                  </a:lnTo>
                  <a:lnTo>
                    <a:pt x="1688" y="115"/>
                  </a:lnTo>
                  <a:lnTo>
                    <a:pt x="1572" y="115"/>
                  </a:lnTo>
                  <a:lnTo>
                    <a:pt x="1572" y="46"/>
                  </a:lnTo>
                  <a:lnTo>
                    <a:pt x="1705" y="46"/>
                  </a:lnTo>
                  <a:lnTo>
                    <a:pt x="1711" y="44"/>
                  </a:lnTo>
                  <a:lnTo>
                    <a:pt x="1715" y="43"/>
                  </a:lnTo>
                  <a:lnTo>
                    <a:pt x="1719" y="40"/>
                  </a:lnTo>
                  <a:lnTo>
                    <a:pt x="1724" y="36"/>
                  </a:lnTo>
                  <a:lnTo>
                    <a:pt x="1725" y="30"/>
                  </a:lnTo>
                  <a:lnTo>
                    <a:pt x="1727" y="24"/>
                  </a:lnTo>
                  <a:lnTo>
                    <a:pt x="1725" y="18"/>
                  </a:lnTo>
                  <a:lnTo>
                    <a:pt x="1724" y="14"/>
                  </a:lnTo>
                  <a:lnTo>
                    <a:pt x="1719" y="10"/>
                  </a:lnTo>
                  <a:lnTo>
                    <a:pt x="1715" y="7"/>
                  </a:lnTo>
                  <a:lnTo>
                    <a:pt x="1711" y="4"/>
                  </a:lnTo>
                  <a:lnTo>
                    <a:pt x="1705" y="4"/>
                  </a:lnTo>
                  <a:lnTo>
                    <a:pt x="1549" y="4"/>
                  </a:lnTo>
                  <a:lnTo>
                    <a:pt x="1544" y="4"/>
                  </a:lnTo>
                  <a:lnTo>
                    <a:pt x="1538" y="7"/>
                  </a:lnTo>
                  <a:lnTo>
                    <a:pt x="1534" y="10"/>
                  </a:lnTo>
                  <a:lnTo>
                    <a:pt x="1529" y="15"/>
                  </a:lnTo>
                  <a:lnTo>
                    <a:pt x="1526" y="21"/>
                  </a:lnTo>
                  <a:lnTo>
                    <a:pt x="1526" y="27"/>
                  </a:lnTo>
                  <a:lnTo>
                    <a:pt x="1526" y="247"/>
                  </a:lnTo>
                  <a:lnTo>
                    <a:pt x="1526" y="252"/>
                  </a:lnTo>
                  <a:lnTo>
                    <a:pt x="1529" y="258"/>
                  </a:lnTo>
                  <a:lnTo>
                    <a:pt x="1534" y="262"/>
                  </a:lnTo>
                  <a:lnTo>
                    <a:pt x="1538" y="267"/>
                  </a:lnTo>
                  <a:lnTo>
                    <a:pt x="1544" y="270"/>
                  </a:lnTo>
                  <a:lnTo>
                    <a:pt x="1549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8" name="Freeform 15">
            <a:extLst>
              <a:ext uri="{FF2B5EF4-FFF2-40B4-BE49-F238E27FC236}">
                <a16:creationId xmlns:a16="http://schemas.microsoft.com/office/drawing/2014/main" id="{95713751-AF4E-F0C4-A269-0FF26EFCFD88}"/>
              </a:ext>
            </a:extLst>
          </p:cNvPr>
          <p:cNvSpPr>
            <a:spLocks noEditPoints="1"/>
          </p:cNvSpPr>
          <p:nvPr/>
        </p:nvSpPr>
        <p:spPr bwMode="auto">
          <a:xfrm>
            <a:off x="766763" y="752475"/>
            <a:ext cx="444500" cy="252413"/>
          </a:xfrm>
          <a:custGeom>
            <a:avLst/>
            <a:gdLst>
              <a:gd name="T0" fmla="*/ 327 w 839"/>
              <a:gd name="T1" fmla="*/ 389 h 478"/>
              <a:gd name="T2" fmla="*/ 386 w 839"/>
              <a:gd name="T3" fmla="*/ 416 h 478"/>
              <a:gd name="T4" fmla="*/ 219 w 839"/>
              <a:gd name="T5" fmla="*/ 23 h 478"/>
              <a:gd name="T6" fmla="*/ 388 w 839"/>
              <a:gd name="T7" fmla="*/ 4 h 478"/>
              <a:gd name="T8" fmla="*/ 424 w 839"/>
              <a:gd name="T9" fmla="*/ 281 h 478"/>
              <a:gd name="T10" fmla="*/ 414 w 839"/>
              <a:gd name="T11" fmla="*/ 335 h 478"/>
              <a:gd name="T12" fmla="*/ 384 w 839"/>
              <a:gd name="T13" fmla="*/ 327 h 478"/>
              <a:gd name="T14" fmla="*/ 422 w 839"/>
              <a:gd name="T15" fmla="*/ 358 h 478"/>
              <a:gd name="T16" fmla="*/ 459 w 839"/>
              <a:gd name="T17" fmla="*/ 319 h 478"/>
              <a:gd name="T18" fmla="*/ 424 w 839"/>
              <a:gd name="T19" fmla="*/ 281 h 478"/>
              <a:gd name="T20" fmla="*/ 432 w 839"/>
              <a:gd name="T21" fmla="*/ 248 h 478"/>
              <a:gd name="T22" fmla="*/ 286 w 839"/>
              <a:gd name="T23" fmla="*/ 223 h 478"/>
              <a:gd name="T24" fmla="*/ 354 w 839"/>
              <a:gd name="T25" fmla="*/ 293 h 478"/>
              <a:gd name="T26" fmla="*/ 679 w 839"/>
              <a:gd name="T27" fmla="*/ 194 h 478"/>
              <a:gd name="T28" fmla="*/ 672 w 839"/>
              <a:gd name="T29" fmla="*/ 161 h 478"/>
              <a:gd name="T30" fmla="*/ 780 w 839"/>
              <a:gd name="T31" fmla="*/ 197 h 478"/>
              <a:gd name="T32" fmla="*/ 838 w 839"/>
              <a:gd name="T33" fmla="*/ 303 h 478"/>
              <a:gd name="T34" fmla="*/ 812 w 839"/>
              <a:gd name="T35" fmla="*/ 408 h 478"/>
              <a:gd name="T36" fmla="*/ 727 w 839"/>
              <a:gd name="T37" fmla="*/ 471 h 478"/>
              <a:gd name="T38" fmla="*/ 617 w 839"/>
              <a:gd name="T39" fmla="*/ 465 h 478"/>
              <a:gd name="T40" fmla="*/ 531 w 839"/>
              <a:gd name="T41" fmla="*/ 381 h 478"/>
              <a:gd name="T42" fmla="*/ 527 w 839"/>
              <a:gd name="T43" fmla="*/ 271 h 478"/>
              <a:gd name="T44" fmla="*/ 607 w 839"/>
              <a:gd name="T45" fmla="*/ 177 h 478"/>
              <a:gd name="T46" fmla="*/ 488 w 839"/>
              <a:gd name="T47" fmla="*/ 347 h 478"/>
              <a:gd name="T48" fmla="*/ 393 w 839"/>
              <a:gd name="T49" fmla="*/ 385 h 478"/>
              <a:gd name="T50" fmla="*/ 318 w 839"/>
              <a:gd name="T51" fmla="*/ 336 h 478"/>
              <a:gd name="T52" fmla="*/ 272 w 839"/>
              <a:gd name="T53" fmla="*/ 432 h 478"/>
              <a:gd name="T54" fmla="*/ 159 w 839"/>
              <a:gd name="T55" fmla="*/ 478 h 478"/>
              <a:gd name="T56" fmla="*/ 57 w 839"/>
              <a:gd name="T57" fmla="*/ 441 h 478"/>
              <a:gd name="T58" fmla="*/ 1 w 839"/>
              <a:gd name="T59" fmla="*/ 335 h 478"/>
              <a:gd name="T60" fmla="*/ 27 w 839"/>
              <a:gd name="T61" fmla="*/ 230 h 478"/>
              <a:gd name="T62" fmla="*/ 112 w 839"/>
              <a:gd name="T63" fmla="*/ 167 h 478"/>
              <a:gd name="T64" fmla="*/ 208 w 839"/>
              <a:gd name="T65" fmla="*/ 169 h 478"/>
              <a:gd name="T66" fmla="*/ 184 w 839"/>
              <a:gd name="T67" fmla="*/ 197 h 478"/>
              <a:gd name="T68" fmla="*/ 100 w 839"/>
              <a:gd name="T69" fmla="*/ 208 h 478"/>
              <a:gd name="T70" fmla="*/ 44 w 839"/>
              <a:gd name="T71" fmla="*/ 270 h 478"/>
              <a:gd name="T72" fmla="*/ 40 w 839"/>
              <a:gd name="T73" fmla="*/ 356 h 478"/>
              <a:gd name="T74" fmla="*/ 100 w 839"/>
              <a:gd name="T75" fmla="*/ 429 h 478"/>
              <a:gd name="T76" fmla="*/ 184 w 839"/>
              <a:gd name="T77" fmla="*/ 442 h 478"/>
              <a:gd name="T78" fmla="*/ 260 w 839"/>
              <a:gd name="T79" fmla="*/ 392 h 478"/>
              <a:gd name="T80" fmla="*/ 159 w 839"/>
              <a:gd name="T81" fmla="*/ 336 h 478"/>
              <a:gd name="T82" fmla="*/ 314 w 839"/>
              <a:gd name="T83" fmla="*/ 80 h 478"/>
              <a:gd name="T84" fmla="*/ 560 w 839"/>
              <a:gd name="T85" fmla="*/ 19 h 478"/>
              <a:gd name="T86" fmla="*/ 687 w 839"/>
              <a:gd name="T87" fmla="*/ 4 h 478"/>
              <a:gd name="T88" fmla="*/ 727 w 839"/>
              <a:gd name="T89" fmla="*/ 65 h 478"/>
              <a:gd name="T90" fmla="*/ 661 w 839"/>
              <a:gd name="T91" fmla="*/ 131 h 478"/>
              <a:gd name="T92" fmla="*/ 661 w 839"/>
              <a:gd name="T93" fmla="*/ 96 h 478"/>
              <a:gd name="T94" fmla="*/ 692 w 839"/>
              <a:gd name="T95" fmla="*/ 65 h 478"/>
              <a:gd name="T96" fmla="*/ 666 w 839"/>
              <a:gd name="T97" fmla="*/ 34 h 478"/>
              <a:gd name="T98" fmla="*/ 695 w 839"/>
              <a:gd name="T99" fmla="*/ 326 h 478"/>
              <a:gd name="T100" fmla="*/ 606 w 839"/>
              <a:gd name="T101" fmla="*/ 217 h 478"/>
              <a:gd name="T102" fmla="*/ 554 w 839"/>
              <a:gd name="T103" fmla="*/ 309 h 478"/>
              <a:gd name="T104" fmla="*/ 581 w 839"/>
              <a:gd name="T105" fmla="*/ 399 h 478"/>
              <a:gd name="T106" fmla="*/ 665 w 839"/>
              <a:gd name="T107" fmla="*/ 444 h 478"/>
              <a:gd name="T108" fmla="*/ 748 w 839"/>
              <a:gd name="T109" fmla="*/ 422 h 478"/>
              <a:gd name="T110" fmla="*/ 802 w 839"/>
              <a:gd name="T111" fmla="*/ 346 h 478"/>
              <a:gd name="T112" fmla="*/ 789 w 839"/>
              <a:gd name="T113" fmla="*/ 260 h 478"/>
              <a:gd name="T114" fmla="*/ 717 w 839"/>
              <a:gd name="T115" fmla="*/ 200 h 478"/>
              <a:gd name="T116" fmla="*/ 276 w 839"/>
              <a:gd name="T117" fmla="*/ 271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9" h="478">
                <a:moveTo>
                  <a:pt x="334" y="422"/>
                </a:moveTo>
                <a:lnTo>
                  <a:pt x="327" y="421"/>
                </a:lnTo>
                <a:lnTo>
                  <a:pt x="321" y="416"/>
                </a:lnTo>
                <a:lnTo>
                  <a:pt x="318" y="411"/>
                </a:lnTo>
                <a:lnTo>
                  <a:pt x="316" y="405"/>
                </a:lnTo>
                <a:lnTo>
                  <a:pt x="318" y="398"/>
                </a:lnTo>
                <a:lnTo>
                  <a:pt x="321" y="392"/>
                </a:lnTo>
                <a:lnTo>
                  <a:pt x="327" y="389"/>
                </a:lnTo>
                <a:lnTo>
                  <a:pt x="334" y="388"/>
                </a:lnTo>
                <a:lnTo>
                  <a:pt x="374" y="388"/>
                </a:lnTo>
                <a:lnTo>
                  <a:pt x="380" y="389"/>
                </a:lnTo>
                <a:lnTo>
                  <a:pt x="386" y="392"/>
                </a:lnTo>
                <a:lnTo>
                  <a:pt x="388" y="398"/>
                </a:lnTo>
                <a:lnTo>
                  <a:pt x="390" y="405"/>
                </a:lnTo>
                <a:lnTo>
                  <a:pt x="388" y="411"/>
                </a:lnTo>
                <a:lnTo>
                  <a:pt x="386" y="416"/>
                </a:lnTo>
                <a:lnTo>
                  <a:pt x="380" y="421"/>
                </a:lnTo>
                <a:lnTo>
                  <a:pt x="374" y="422"/>
                </a:lnTo>
                <a:lnTo>
                  <a:pt x="334" y="422"/>
                </a:lnTo>
                <a:close/>
                <a:moveTo>
                  <a:pt x="234" y="34"/>
                </a:moveTo>
                <a:lnTo>
                  <a:pt x="234" y="34"/>
                </a:lnTo>
                <a:lnTo>
                  <a:pt x="227" y="33"/>
                </a:lnTo>
                <a:lnTo>
                  <a:pt x="223" y="29"/>
                </a:lnTo>
                <a:lnTo>
                  <a:pt x="219" y="23"/>
                </a:lnTo>
                <a:lnTo>
                  <a:pt x="217" y="17"/>
                </a:lnTo>
                <a:lnTo>
                  <a:pt x="219" y="10"/>
                </a:lnTo>
                <a:lnTo>
                  <a:pt x="223" y="4"/>
                </a:lnTo>
                <a:lnTo>
                  <a:pt x="227" y="1"/>
                </a:lnTo>
                <a:lnTo>
                  <a:pt x="234" y="0"/>
                </a:lnTo>
                <a:lnTo>
                  <a:pt x="377" y="0"/>
                </a:lnTo>
                <a:lnTo>
                  <a:pt x="384" y="1"/>
                </a:lnTo>
                <a:lnTo>
                  <a:pt x="388" y="4"/>
                </a:lnTo>
                <a:lnTo>
                  <a:pt x="393" y="10"/>
                </a:lnTo>
                <a:lnTo>
                  <a:pt x="394" y="17"/>
                </a:lnTo>
                <a:lnTo>
                  <a:pt x="393" y="23"/>
                </a:lnTo>
                <a:lnTo>
                  <a:pt x="388" y="29"/>
                </a:lnTo>
                <a:lnTo>
                  <a:pt x="384" y="33"/>
                </a:lnTo>
                <a:lnTo>
                  <a:pt x="377" y="34"/>
                </a:lnTo>
                <a:lnTo>
                  <a:pt x="234" y="34"/>
                </a:lnTo>
                <a:close/>
                <a:moveTo>
                  <a:pt x="424" y="281"/>
                </a:moveTo>
                <a:lnTo>
                  <a:pt x="424" y="281"/>
                </a:lnTo>
                <a:lnTo>
                  <a:pt x="437" y="313"/>
                </a:lnTo>
                <a:lnTo>
                  <a:pt x="439" y="319"/>
                </a:lnTo>
                <a:lnTo>
                  <a:pt x="437" y="326"/>
                </a:lnTo>
                <a:lnTo>
                  <a:pt x="433" y="330"/>
                </a:lnTo>
                <a:lnTo>
                  <a:pt x="427" y="335"/>
                </a:lnTo>
                <a:lnTo>
                  <a:pt x="422" y="336"/>
                </a:lnTo>
                <a:lnTo>
                  <a:pt x="414" y="335"/>
                </a:lnTo>
                <a:lnTo>
                  <a:pt x="410" y="332"/>
                </a:lnTo>
                <a:lnTo>
                  <a:pt x="406" y="326"/>
                </a:lnTo>
                <a:lnTo>
                  <a:pt x="393" y="294"/>
                </a:lnTo>
                <a:lnTo>
                  <a:pt x="388" y="300"/>
                </a:lnTo>
                <a:lnTo>
                  <a:pt x="386" y="306"/>
                </a:lnTo>
                <a:lnTo>
                  <a:pt x="384" y="312"/>
                </a:lnTo>
                <a:lnTo>
                  <a:pt x="384" y="319"/>
                </a:lnTo>
                <a:lnTo>
                  <a:pt x="384" y="327"/>
                </a:lnTo>
                <a:lnTo>
                  <a:pt x="387" y="333"/>
                </a:lnTo>
                <a:lnTo>
                  <a:pt x="390" y="340"/>
                </a:lnTo>
                <a:lnTo>
                  <a:pt x="394" y="346"/>
                </a:lnTo>
                <a:lnTo>
                  <a:pt x="394" y="346"/>
                </a:lnTo>
                <a:lnTo>
                  <a:pt x="400" y="350"/>
                </a:lnTo>
                <a:lnTo>
                  <a:pt x="407" y="355"/>
                </a:lnTo>
                <a:lnTo>
                  <a:pt x="414" y="356"/>
                </a:lnTo>
                <a:lnTo>
                  <a:pt x="422" y="358"/>
                </a:lnTo>
                <a:lnTo>
                  <a:pt x="429" y="356"/>
                </a:lnTo>
                <a:lnTo>
                  <a:pt x="436" y="353"/>
                </a:lnTo>
                <a:lnTo>
                  <a:pt x="443" y="350"/>
                </a:lnTo>
                <a:lnTo>
                  <a:pt x="449" y="346"/>
                </a:lnTo>
                <a:lnTo>
                  <a:pt x="453" y="340"/>
                </a:lnTo>
                <a:lnTo>
                  <a:pt x="456" y="333"/>
                </a:lnTo>
                <a:lnTo>
                  <a:pt x="459" y="327"/>
                </a:lnTo>
                <a:lnTo>
                  <a:pt x="459" y="319"/>
                </a:lnTo>
                <a:lnTo>
                  <a:pt x="459" y="312"/>
                </a:lnTo>
                <a:lnTo>
                  <a:pt x="456" y="304"/>
                </a:lnTo>
                <a:lnTo>
                  <a:pt x="453" y="297"/>
                </a:lnTo>
                <a:lnTo>
                  <a:pt x="449" y="293"/>
                </a:lnTo>
                <a:lnTo>
                  <a:pt x="443" y="289"/>
                </a:lnTo>
                <a:lnTo>
                  <a:pt x="437" y="284"/>
                </a:lnTo>
                <a:lnTo>
                  <a:pt x="430" y="283"/>
                </a:lnTo>
                <a:lnTo>
                  <a:pt x="424" y="281"/>
                </a:lnTo>
                <a:close/>
                <a:moveTo>
                  <a:pt x="589" y="129"/>
                </a:moveTo>
                <a:lnTo>
                  <a:pt x="589" y="129"/>
                </a:lnTo>
                <a:lnTo>
                  <a:pt x="581" y="109"/>
                </a:lnTo>
                <a:lnTo>
                  <a:pt x="351" y="109"/>
                </a:lnTo>
                <a:lnTo>
                  <a:pt x="410" y="248"/>
                </a:lnTo>
                <a:lnTo>
                  <a:pt x="416" y="247"/>
                </a:lnTo>
                <a:lnTo>
                  <a:pt x="422" y="247"/>
                </a:lnTo>
                <a:lnTo>
                  <a:pt x="432" y="248"/>
                </a:lnTo>
                <a:lnTo>
                  <a:pt x="442" y="250"/>
                </a:lnTo>
                <a:lnTo>
                  <a:pt x="450" y="253"/>
                </a:lnTo>
                <a:lnTo>
                  <a:pt x="459" y="258"/>
                </a:lnTo>
                <a:lnTo>
                  <a:pt x="589" y="129"/>
                </a:lnTo>
                <a:close/>
                <a:moveTo>
                  <a:pt x="266" y="201"/>
                </a:moveTo>
                <a:lnTo>
                  <a:pt x="266" y="201"/>
                </a:lnTo>
                <a:lnTo>
                  <a:pt x="278" y="211"/>
                </a:lnTo>
                <a:lnTo>
                  <a:pt x="286" y="223"/>
                </a:lnTo>
                <a:lnTo>
                  <a:pt x="295" y="234"/>
                </a:lnTo>
                <a:lnTo>
                  <a:pt x="302" y="247"/>
                </a:lnTo>
                <a:lnTo>
                  <a:pt x="308" y="260"/>
                </a:lnTo>
                <a:lnTo>
                  <a:pt x="312" y="274"/>
                </a:lnTo>
                <a:lnTo>
                  <a:pt x="315" y="287"/>
                </a:lnTo>
                <a:lnTo>
                  <a:pt x="318" y="302"/>
                </a:lnTo>
                <a:lnTo>
                  <a:pt x="351" y="302"/>
                </a:lnTo>
                <a:lnTo>
                  <a:pt x="354" y="293"/>
                </a:lnTo>
                <a:lnTo>
                  <a:pt x="358" y="284"/>
                </a:lnTo>
                <a:lnTo>
                  <a:pt x="364" y="276"/>
                </a:lnTo>
                <a:lnTo>
                  <a:pt x="370" y="269"/>
                </a:lnTo>
                <a:lnTo>
                  <a:pt x="374" y="264"/>
                </a:lnTo>
                <a:lnTo>
                  <a:pt x="378" y="261"/>
                </a:lnTo>
                <a:lnTo>
                  <a:pt x="321" y="126"/>
                </a:lnTo>
                <a:lnTo>
                  <a:pt x="266" y="201"/>
                </a:lnTo>
                <a:close/>
                <a:moveTo>
                  <a:pt x="679" y="194"/>
                </a:moveTo>
                <a:lnTo>
                  <a:pt x="679" y="194"/>
                </a:lnTo>
                <a:lnTo>
                  <a:pt x="672" y="192"/>
                </a:lnTo>
                <a:lnTo>
                  <a:pt x="666" y="190"/>
                </a:lnTo>
                <a:lnTo>
                  <a:pt x="663" y="184"/>
                </a:lnTo>
                <a:lnTo>
                  <a:pt x="662" y="177"/>
                </a:lnTo>
                <a:lnTo>
                  <a:pt x="663" y="171"/>
                </a:lnTo>
                <a:lnTo>
                  <a:pt x="666" y="165"/>
                </a:lnTo>
                <a:lnTo>
                  <a:pt x="672" y="161"/>
                </a:lnTo>
                <a:lnTo>
                  <a:pt x="679" y="159"/>
                </a:lnTo>
                <a:lnTo>
                  <a:pt x="695" y="161"/>
                </a:lnTo>
                <a:lnTo>
                  <a:pt x="711" y="164"/>
                </a:lnTo>
                <a:lnTo>
                  <a:pt x="727" y="167"/>
                </a:lnTo>
                <a:lnTo>
                  <a:pt x="741" y="172"/>
                </a:lnTo>
                <a:lnTo>
                  <a:pt x="756" y="179"/>
                </a:lnTo>
                <a:lnTo>
                  <a:pt x="769" y="187"/>
                </a:lnTo>
                <a:lnTo>
                  <a:pt x="780" y="197"/>
                </a:lnTo>
                <a:lnTo>
                  <a:pt x="792" y="207"/>
                </a:lnTo>
                <a:lnTo>
                  <a:pt x="802" y="218"/>
                </a:lnTo>
                <a:lnTo>
                  <a:pt x="812" y="230"/>
                </a:lnTo>
                <a:lnTo>
                  <a:pt x="819" y="243"/>
                </a:lnTo>
                <a:lnTo>
                  <a:pt x="826" y="257"/>
                </a:lnTo>
                <a:lnTo>
                  <a:pt x="832" y="271"/>
                </a:lnTo>
                <a:lnTo>
                  <a:pt x="835" y="287"/>
                </a:lnTo>
                <a:lnTo>
                  <a:pt x="838" y="303"/>
                </a:lnTo>
                <a:lnTo>
                  <a:pt x="839" y="319"/>
                </a:lnTo>
                <a:lnTo>
                  <a:pt x="839" y="319"/>
                </a:lnTo>
                <a:lnTo>
                  <a:pt x="838" y="336"/>
                </a:lnTo>
                <a:lnTo>
                  <a:pt x="835" y="352"/>
                </a:lnTo>
                <a:lnTo>
                  <a:pt x="832" y="366"/>
                </a:lnTo>
                <a:lnTo>
                  <a:pt x="826" y="381"/>
                </a:lnTo>
                <a:lnTo>
                  <a:pt x="819" y="395"/>
                </a:lnTo>
                <a:lnTo>
                  <a:pt x="812" y="408"/>
                </a:lnTo>
                <a:lnTo>
                  <a:pt x="802" y="421"/>
                </a:lnTo>
                <a:lnTo>
                  <a:pt x="792" y="432"/>
                </a:lnTo>
                <a:lnTo>
                  <a:pt x="792" y="432"/>
                </a:lnTo>
                <a:lnTo>
                  <a:pt x="780" y="442"/>
                </a:lnTo>
                <a:lnTo>
                  <a:pt x="769" y="451"/>
                </a:lnTo>
                <a:lnTo>
                  <a:pt x="756" y="459"/>
                </a:lnTo>
                <a:lnTo>
                  <a:pt x="741" y="465"/>
                </a:lnTo>
                <a:lnTo>
                  <a:pt x="727" y="471"/>
                </a:lnTo>
                <a:lnTo>
                  <a:pt x="711" y="475"/>
                </a:lnTo>
                <a:lnTo>
                  <a:pt x="695" y="477"/>
                </a:lnTo>
                <a:lnTo>
                  <a:pt x="679" y="478"/>
                </a:lnTo>
                <a:lnTo>
                  <a:pt x="679" y="478"/>
                </a:lnTo>
                <a:lnTo>
                  <a:pt x="662" y="478"/>
                </a:lnTo>
                <a:lnTo>
                  <a:pt x="646" y="475"/>
                </a:lnTo>
                <a:lnTo>
                  <a:pt x="632" y="471"/>
                </a:lnTo>
                <a:lnTo>
                  <a:pt x="617" y="465"/>
                </a:lnTo>
                <a:lnTo>
                  <a:pt x="603" y="459"/>
                </a:lnTo>
                <a:lnTo>
                  <a:pt x="590" y="451"/>
                </a:lnTo>
                <a:lnTo>
                  <a:pt x="577" y="442"/>
                </a:lnTo>
                <a:lnTo>
                  <a:pt x="566" y="432"/>
                </a:lnTo>
                <a:lnTo>
                  <a:pt x="555" y="419"/>
                </a:lnTo>
                <a:lnTo>
                  <a:pt x="547" y="408"/>
                </a:lnTo>
                <a:lnTo>
                  <a:pt x="538" y="393"/>
                </a:lnTo>
                <a:lnTo>
                  <a:pt x="531" y="381"/>
                </a:lnTo>
                <a:lnTo>
                  <a:pt x="527" y="365"/>
                </a:lnTo>
                <a:lnTo>
                  <a:pt x="522" y="350"/>
                </a:lnTo>
                <a:lnTo>
                  <a:pt x="519" y="335"/>
                </a:lnTo>
                <a:lnTo>
                  <a:pt x="519" y="319"/>
                </a:lnTo>
                <a:lnTo>
                  <a:pt x="519" y="307"/>
                </a:lnTo>
                <a:lnTo>
                  <a:pt x="521" y="294"/>
                </a:lnTo>
                <a:lnTo>
                  <a:pt x="524" y="283"/>
                </a:lnTo>
                <a:lnTo>
                  <a:pt x="527" y="271"/>
                </a:lnTo>
                <a:lnTo>
                  <a:pt x="531" y="260"/>
                </a:lnTo>
                <a:lnTo>
                  <a:pt x="535" y="250"/>
                </a:lnTo>
                <a:lnTo>
                  <a:pt x="541" y="238"/>
                </a:lnTo>
                <a:lnTo>
                  <a:pt x="548" y="228"/>
                </a:lnTo>
                <a:lnTo>
                  <a:pt x="560" y="214"/>
                </a:lnTo>
                <a:lnTo>
                  <a:pt x="574" y="200"/>
                </a:lnTo>
                <a:lnTo>
                  <a:pt x="590" y="187"/>
                </a:lnTo>
                <a:lnTo>
                  <a:pt x="607" y="177"/>
                </a:lnTo>
                <a:lnTo>
                  <a:pt x="602" y="164"/>
                </a:lnTo>
                <a:lnTo>
                  <a:pt x="483" y="281"/>
                </a:lnTo>
                <a:lnTo>
                  <a:pt x="488" y="290"/>
                </a:lnTo>
                <a:lnTo>
                  <a:pt x="491" y="300"/>
                </a:lnTo>
                <a:lnTo>
                  <a:pt x="492" y="309"/>
                </a:lnTo>
                <a:lnTo>
                  <a:pt x="494" y="319"/>
                </a:lnTo>
                <a:lnTo>
                  <a:pt x="492" y="333"/>
                </a:lnTo>
                <a:lnTo>
                  <a:pt x="488" y="347"/>
                </a:lnTo>
                <a:lnTo>
                  <a:pt x="481" y="359"/>
                </a:lnTo>
                <a:lnTo>
                  <a:pt x="472" y="370"/>
                </a:lnTo>
                <a:lnTo>
                  <a:pt x="462" y="379"/>
                </a:lnTo>
                <a:lnTo>
                  <a:pt x="449" y="385"/>
                </a:lnTo>
                <a:lnTo>
                  <a:pt x="436" y="389"/>
                </a:lnTo>
                <a:lnTo>
                  <a:pt x="422" y="391"/>
                </a:lnTo>
                <a:lnTo>
                  <a:pt x="407" y="389"/>
                </a:lnTo>
                <a:lnTo>
                  <a:pt x="393" y="385"/>
                </a:lnTo>
                <a:lnTo>
                  <a:pt x="381" y="379"/>
                </a:lnTo>
                <a:lnTo>
                  <a:pt x="371" y="370"/>
                </a:lnTo>
                <a:lnTo>
                  <a:pt x="370" y="369"/>
                </a:lnTo>
                <a:lnTo>
                  <a:pt x="364" y="362"/>
                </a:lnTo>
                <a:lnTo>
                  <a:pt x="358" y="355"/>
                </a:lnTo>
                <a:lnTo>
                  <a:pt x="354" y="346"/>
                </a:lnTo>
                <a:lnTo>
                  <a:pt x="351" y="336"/>
                </a:lnTo>
                <a:lnTo>
                  <a:pt x="318" y="336"/>
                </a:lnTo>
                <a:lnTo>
                  <a:pt x="316" y="350"/>
                </a:lnTo>
                <a:lnTo>
                  <a:pt x="312" y="363"/>
                </a:lnTo>
                <a:lnTo>
                  <a:pt x="308" y="376"/>
                </a:lnTo>
                <a:lnTo>
                  <a:pt x="303" y="389"/>
                </a:lnTo>
                <a:lnTo>
                  <a:pt x="296" y="401"/>
                </a:lnTo>
                <a:lnTo>
                  <a:pt x="289" y="412"/>
                </a:lnTo>
                <a:lnTo>
                  <a:pt x="280" y="422"/>
                </a:lnTo>
                <a:lnTo>
                  <a:pt x="272" y="432"/>
                </a:lnTo>
                <a:lnTo>
                  <a:pt x="260" y="442"/>
                </a:lnTo>
                <a:lnTo>
                  <a:pt x="249" y="451"/>
                </a:lnTo>
                <a:lnTo>
                  <a:pt x="236" y="459"/>
                </a:lnTo>
                <a:lnTo>
                  <a:pt x="221" y="465"/>
                </a:lnTo>
                <a:lnTo>
                  <a:pt x="207" y="471"/>
                </a:lnTo>
                <a:lnTo>
                  <a:pt x="191" y="475"/>
                </a:lnTo>
                <a:lnTo>
                  <a:pt x="175" y="477"/>
                </a:lnTo>
                <a:lnTo>
                  <a:pt x="159" y="478"/>
                </a:lnTo>
                <a:lnTo>
                  <a:pt x="159" y="478"/>
                </a:lnTo>
                <a:lnTo>
                  <a:pt x="142" y="478"/>
                </a:lnTo>
                <a:lnTo>
                  <a:pt x="126" y="475"/>
                </a:lnTo>
                <a:lnTo>
                  <a:pt x="112" y="471"/>
                </a:lnTo>
                <a:lnTo>
                  <a:pt x="98" y="465"/>
                </a:lnTo>
                <a:lnTo>
                  <a:pt x="83" y="459"/>
                </a:lnTo>
                <a:lnTo>
                  <a:pt x="70" y="451"/>
                </a:lnTo>
                <a:lnTo>
                  <a:pt x="57" y="441"/>
                </a:lnTo>
                <a:lnTo>
                  <a:pt x="46" y="431"/>
                </a:lnTo>
                <a:lnTo>
                  <a:pt x="36" y="419"/>
                </a:lnTo>
                <a:lnTo>
                  <a:pt x="27" y="408"/>
                </a:lnTo>
                <a:lnTo>
                  <a:pt x="18" y="395"/>
                </a:lnTo>
                <a:lnTo>
                  <a:pt x="13" y="381"/>
                </a:lnTo>
                <a:lnTo>
                  <a:pt x="7" y="366"/>
                </a:lnTo>
                <a:lnTo>
                  <a:pt x="3" y="350"/>
                </a:lnTo>
                <a:lnTo>
                  <a:pt x="1" y="335"/>
                </a:lnTo>
                <a:lnTo>
                  <a:pt x="0" y="319"/>
                </a:lnTo>
                <a:lnTo>
                  <a:pt x="0" y="319"/>
                </a:lnTo>
                <a:lnTo>
                  <a:pt x="1" y="303"/>
                </a:lnTo>
                <a:lnTo>
                  <a:pt x="3" y="287"/>
                </a:lnTo>
                <a:lnTo>
                  <a:pt x="7" y="271"/>
                </a:lnTo>
                <a:lnTo>
                  <a:pt x="13" y="257"/>
                </a:lnTo>
                <a:lnTo>
                  <a:pt x="18" y="243"/>
                </a:lnTo>
                <a:lnTo>
                  <a:pt x="27" y="230"/>
                </a:lnTo>
                <a:lnTo>
                  <a:pt x="36" y="218"/>
                </a:lnTo>
                <a:lnTo>
                  <a:pt x="46" y="207"/>
                </a:lnTo>
                <a:lnTo>
                  <a:pt x="47" y="205"/>
                </a:lnTo>
                <a:lnTo>
                  <a:pt x="59" y="195"/>
                </a:lnTo>
                <a:lnTo>
                  <a:pt x="70" y="187"/>
                </a:lnTo>
                <a:lnTo>
                  <a:pt x="85" y="178"/>
                </a:lnTo>
                <a:lnTo>
                  <a:pt x="98" y="172"/>
                </a:lnTo>
                <a:lnTo>
                  <a:pt x="112" y="167"/>
                </a:lnTo>
                <a:lnTo>
                  <a:pt x="128" y="164"/>
                </a:lnTo>
                <a:lnTo>
                  <a:pt x="144" y="161"/>
                </a:lnTo>
                <a:lnTo>
                  <a:pt x="159" y="159"/>
                </a:lnTo>
                <a:lnTo>
                  <a:pt x="170" y="161"/>
                </a:lnTo>
                <a:lnTo>
                  <a:pt x="181" y="161"/>
                </a:lnTo>
                <a:lnTo>
                  <a:pt x="191" y="164"/>
                </a:lnTo>
                <a:lnTo>
                  <a:pt x="201" y="165"/>
                </a:lnTo>
                <a:lnTo>
                  <a:pt x="208" y="169"/>
                </a:lnTo>
                <a:lnTo>
                  <a:pt x="211" y="174"/>
                </a:lnTo>
                <a:lnTo>
                  <a:pt x="214" y="179"/>
                </a:lnTo>
                <a:lnTo>
                  <a:pt x="214" y="187"/>
                </a:lnTo>
                <a:lnTo>
                  <a:pt x="210" y="192"/>
                </a:lnTo>
                <a:lnTo>
                  <a:pt x="206" y="197"/>
                </a:lnTo>
                <a:lnTo>
                  <a:pt x="200" y="200"/>
                </a:lnTo>
                <a:lnTo>
                  <a:pt x="193" y="198"/>
                </a:lnTo>
                <a:lnTo>
                  <a:pt x="184" y="197"/>
                </a:lnTo>
                <a:lnTo>
                  <a:pt x="177" y="195"/>
                </a:lnTo>
                <a:lnTo>
                  <a:pt x="168" y="194"/>
                </a:lnTo>
                <a:lnTo>
                  <a:pt x="159" y="194"/>
                </a:lnTo>
                <a:lnTo>
                  <a:pt x="147" y="195"/>
                </a:lnTo>
                <a:lnTo>
                  <a:pt x="134" y="197"/>
                </a:lnTo>
                <a:lnTo>
                  <a:pt x="122" y="200"/>
                </a:lnTo>
                <a:lnTo>
                  <a:pt x="111" y="204"/>
                </a:lnTo>
                <a:lnTo>
                  <a:pt x="100" y="208"/>
                </a:lnTo>
                <a:lnTo>
                  <a:pt x="90" y="215"/>
                </a:lnTo>
                <a:lnTo>
                  <a:pt x="80" y="223"/>
                </a:lnTo>
                <a:lnTo>
                  <a:pt x="72" y="230"/>
                </a:lnTo>
                <a:lnTo>
                  <a:pt x="70" y="231"/>
                </a:lnTo>
                <a:lnTo>
                  <a:pt x="63" y="240"/>
                </a:lnTo>
                <a:lnTo>
                  <a:pt x="56" y="250"/>
                </a:lnTo>
                <a:lnTo>
                  <a:pt x="49" y="260"/>
                </a:lnTo>
                <a:lnTo>
                  <a:pt x="44" y="270"/>
                </a:lnTo>
                <a:lnTo>
                  <a:pt x="40" y="281"/>
                </a:lnTo>
                <a:lnTo>
                  <a:pt x="36" y="294"/>
                </a:lnTo>
                <a:lnTo>
                  <a:pt x="34" y="306"/>
                </a:lnTo>
                <a:lnTo>
                  <a:pt x="34" y="319"/>
                </a:lnTo>
                <a:lnTo>
                  <a:pt x="34" y="319"/>
                </a:lnTo>
                <a:lnTo>
                  <a:pt x="34" y="332"/>
                </a:lnTo>
                <a:lnTo>
                  <a:pt x="36" y="345"/>
                </a:lnTo>
                <a:lnTo>
                  <a:pt x="40" y="356"/>
                </a:lnTo>
                <a:lnTo>
                  <a:pt x="44" y="368"/>
                </a:lnTo>
                <a:lnTo>
                  <a:pt x="49" y="379"/>
                </a:lnTo>
                <a:lnTo>
                  <a:pt x="56" y="389"/>
                </a:lnTo>
                <a:lnTo>
                  <a:pt x="63" y="399"/>
                </a:lnTo>
                <a:lnTo>
                  <a:pt x="70" y="408"/>
                </a:lnTo>
                <a:lnTo>
                  <a:pt x="80" y="416"/>
                </a:lnTo>
                <a:lnTo>
                  <a:pt x="89" y="424"/>
                </a:lnTo>
                <a:lnTo>
                  <a:pt x="100" y="429"/>
                </a:lnTo>
                <a:lnTo>
                  <a:pt x="111" y="435"/>
                </a:lnTo>
                <a:lnTo>
                  <a:pt x="122" y="439"/>
                </a:lnTo>
                <a:lnTo>
                  <a:pt x="135" y="442"/>
                </a:lnTo>
                <a:lnTo>
                  <a:pt x="147" y="444"/>
                </a:lnTo>
                <a:lnTo>
                  <a:pt x="159" y="444"/>
                </a:lnTo>
                <a:lnTo>
                  <a:pt x="159" y="444"/>
                </a:lnTo>
                <a:lnTo>
                  <a:pt x="172" y="444"/>
                </a:lnTo>
                <a:lnTo>
                  <a:pt x="184" y="442"/>
                </a:lnTo>
                <a:lnTo>
                  <a:pt x="197" y="438"/>
                </a:lnTo>
                <a:lnTo>
                  <a:pt x="208" y="435"/>
                </a:lnTo>
                <a:lnTo>
                  <a:pt x="219" y="429"/>
                </a:lnTo>
                <a:lnTo>
                  <a:pt x="230" y="424"/>
                </a:lnTo>
                <a:lnTo>
                  <a:pt x="239" y="415"/>
                </a:lnTo>
                <a:lnTo>
                  <a:pt x="247" y="408"/>
                </a:lnTo>
                <a:lnTo>
                  <a:pt x="255" y="401"/>
                </a:lnTo>
                <a:lnTo>
                  <a:pt x="260" y="392"/>
                </a:lnTo>
                <a:lnTo>
                  <a:pt x="266" y="383"/>
                </a:lnTo>
                <a:lnTo>
                  <a:pt x="272" y="375"/>
                </a:lnTo>
                <a:lnTo>
                  <a:pt x="276" y="366"/>
                </a:lnTo>
                <a:lnTo>
                  <a:pt x="279" y="356"/>
                </a:lnTo>
                <a:lnTo>
                  <a:pt x="282" y="346"/>
                </a:lnTo>
                <a:lnTo>
                  <a:pt x="283" y="336"/>
                </a:lnTo>
                <a:lnTo>
                  <a:pt x="159" y="336"/>
                </a:lnTo>
                <a:lnTo>
                  <a:pt x="159" y="336"/>
                </a:lnTo>
                <a:lnTo>
                  <a:pt x="154" y="335"/>
                </a:lnTo>
                <a:lnTo>
                  <a:pt x="149" y="333"/>
                </a:lnTo>
                <a:lnTo>
                  <a:pt x="145" y="327"/>
                </a:lnTo>
                <a:lnTo>
                  <a:pt x="142" y="322"/>
                </a:lnTo>
                <a:lnTo>
                  <a:pt x="142" y="316"/>
                </a:lnTo>
                <a:lnTo>
                  <a:pt x="145" y="309"/>
                </a:lnTo>
                <a:lnTo>
                  <a:pt x="311" y="83"/>
                </a:lnTo>
                <a:lnTo>
                  <a:pt x="314" y="80"/>
                </a:lnTo>
                <a:lnTo>
                  <a:pt x="316" y="78"/>
                </a:lnTo>
                <a:lnTo>
                  <a:pt x="321" y="76"/>
                </a:lnTo>
                <a:lnTo>
                  <a:pt x="325" y="75"/>
                </a:lnTo>
                <a:lnTo>
                  <a:pt x="568" y="75"/>
                </a:lnTo>
                <a:lnTo>
                  <a:pt x="561" y="56"/>
                </a:lnTo>
                <a:lnTo>
                  <a:pt x="560" y="53"/>
                </a:lnTo>
                <a:lnTo>
                  <a:pt x="560" y="50"/>
                </a:lnTo>
                <a:lnTo>
                  <a:pt x="560" y="19"/>
                </a:lnTo>
                <a:lnTo>
                  <a:pt x="560" y="17"/>
                </a:lnTo>
                <a:lnTo>
                  <a:pt x="561" y="10"/>
                </a:lnTo>
                <a:lnTo>
                  <a:pt x="564" y="4"/>
                </a:lnTo>
                <a:lnTo>
                  <a:pt x="570" y="1"/>
                </a:lnTo>
                <a:lnTo>
                  <a:pt x="577" y="0"/>
                </a:lnTo>
                <a:lnTo>
                  <a:pt x="661" y="0"/>
                </a:lnTo>
                <a:lnTo>
                  <a:pt x="674" y="1"/>
                </a:lnTo>
                <a:lnTo>
                  <a:pt x="687" y="4"/>
                </a:lnTo>
                <a:lnTo>
                  <a:pt x="697" y="11"/>
                </a:lnTo>
                <a:lnTo>
                  <a:pt x="707" y="19"/>
                </a:lnTo>
                <a:lnTo>
                  <a:pt x="707" y="19"/>
                </a:lnTo>
                <a:lnTo>
                  <a:pt x="707" y="19"/>
                </a:lnTo>
                <a:lnTo>
                  <a:pt x="715" y="29"/>
                </a:lnTo>
                <a:lnTo>
                  <a:pt x="721" y="40"/>
                </a:lnTo>
                <a:lnTo>
                  <a:pt x="725" y="52"/>
                </a:lnTo>
                <a:lnTo>
                  <a:pt x="727" y="65"/>
                </a:lnTo>
                <a:lnTo>
                  <a:pt x="725" y="79"/>
                </a:lnTo>
                <a:lnTo>
                  <a:pt x="721" y="90"/>
                </a:lnTo>
                <a:lnTo>
                  <a:pt x="715" y="102"/>
                </a:lnTo>
                <a:lnTo>
                  <a:pt x="707" y="112"/>
                </a:lnTo>
                <a:lnTo>
                  <a:pt x="697" y="119"/>
                </a:lnTo>
                <a:lnTo>
                  <a:pt x="687" y="125"/>
                </a:lnTo>
                <a:lnTo>
                  <a:pt x="674" y="129"/>
                </a:lnTo>
                <a:lnTo>
                  <a:pt x="661" y="131"/>
                </a:lnTo>
                <a:lnTo>
                  <a:pt x="653" y="129"/>
                </a:lnTo>
                <a:lnTo>
                  <a:pt x="649" y="125"/>
                </a:lnTo>
                <a:lnTo>
                  <a:pt x="645" y="121"/>
                </a:lnTo>
                <a:lnTo>
                  <a:pt x="643" y="113"/>
                </a:lnTo>
                <a:lnTo>
                  <a:pt x="645" y="106"/>
                </a:lnTo>
                <a:lnTo>
                  <a:pt x="649" y="102"/>
                </a:lnTo>
                <a:lnTo>
                  <a:pt x="653" y="98"/>
                </a:lnTo>
                <a:lnTo>
                  <a:pt x="661" y="96"/>
                </a:lnTo>
                <a:lnTo>
                  <a:pt x="666" y="96"/>
                </a:lnTo>
                <a:lnTo>
                  <a:pt x="672" y="93"/>
                </a:lnTo>
                <a:lnTo>
                  <a:pt x="678" y="90"/>
                </a:lnTo>
                <a:lnTo>
                  <a:pt x="682" y="88"/>
                </a:lnTo>
                <a:lnTo>
                  <a:pt x="687" y="83"/>
                </a:lnTo>
                <a:lnTo>
                  <a:pt x="689" y="78"/>
                </a:lnTo>
                <a:lnTo>
                  <a:pt x="691" y="72"/>
                </a:lnTo>
                <a:lnTo>
                  <a:pt x="692" y="65"/>
                </a:lnTo>
                <a:lnTo>
                  <a:pt x="691" y="59"/>
                </a:lnTo>
                <a:lnTo>
                  <a:pt x="689" y="53"/>
                </a:lnTo>
                <a:lnTo>
                  <a:pt x="687" y="47"/>
                </a:lnTo>
                <a:lnTo>
                  <a:pt x="682" y="43"/>
                </a:lnTo>
                <a:lnTo>
                  <a:pt x="682" y="43"/>
                </a:lnTo>
                <a:lnTo>
                  <a:pt x="678" y="39"/>
                </a:lnTo>
                <a:lnTo>
                  <a:pt x="672" y="36"/>
                </a:lnTo>
                <a:lnTo>
                  <a:pt x="666" y="34"/>
                </a:lnTo>
                <a:lnTo>
                  <a:pt x="661" y="34"/>
                </a:lnTo>
                <a:lnTo>
                  <a:pt x="594" y="34"/>
                </a:lnTo>
                <a:lnTo>
                  <a:pt x="594" y="47"/>
                </a:lnTo>
                <a:lnTo>
                  <a:pt x="607" y="85"/>
                </a:lnTo>
                <a:lnTo>
                  <a:pt x="609" y="88"/>
                </a:lnTo>
                <a:lnTo>
                  <a:pt x="695" y="313"/>
                </a:lnTo>
                <a:lnTo>
                  <a:pt x="697" y="320"/>
                </a:lnTo>
                <a:lnTo>
                  <a:pt x="695" y="326"/>
                </a:lnTo>
                <a:lnTo>
                  <a:pt x="691" y="332"/>
                </a:lnTo>
                <a:lnTo>
                  <a:pt x="685" y="335"/>
                </a:lnTo>
                <a:lnTo>
                  <a:pt x="678" y="336"/>
                </a:lnTo>
                <a:lnTo>
                  <a:pt x="672" y="335"/>
                </a:lnTo>
                <a:lnTo>
                  <a:pt x="666" y="330"/>
                </a:lnTo>
                <a:lnTo>
                  <a:pt x="663" y="325"/>
                </a:lnTo>
                <a:lnTo>
                  <a:pt x="619" y="210"/>
                </a:lnTo>
                <a:lnTo>
                  <a:pt x="606" y="217"/>
                </a:lnTo>
                <a:lnTo>
                  <a:pt x="594" y="227"/>
                </a:lnTo>
                <a:lnTo>
                  <a:pt x="584" y="237"/>
                </a:lnTo>
                <a:lnTo>
                  <a:pt x="576" y="248"/>
                </a:lnTo>
                <a:lnTo>
                  <a:pt x="566" y="264"/>
                </a:lnTo>
                <a:lnTo>
                  <a:pt x="560" y="281"/>
                </a:lnTo>
                <a:lnTo>
                  <a:pt x="557" y="290"/>
                </a:lnTo>
                <a:lnTo>
                  <a:pt x="555" y="300"/>
                </a:lnTo>
                <a:lnTo>
                  <a:pt x="554" y="309"/>
                </a:lnTo>
                <a:lnTo>
                  <a:pt x="554" y="319"/>
                </a:lnTo>
                <a:lnTo>
                  <a:pt x="554" y="332"/>
                </a:lnTo>
                <a:lnTo>
                  <a:pt x="555" y="345"/>
                </a:lnTo>
                <a:lnTo>
                  <a:pt x="560" y="356"/>
                </a:lnTo>
                <a:lnTo>
                  <a:pt x="563" y="368"/>
                </a:lnTo>
                <a:lnTo>
                  <a:pt x="568" y="379"/>
                </a:lnTo>
                <a:lnTo>
                  <a:pt x="574" y="389"/>
                </a:lnTo>
                <a:lnTo>
                  <a:pt x="581" y="399"/>
                </a:lnTo>
                <a:lnTo>
                  <a:pt x="590" y="408"/>
                </a:lnTo>
                <a:lnTo>
                  <a:pt x="599" y="416"/>
                </a:lnTo>
                <a:lnTo>
                  <a:pt x="609" y="424"/>
                </a:lnTo>
                <a:lnTo>
                  <a:pt x="619" y="429"/>
                </a:lnTo>
                <a:lnTo>
                  <a:pt x="630" y="435"/>
                </a:lnTo>
                <a:lnTo>
                  <a:pt x="640" y="439"/>
                </a:lnTo>
                <a:lnTo>
                  <a:pt x="652" y="442"/>
                </a:lnTo>
                <a:lnTo>
                  <a:pt x="665" y="444"/>
                </a:lnTo>
                <a:lnTo>
                  <a:pt x="676" y="444"/>
                </a:lnTo>
                <a:lnTo>
                  <a:pt x="679" y="444"/>
                </a:lnTo>
                <a:lnTo>
                  <a:pt x="692" y="444"/>
                </a:lnTo>
                <a:lnTo>
                  <a:pt x="704" y="442"/>
                </a:lnTo>
                <a:lnTo>
                  <a:pt x="717" y="438"/>
                </a:lnTo>
                <a:lnTo>
                  <a:pt x="728" y="435"/>
                </a:lnTo>
                <a:lnTo>
                  <a:pt x="738" y="429"/>
                </a:lnTo>
                <a:lnTo>
                  <a:pt x="748" y="422"/>
                </a:lnTo>
                <a:lnTo>
                  <a:pt x="759" y="415"/>
                </a:lnTo>
                <a:lnTo>
                  <a:pt x="767" y="408"/>
                </a:lnTo>
                <a:lnTo>
                  <a:pt x="776" y="399"/>
                </a:lnTo>
                <a:lnTo>
                  <a:pt x="783" y="389"/>
                </a:lnTo>
                <a:lnTo>
                  <a:pt x="789" y="379"/>
                </a:lnTo>
                <a:lnTo>
                  <a:pt x="795" y="369"/>
                </a:lnTo>
                <a:lnTo>
                  <a:pt x="799" y="358"/>
                </a:lnTo>
                <a:lnTo>
                  <a:pt x="802" y="346"/>
                </a:lnTo>
                <a:lnTo>
                  <a:pt x="803" y="333"/>
                </a:lnTo>
                <a:lnTo>
                  <a:pt x="805" y="320"/>
                </a:lnTo>
                <a:lnTo>
                  <a:pt x="805" y="319"/>
                </a:lnTo>
                <a:lnTo>
                  <a:pt x="803" y="306"/>
                </a:lnTo>
                <a:lnTo>
                  <a:pt x="802" y="294"/>
                </a:lnTo>
                <a:lnTo>
                  <a:pt x="799" y="281"/>
                </a:lnTo>
                <a:lnTo>
                  <a:pt x="795" y="270"/>
                </a:lnTo>
                <a:lnTo>
                  <a:pt x="789" y="260"/>
                </a:lnTo>
                <a:lnTo>
                  <a:pt x="783" y="250"/>
                </a:lnTo>
                <a:lnTo>
                  <a:pt x="776" y="240"/>
                </a:lnTo>
                <a:lnTo>
                  <a:pt x="767" y="231"/>
                </a:lnTo>
                <a:lnTo>
                  <a:pt x="759" y="223"/>
                </a:lnTo>
                <a:lnTo>
                  <a:pt x="748" y="215"/>
                </a:lnTo>
                <a:lnTo>
                  <a:pt x="738" y="210"/>
                </a:lnTo>
                <a:lnTo>
                  <a:pt x="728" y="204"/>
                </a:lnTo>
                <a:lnTo>
                  <a:pt x="717" y="200"/>
                </a:lnTo>
                <a:lnTo>
                  <a:pt x="704" y="197"/>
                </a:lnTo>
                <a:lnTo>
                  <a:pt x="692" y="194"/>
                </a:lnTo>
                <a:lnTo>
                  <a:pt x="679" y="194"/>
                </a:lnTo>
                <a:close/>
                <a:moveTo>
                  <a:pt x="283" y="302"/>
                </a:moveTo>
                <a:lnTo>
                  <a:pt x="283" y="302"/>
                </a:lnTo>
                <a:lnTo>
                  <a:pt x="282" y="291"/>
                </a:lnTo>
                <a:lnTo>
                  <a:pt x="279" y="281"/>
                </a:lnTo>
                <a:lnTo>
                  <a:pt x="276" y="271"/>
                </a:lnTo>
                <a:lnTo>
                  <a:pt x="272" y="263"/>
                </a:lnTo>
                <a:lnTo>
                  <a:pt x="266" y="253"/>
                </a:lnTo>
                <a:lnTo>
                  <a:pt x="260" y="244"/>
                </a:lnTo>
                <a:lnTo>
                  <a:pt x="253" y="237"/>
                </a:lnTo>
                <a:lnTo>
                  <a:pt x="246" y="228"/>
                </a:lnTo>
                <a:lnTo>
                  <a:pt x="193" y="302"/>
                </a:lnTo>
                <a:lnTo>
                  <a:pt x="283" y="302"/>
                </a:lnTo>
                <a:close/>
              </a:path>
            </a:pathLst>
          </a:cu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4" name="Skupina 1063">
            <a:extLst>
              <a:ext uri="{FF2B5EF4-FFF2-40B4-BE49-F238E27FC236}">
                <a16:creationId xmlns:a16="http://schemas.microsoft.com/office/drawing/2014/main" id="{B900F3B0-50CB-3406-4A0D-127ABEACB7BF}"/>
              </a:ext>
            </a:extLst>
          </p:cNvPr>
          <p:cNvGrpSpPr/>
          <p:nvPr/>
        </p:nvGrpSpPr>
        <p:grpSpPr>
          <a:xfrm>
            <a:off x="10572750" y="2193925"/>
            <a:ext cx="952500" cy="950913"/>
            <a:chOff x="10572750" y="2193925"/>
            <a:chExt cx="952500" cy="950913"/>
          </a:xfrm>
        </p:grpSpPr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29C73B0-FDBE-ED19-835D-21C1D07B8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2750" y="2193925"/>
              <a:ext cx="952500" cy="950913"/>
            </a:xfrm>
            <a:custGeom>
              <a:avLst/>
              <a:gdLst>
                <a:gd name="T0" fmla="*/ 206 w 1800"/>
                <a:gd name="T1" fmla="*/ 325 h 1795"/>
                <a:gd name="T2" fmla="*/ 131 w 1800"/>
                <a:gd name="T3" fmla="*/ 432 h 1795"/>
                <a:gd name="T4" fmla="*/ 71 w 1800"/>
                <a:gd name="T5" fmla="*/ 547 h 1795"/>
                <a:gd name="T6" fmla="*/ 29 w 1800"/>
                <a:gd name="T7" fmla="*/ 672 h 1795"/>
                <a:gd name="T8" fmla="*/ 4 w 1800"/>
                <a:gd name="T9" fmla="*/ 804 h 1795"/>
                <a:gd name="T10" fmla="*/ 0 w 1800"/>
                <a:gd name="T11" fmla="*/ 898 h 1795"/>
                <a:gd name="T12" fmla="*/ 10 w 1800"/>
                <a:gd name="T13" fmla="*/ 1035 h 1795"/>
                <a:gd name="T14" fmla="*/ 40 w 1800"/>
                <a:gd name="T15" fmla="*/ 1164 h 1795"/>
                <a:gd name="T16" fmla="*/ 89 w 1800"/>
                <a:gd name="T17" fmla="*/ 1286 h 1795"/>
                <a:gd name="T18" fmla="*/ 154 w 1800"/>
                <a:gd name="T19" fmla="*/ 1400 h 1795"/>
                <a:gd name="T20" fmla="*/ 233 w 1800"/>
                <a:gd name="T21" fmla="*/ 1500 h 1795"/>
                <a:gd name="T22" fmla="*/ 327 w 1800"/>
                <a:gd name="T23" fmla="*/ 1589 h 1795"/>
                <a:gd name="T24" fmla="*/ 433 w 1800"/>
                <a:gd name="T25" fmla="*/ 1664 h 1795"/>
                <a:gd name="T26" fmla="*/ 550 w 1800"/>
                <a:gd name="T27" fmla="*/ 1724 h 1795"/>
                <a:gd name="T28" fmla="*/ 675 w 1800"/>
                <a:gd name="T29" fmla="*/ 1766 h 1795"/>
                <a:gd name="T30" fmla="*/ 808 w 1800"/>
                <a:gd name="T31" fmla="*/ 1790 h 1795"/>
                <a:gd name="T32" fmla="*/ 900 w 1800"/>
                <a:gd name="T33" fmla="*/ 1795 h 1795"/>
                <a:gd name="T34" fmla="*/ 1037 w 1800"/>
                <a:gd name="T35" fmla="*/ 1784 h 1795"/>
                <a:gd name="T36" fmla="*/ 1168 w 1800"/>
                <a:gd name="T37" fmla="*/ 1754 h 1795"/>
                <a:gd name="T38" fmla="*/ 1290 w 1800"/>
                <a:gd name="T39" fmla="*/ 1705 h 1795"/>
                <a:gd name="T40" fmla="*/ 1404 w 1800"/>
                <a:gd name="T41" fmla="*/ 1641 h 1795"/>
                <a:gd name="T42" fmla="*/ 1505 w 1800"/>
                <a:gd name="T43" fmla="*/ 1562 h 1795"/>
                <a:gd name="T44" fmla="*/ 1594 w 1800"/>
                <a:gd name="T45" fmla="*/ 1469 h 1795"/>
                <a:gd name="T46" fmla="*/ 1670 w 1800"/>
                <a:gd name="T47" fmla="*/ 1362 h 1795"/>
                <a:gd name="T48" fmla="*/ 1729 w 1800"/>
                <a:gd name="T49" fmla="*/ 1246 h 1795"/>
                <a:gd name="T50" fmla="*/ 1771 w 1800"/>
                <a:gd name="T51" fmla="*/ 1121 h 1795"/>
                <a:gd name="T52" fmla="*/ 1796 w 1800"/>
                <a:gd name="T53" fmla="*/ 989 h 1795"/>
                <a:gd name="T54" fmla="*/ 1799 w 1800"/>
                <a:gd name="T55" fmla="*/ 851 h 1795"/>
                <a:gd name="T56" fmla="*/ 1781 w 1800"/>
                <a:gd name="T57" fmla="*/ 716 h 1795"/>
                <a:gd name="T58" fmla="*/ 1745 w 1800"/>
                <a:gd name="T59" fmla="*/ 588 h 1795"/>
                <a:gd name="T60" fmla="*/ 1692 w 1800"/>
                <a:gd name="T61" fmla="*/ 469 h 1795"/>
                <a:gd name="T62" fmla="*/ 1621 w 1800"/>
                <a:gd name="T63" fmla="*/ 360 h 1795"/>
                <a:gd name="T64" fmla="*/ 1536 w 1800"/>
                <a:gd name="T65" fmla="*/ 262 h 1795"/>
                <a:gd name="T66" fmla="*/ 1439 w 1800"/>
                <a:gd name="T67" fmla="*/ 178 h 1795"/>
                <a:gd name="T68" fmla="*/ 1329 w 1800"/>
                <a:gd name="T69" fmla="*/ 107 h 1795"/>
                <a:gd name="T70" fmla="*/ 1210 w 1800"/>
                <a:gd name="T71" fmla="*/ 54 h 1795"/>
                <a:gd name="T72" fmla="*/ 1081 w 1800"/>
                <a:gd name="T73" fmla="*/ 18 h 1795"/>
                <a:gd name="T74" fmla="*/ 946 w 1800"/>
                <a:gd name="T75" fmla="*/ 1 h 1795"/>
                <a:gd name="T76" fmla="*/ 808 w 1800"/>
                <a:gd name="T77" fmla="*/ 4 h 1795"/>
                <a:gd name="T78" fmla="*/ 675 w 1800"/>
                <a:gd name="T79" fmla="*/ 28 h 1795"/>
                <a:gd name="T80" fmla="*/ 550 w 1800"/>
                <a:gd name="T81" fmla="*/ 70 h 1795"/>
                <a:gd name="T82" fmla="*/ 433 w 1800"/>
                <a:gd name="T83" fmla="*/ 129 h 1795"/>
                <a:gd name="T84" fmla="*/ 327 w 1800"/>
                <a:gd name="T85" fmla="*/ 205 h 1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0" h="1795">
                  <a:moveTo>
                    <a:pt x="264" y="262"/>
                  </a:moveTo>
                  <a:lnTo>
                    <a:pt x="233" y="294"/>
                  </a:lnTo>
                  <a:lnTo>
                    <a:pt x="206" y="325"/>
                  </a:lnTo>
                  <a:lnTo>
                    <a:pt x="179" y="360"/>
                  </a:lnTo>
                  <a:lnTo>
                    <a:pt x="154" y="394"/>
                  </a:lnTo>
                  <a:lnTo>
                    <a:pt x="131" y="432"/>
                  </a:lnTo>
                  <a:lnTo>
                    <a:pt x="109" y="469"/>
                  </a:lnTo>
                  <a:lnTo>
                    <a:pt x="89" y="508"/>
                  </a:lnTo>
                  <a:lnTo>
                    <a:pt x="71" y="547"/>
                  </a:lnTo>
                  <a:lnTo>
                    <a:pt x="55" y="588"/>
                  </a:lnTo>
                  <a:lnTo>
                    <a:pt x="40" y="630"/>
                  </a:lnTo>
                  <a:lnTo>
                    <a:pt x="29" y="672"/>
                  </a:lnTo>
                  <a:lnTo>
                    <a:pt x="19" y="715"/>
                  </a:lnTo>
                  <a:lnTo>
                    <a:pt x="10" y="759"/>
                  </a:lnTo>
                  <a:lnTo>
                    <a:pt x="4" y="804"/>
                  </a:lnTo>
                  <a:lnTo>
                    <a:pt x="1" y="850"/>
                  </a:lnTo>
                  <a:lnTo>
                    <a:pt x="0" y="896"/>
                  </a:lnTo>
                  <a:lnTo>
                    <a:pt x="0" y="898"/>
                  </a:lnTo>
                  <a:lnTo>
                    <a:pt x="1" y="944"/>
                  </a:lnTo>
                  <a:lnTo>
                    <a:pt x="4" y="990"/>
                  </a:lnTo>
                  <a:lnTo>
                    <a:pt x="10" y="1035"/>
                  </a:lnTo>
                  <a:lnTo>
                    <a:pt x="19" y="1079"/>
                  </a:lnTo>
                  <a:lnTo>
                    <a:pt x="29" y="1122"/>
                  </a:lnTo>
                  <a:lnTo>
                    <a:pt x="40" y="1164"/>
                  </a:lnTo>
                  <a:lnTo>
                    <a:pt x="55" y="1206"/>
                  </a:lnTo>
                  <a:lnTo>
                    <a:pt x="71" y="1247"/>
                  </a:lnTo>
                  <a:lnTo>
                    <a:pt x="89" y="1286"/>
                  </a:lnTo>
                  <a:lnTo>
                    <a:pt x="109" y="1325"/>
                  </a:lnTo>
                  <a:lnTo>
                    <a:pt x="131" y="1362"/>
                  </a:lnTo>
                  <a:lnTo>
                    <a:pt x="154" y="1400"/>
                  </a:lnTo>
                  <a:lnTo>
                    <a:pt x="179" y="1434"/>
                  </a:lnTo>
                  <a:lnTo>
                    <a:pt x="206" y="1469"/>
                  </a:lnTo>
                  <a:lnTo>
                    <a:pt x="233" y="1500"/>
                  </a:lnTo>
                  <a:lnTo>
                    <a:pt x="264" y="1532"/>
                  </a:lnTo>
                  <a:lnTo>
                    <a:pt x="295" y="1562"/>
                  </a:lnTo>
                  <a:lnTo>
                    <a:pt x="327" y="1589"/>
                  </a:lnTo>
                  <a:lnTo>
                    <a:pt x="361" y="1616"/>
                  </a:lnTo>
                  <a:lnTo>
                    <a:pt x="396" y="1641"/>
                  </a:lnTo>
                  <a:lnTo>
                    <a:pt x="433" y="1664"/>
                  </a:lnTo>
                  <a:lnTo>
                    <a:pt x="471" y="1687"/>
                  </a:lnTo>
                  <a:lnTo>
                    <a:pt x="510" y="1705"/>
                  </a:lnTo>
                  <a:lnTo>
                    <a:pt x="550" y="1724"/>
                  </a:lnTo>
                  <a:lnTo>
                    <a:pt x="590" y="1740"/>
                  </a:lnTo>
                  <a:lnTo>
                    <a:pt x="632" y="1754"/>
                  </a:lnTo>
                  <a:lnTo>
                    <a:pt x="675" y="1766"/>
                  </a:lnTo>
                  <a:lnTo>
                    <a:pt x="719" y="1776"/>
                  </a:lnTo>
                  <a:lnTo>
                    <a:pt x="763" y="1784"/>
                  </a:lnTo>
                  <a:lnTo>
                    <a:pt x="808" y="1790"/>
                  </a:lnTo>
                  <a:lnTo>
                    <a:pt x="852" y="1793"/>
                  </a:lnTo>
                  <a:lnTo>
                    <a:pt x="900" y="1795"/>
                  </a:lnTo>
                  <a:lnTo>
                    <a:pt x="900" y="1795"/>
                  </a:lnTo>
                  <a:lnTo>
                    <a:pt x="948" y="1793"/>
                  </a:lnTo>
                  <a:lnTo>
                    <a:pt x="992" y="1790"/>
                  </a:lnTo>
                  <a:lnTo>
                    <a:pt x="1037" y="1784"/>
                  </a:lnTo>
                  <a:lnTo>
                    <a:pt x="1081" y="1776"/>
                  </a:lnTo>
                  <a:lnTo>
                    <a:pt x="1125" y="1766"/>
                  </a:lnTo>
                  <a:lnTo>
                    <a:pt x="1168" y="1754"/>
                  </a:lnTo>
                  <a:lnTo>
                    <a:pt x="1210" y="1740"/>
                  </a:lnTo>
                  <a:lnTo>
                    <a:pt x="1250" y="1724"/>
                  </a:lnTo>
                  <a:lnTo>
                    <a:pt x="1290" y="1705"/>
                  </a:lnTo>
                  <a:lnTo>
                    <a:pt x="1329" y="1687"/>
                  </a:lnTo>
                  <a:lnTo>
                    <a:pt x="1367" y="1664"/>
                  </a:lnTo>
                  <a:lnTo>
                    <a:pt x="1404" y="1641"/>
                  </a:lnTo>
                  <a:lnTo>
                    <a:pt x="1439" y="1616"/>
                  </a:lnTo>
                  <a:lnTo>
                    <a:pt x="1473" y="1589"/>
                  </a:lnTo>
                  <a:lnTo>
                    <a:pt x="1505" y="1562"/>
                  </a:lnTo>
                  <a:lnTo>
                    <a:pt x="1536" y="1532"/>
                  </a:lnTo>
                  <a:lnTo>
                    <a:pt x="1567" y="1500"/>
                  </a:lnTo>
                  <a:lnTo>
                    <a:pt x="1594" y="1469"/>
                  </a:lnTo>
                  <a:lnTo>
                    <a:pt x="1621" y="1434"/>
                  </a:lnTo>
                  <a:lnTo>
                    <a:pt x="1646" y="1398"/>
                  </a:lnTo>
                  <a:lnTo>
                    <a:pt x="1670" y="1362"/>
                  </a:lnTo>
                  <a:lnTo>
                    <a:pt x="1692" y="1325"/>
                  </a:lnTo>
                  <a:lnTo>
                    <a:pt x="1711" y="1286"/>
                  </a:lnTo>
                  <a:lnTo>
                    <a:pt x="1729" y="1246"/>
                  </a:lnTo>
                  <a:lnTo>
                    <a:pt x="1745" y="1206"/>
                  </a:lnTo>
                  <a:lnTo>
                    <a:pt x="1760" y="1164"/>
                  </a:lnTo>
                  <a:lnTo>
                    <a:pt x="1771" y="1121"/>
                  </a:lnTo>
                  <a:lnTo>
                    <a:pt x="1781" y="1078"/>
                  </a:lnTo>
                  <a:lnTo>
                    <a:pt x="1790" y="1033"/>
                  </a:lnTo>
                  <a:lnTo>
                    <a:pt x="1796" y="989"/>
                  </a:lnTo>
                  <a:lnTo>
                    <a:pt x="1799" y="943"/>
                  </a:lnTo>
                  <a:lnTo>
                    <a:pt x="1800" y="897"/>
                  </a:lnTo>
                  <a:lnTo>
                    <a:pt x="1799" y="851"/>
                  </a:lnTo>
                  <a:lnTo>
                    <a:pt x="1796" y="805"/>
                  </a:lnTo>
                  <a:lnTo>
                    <a:pt x="1790" y="761"/>
                  </a:lnTo>
                  <a:lnTo>
                    <a:pt x="1781" y="716"/>
                  </a:lnTo>
                  <a:lnTo>
                    <a:pt x="1771" y="673"/>
                  </a:lnTo>
                  <a:lnTo>
                    <a:pt x="1760" y="630"/>
                  </a:lnTo>
                  <a:lnTo>
                    <a:pt x="1745" y="588"/>
                  </a:lnTo>
                  <a:lnTo>
                    <a:pt x="1729" y="548"/>
                  </a:lnTo>
                  <a:lnTo>
                    <a:pt x="1711" y="508"/>
                  </a:lnTo>
                  <a:lnTo>
                    <a:pt x="1692" y="469"/>
                  </a:lnTo>
                  <a:lnTo>
                    <a:pt x="1670" y="432"/>
                  </a:lnTo>
                  <a:lnTo>
                    <a:pt x="1646" y="396"/>
                  </a:lnTo>
                  <a:lnTo>
                    <a:pt x="1621" y="360"/>
                  </a:lnTo>
                  <a:lnTo>
                    <a:pt x="1594" y="325"/>
                  </a:lnTo>
                  <a:lnTo>
                    <a:pt x="1567" y="294"/>
                  </a:lnTo>
                  <a:lnTo>
                    <a:pt x="1536" y="262"/>
                  </a:lnTo>
                  <a:lnTo>
                    <a:pt x="1505" y="232"/>
                  </a:lnTo>
                  <a:lnTo>
                    <a:pt x="1473" y="205"/>
                  </a:lnTo>
                  <a:lnTo>
                    <a:pt x="1439" y="178"/>
                  </a:lnTo>
                  <a:lnTo>
                    <a:pt x="1403" y="153"/>
                  </a:lnTo>
                  <a:lnTo>
                    <a:pt x="1367" y="129"/>
                  </a:lnTo>
                  <a:lnTo>
                    <a:pt x="1329" y="107"/>
                  </a:lnTo>
                  <a:lnTo>
                    <a:pt x="1290" y="89"/>
                  </a:lnTo>
                  <a:lnTo>
                    <a:pt x="1250" y="70"/>
                  </a:lnTo>
                  <a:lnTo>
                    <a:pt x="1210" y="54"/>
                  </a:lnTo>
                  <a:lnTo>
                    <a:pt x="1168" y="40"/>
                  </a:lnTo>
                  <a:lnTo>
                    <a:pt x="1125" y="28"/>
                  </a:lnTo>
                  <a:lnTo>
                    <a:pt x="1081" y="18"/>
                  </a:lnTo>
                  <a:lnTo>
                    <a:pt x="1037" y="10"/>
                  </a:lnTo>
                  <a:lnTo>
                    <a:pt x="992" y="4"/>
                  </a:lnTo>
                  <a:lnTo>
                    <a:pt x="946" y="1"/>
                  </a:lnTo>
                  <a:lnTo>
                    <a:pt x="900" y="0"/>
                  </a:lnTo>
                  <a:lnTo>
                    <a:pt x="854" y="1"/>
                  </a:lnTo>
                  <a:lnTo>
                    <a:pt x="808" y="4"/>
                  </a:lnTo>
                  <a:lnTo>
                    <a:pt x="763" y="10"/>
                  </a:lnTo>
                  <a:lnTo>
                    <a:pt x="719" y="18"/>
                  </a:lnTo>
                  <a:lnTo>
                    <a:pt x="675" y="28"/>
                  </a:lnTo>
                  <a:lnTo>
                    <a:pt x="632" y="40"/>
                  </a:lnTo>
                  <a:lnTo>
                    <a:pt x="590" y="54"/>
                  </a:lnTo>
                  <a:lnTo>
                    <a:pt x="550" y="70"/>
                  </a:lnTo>
                  <a:lnTo>
                    <a:pt x="510" y="89"/>
                  </a:lnTo>
                  <a:lnTo>
                    <a:pt x="471" y="107"/>
                  </a:lnTo>
                  <a:lnTo>
                    <a:pt x="433" y="129"/>
                  </a:lnTo>
                  <a:lnTo>
                    <a:pt x="397" y="153"/>
                  </a:lnTo>
                  <a:lnTo>
                    <a:pt x="361" y="178"/>
                  </a:lnTo>
                  <a:lnTo>
                    <a:pt x="327" y="205"/>
                  </a:lnTo>
                  <a:lnTo>
                    <a:pt x="295" y="232"/>
                  </a:lnTo>
                  <a:lnTo>
                    <a:pt x="264" y="2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BE7E31E7-A304-75D4-0629-E89601EC8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90213" y="2211388"/>
              <a:ext cx="917575" cy="914400"/>
            </a:xfrm>
            <a:custGeom>
              <a:avLst/>
              <a:gdLst>
                <a:gd name="T0" fmla="*/ 123 w 1734"/>
                <a:gd name="T1" fmla="*/ 880 h 1728"/>
                <a:gd name="T2" fmla="*/ 675 w 1734"/>
                <a:gd name="T3" fmla="*/ 1559 h 1728"/>
                <a:gd name="T4" fmla="*/ 639 w 1734"/>
                <a:gd name="T5" fmla="*/ 1484 h 1728"/>
                <a:gd name="T6" fmla="*/ 709 w 1734"/>
                <a:gd name="T7" fmla="*/ 1631 h 1728"/>
                <a:gd name="T8" fmla="*/ 736 w 1734"/>
                <a:gd name="T9" fmla="*/ 1545 h 1728"/>
                <a:gd name="T10" fmla="*/ 311 w 1734"/>
                <a:gd name="T11" fmla="*/ 1217 h 1728"/>
                <a:gd name="T12" fmla="*/ 200 w 1734"/>
                <a:gd name="T13" fmla="*/ 1036 h 1728"/>
                <a:gd name="T14" fmla="*/ 223 w 1734"/>
                <a:gd name="T15" fmla="*/ 1003 h 1728"/>
                <a:gd name="T16" fmla="*/ 140 w 1734"/>
                <a:gd name="T17" fmla="*/ 1029 h 1728"/>
                <a:gd name="T18" fmla="*/ 127 w 1734"/>
                <a:gd name="T19" fmla="*/ 1012 h 1728"/>
                <a:gd name="T20" fmla="*/ 114 w 1734"/>
                <a:gd name="T21" fmla="*/ 1092 h 1728"/>
                <a:gd name="T22" fmla="*/ 288 w 1734"/>
                <a:gd name="T23" fmla="*/ 1178 h 1728"/>
                <a:gd name="T24" fmla="*/ 1400 w 1734"/>
                <a:gd name="T25" fmla="*/ 1509 h 1728"/>
                <a:gd name="T26" fmla="*/ 739 w 1734"/>
                <a:gd name="T27" fmla="*/ 1690 h 1728"/>
                <a:gd name="T28" fmla="*/ 173 w 1734"/>
                <a:gd name="T29" fmla="*/ 1331 h 1728"/>
                <a:gd name="T30" fmla="*/ 56 w 1734"/>
                <a:gd name="T31" fmla="*/ 656 h 1728"/>
                <a:gd name="T32" fmla="*/ 468 w 1734"/>
                <a:gd name="T33" fmla="*/ 130 h 1728"/>
                <a:gd name="T34" fmla="*/ 1155 w 1734"/>
                <a:gd name="T35" fmla="*/ 80 h 1728"/>
                <a:gd name="T36" fmla="*/ 1639 w 1734"/>
                <a:gd name="T37" fmla="*/ 539 h 1728"/>
                <a:gd name="T38" fmla="*/ 1622 w 1734"/>
                <a:gd name="T39" fmla="*/ 1226 h 1728"/>
                <a:gd name="T40" fmla="*/ 530 w 1734"/>
                <a:gd name="T41" fmla="*/ 67 h 1728"/>
                <a:gd name="T42" fmla="*/ 52 w 1734"/>
                <a:gd name="T43" fmla="*/ 567 h 1728"/>
                <a:gd name="T44" fmla="*/ 105 w 1734"/>
                <a:gd name="T45" fmla="*/ 1276 h 1728"/>
                <a:gd name="T46" fmla="*/ 651 w 1734"/>
                <a:gd name="T47" fmla="*/ 1701 h 1728"/>
                <a:gd name="T48" fmla="*/ 1352 w 1734"/>
                <a:gd name="T49" fmla="*/ 1581 h 1728"/>
                <a:gd name="T50" fmla="*/ 1724 w 1734"/>
                <a:gd name="T51" fmla="*/ 996 h 1728"/>
                <a:gd name="T52" fmla="*/ 1537 w 1734"/>
                <a:gd name="T53" fmla="*/ 314 h 1728"/>
                <a:gd name="T54" fmla="*/ 912 w 1734"/>
                <a:gd name="T55" fmla="*/ 1 h 1728"/>
                <a:gd name="T56" fmla="*/ 1331 w 1734"/>
                <a:gd name="T57" fmla="*/ 1466 h 1728"/>
                <a:gd name="T58" fmla="*/ 1257 w 1734"/>
                <a:gd name="T59" fmla="*/ 1453 h 1728"/>
                <a:gd name="T60" fmla="*/ 1355 w 1734"/>
                <a:gd name="T61" fmla="*/ 1499 h 1728"/>
                <a:gd name="T62" fmla="*/ 1465 w 1734"/>
                <a:gd name="T63" fmla="*/ 1312 h 1728"/>
                <a:gd name="T64" fmla="*/ 1411 w 1734"/>
                <a:gd name="T65" fmla="*/ 1286 h 1728"/>
                <a:gd name="T66" fmla="*/ 1515 w 1734"/>
                <a:gd name="T67" fmla="*/ 1268 h 1728"/>
                <a:gd name="T68" fmla="*/ 1429 w 1734"/>
                <a:gd name="T69" fmla="*/ 1230 h 1728"/>
                <a:gd name="T70" fmla="*/ 1522 w 1734"/>
                <a:gd name="T71" fmla="*/ 1272 h 1728"/>
                <a:gd name="T72" fmla="*/ 1112 w 1734"/>
                <a:gd name="T73" fmla="*/ 1540 h 1728"/>
                <a:gd name="T74" fmla="*/ 1141 w 1734"/>
                <a:gd name="T75" fmla="*/ 1559 h 1728"/>
                <a:gd name="T76" fmla="*/ 1109 w 1734"/>
                <a:gd name="T77" fmla="*/ 1484 h 1728"/>
                <a:gd name="T78" fmla="*/ 873 w 1734"/>
                <a:gd name="T79" fmla="*/ 1638 h 1728"/>
                <a:gd name="T80" fmla="*/ 1270 w 1734"/>
                <a:gd name="T81" fmla="*/ 170 h 1728"/>
                <a:gd name="T82" fmla="*/ 1037 w 1734"/>
                <a:gd name="T83" fmla="*/ 199 h 1728"/>
                <a:gd name="T84" fmla="*/ 1086 w 1734"/>
                <a:gd name="T85" fmla="*/ 130 h 1728"/>
                <a:gd name="T86" fmla="*/ 1007 w 1734"/>
                <a:gd name="T87" fmla="*/ 107 h 1728"/>
                <a:gd name="T88" fmla="*/ 1041 w 1734"/>
                <a:gd name="T89" fmla="*/ 231 h 1728"/>
                <a:gd name="T90" fmla="*/ 1391 w 1734"/>
                <a:gd name="T91" fmla="*/ 369 h 1728"/>
                <a:gd name="T92" fmla="*/ 1519 w 1734"/>
                <a:gd name="T93" fmla="*/ 728 h 1728"/>
                <a:gd name="T94" fmla="*/ 206 w 1734"/>
                <a:gd name="T95" fmla="*/ 610 h 1728"/>
                <a:gd name="T96" fmla="*/ 236 w 1734"/>
                <a:gd name="T97" fmla="*/ 672 h 1728"/>
                <a:gd name="T98" fmla="*/ 176 w 1734"/>
                <a:gd name="T99" fmla="*/ 558 h 1728"/>
                <a:gd name="T100" fmla="*/ 133 w 1734"/>
                <a:gd name="T101" fmla="*/ 677 h 1728"/>
                <a:gd name="T102" fmla="*/ 546 w 1734"/>
                <a:gd name="T103" fmla="*/ 259 h 1728"/>
                <a:gd name="T104" fmla="*/ 501 w 1734"/>
                <a:gd name="T105" fmla="*/ 182 h 1728"/>
                <a:gd name="T106" fmla="*/ 570 w 1734"/>
                <a:gd name="T107" fmla="*/ 170 h 1728"/>
                <a:gd name="T108" fmla="*/ 448 w 1734"/>
                <a:gd name="T109" fmla="*/ 221 h 1728"/>
                <a:gd name="T110" fmla="*/ 356 w 1734"/>
                <a:gd name="T111" fmla="*/ 331 h 1728"/>
                <a:gd name="T112" fmla="*/ 362 w 1734"/>
                <a:gd name="T113" fmla="*/ 324 h 1728"/>
                <a:gd name="T114" fmla="*/ 392 w 1734"/>
                <a:gd name="T115" fmla="*/ 281 h 1728"/>
                <a:gd name="T116" fmla="*/ 403 w 1734"/>
                <a:gd name="T117" fmla="*/ 396 h 1728"/>
                <a:gd name="T118" fmla="*/ 786 w 1734"/>
                <a:gd name="T119" fmla="*/ 206 h 1728"/>
                <a:gd name="T120" fmla="*/ 1318 w 1734"/>
                <a:gd name="T121" fmla="*/ 131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4" h="1728">
                  <a:moveTo>
                    <a:pt x="295" y="1425"/>
                  </a:moveTo>
                  <a:lnTo>
                    <a:pt x="367" y="1493"/>
                  </a:lnTo>
                  <a:lnTo>
                    <a:pt x="386" y="1474"/>
                  </a:lnTo>
                  <a:lnTo>
                    <a:pt x="343" y="1434"/>
                  </a:lnTo>
                  <a:lnTo>
                    <a:pt x="363" y="1413"/>
                  </a:lnTo>
                  <a:lnTo>
                    <a:pt x="406" y="1453"/>
                  </a:lnTo>
                  <a:lnTo>
                    <a:pt x="425" y="1433"/>
                  </a:lnTo>
                  <a:lnTo>
                    <a:pt x="382" y="1392"/>
                  </a:lnTo>
                  <a:lnTo>
                    <a:pt x="402" y="1371"/>
                  </a:lnTo>
                  <a:lnTo>
                    <a:pt x="445" y="1411"/>
                  </a:lnTo>
                  <a:lnTo>
                    <a:pt x="464" y="1392"/>
                  </a:lnTo>
                  <a:lnTo>
                    <a:pt x="392" y="1324"/>
                  </a:lnTo>
                  <a:lnTo>
                    <a:pt x="295" y="1425"/>
                  </a:lnTo>
                  <a:close/>
                  <a:moveTo>
                    <a:pt x="97" y="819"/>
                  </a:moveTo>
                  <a:lnTo>
                    <a:pt x="97" y="819"/>
                  </a:lnTo>
                  <a:lnTo>
                    <a:pt x="125" y="821"/>
                  </a:lnTo>
                  <a:lnTo>
                    <a:pt x="123" y="880"/>
                  </a:lnTo>
                  <a:lnTo>
                    <a:pt x="148" y="881"/>
                  </a:lnTo>
                  <a:lnTo>
                    <a:pt x="153" y="824"/>
                  </a:lnTo>
                  <a:lnTo>
                    <a:pt x="183" y="825"/>
                  </a:lnTo>
                  <a:lnTo>
                    <a:pt x="179" y="883"/>
                  </a:lnTo>
                  <a:lnTo>
                    <a:pt x="206" y="886"/>
                  </a:lnTo>
                  <a:lnTo>
                    <a:pt x="212" y="786"/>
                  </a:lnTo>
                  <a:lnTo>
                    <a:pt x="72" y="778"/>
                  </a:lnTo>
                  <a:lnTo>
                    <a:pt x="65" y="875"/>
                  </a:lnTo>
                  <a:lnTo>
                    <a:pt x="92" y="877"/>
                  </a:lnTo>
                  <a:lnTo>
                    <a:pt x="97" y="819"/>
                  </a:lnTo>
                  <a:close/>
                  <a:moveTo>
                    <a:pt x="694" y="1548"/>
                  </a:moveTo>
                  <a:lnTo>
                    <a:pt x="694" y="1548"/>
                  </a:lnTo>
                  <a:lnTo>
                    <a:pt x="691" y="1552"/>
                  </a:lnTo>
                  <a:lnTo>
                    <a:pt x="690" y="1555"/>
                  </a:lnTo>
                  <a:lnTo>
                    <a:pt x="687" y="1558"/>
                  </a:lnTo>
                  <a:lnTo>
                    <a:pt x="683" y="1559"/>
                  </a:lnTo>
                  <a:lnTo>
                    <a:pt x="675" y="1559"/>
                  </a:lnTo>
                  <a:lnTo>
                    <a:pt x="667" y="1558"/>
                  </a:lnTo>
                  <a:lnTo>
                    <a:pt x="655" y="1555"/>
                  </a:lnTo>
                  <a:lnTo>
                    <a:pt x="652" y="1553"/>
                  </a:lnTo>
                  <a:lnTo>
                    <a:pt x="664" y="1520"/>
                  </a:lnTo>
                  <a:lnTo>
                    <a:pt x="665" y="1520"/>
                  </a:lnTo>
                  <a:lnTo>
                    <a:pt x="677" y="1525"/>
                  </a:lnTo>
                  <a:lnTo>
                    <a:pt x="686" y="1527"/>
                  </a:lnTo>
                  <a:lnTo>
                    <a:pt x="691" y="1533"/>
                  </a:lnTo>
                  <a:lnTo>
                    <a:pt x="693" y="1536"/>
                  </a:lnTo>
                  <a:lnTo>
                    <a:pt x="694" y="1539"/>
                  </a:lnTo>
                  <a:lnTo>
                    <a:pt x="694" y="1543"/>
                  </a:lnTo>
                  <a:lnTo>
                    <a:pt x="694" y="1548"/>
                  </a:lnTo>
                  <a:close/>
                  <a:moveTo>
                    <a:pt x="686" y="1499"/>
                  </a:moveTo>
                  <a:lnTo>
                    <a:pt x="686" y="1499"/>
                  </a:lnTo>
                  <a:lnTo>
                    <a:pt x="671" y="1494"/>
                  </a:lnTo>
                  <a:lnTo>
                    <a:pt x="654" y="1489"/>
                  </a:lnTo>
                  <a:lnTo>
                    <a:pt x="639" y="1484"/>
                  </a:lnTo>
                  <a:lnTo>
                    <a:pt x="634" y="1483"/>
                  </a:lnTo>
                  <a:lnTo>
                    <a:pt x="591" y="1616"/>
                  </a:lnTo>
                  <a:lnTo>
                    <a:pt x="629" y="1628"/>
                  </a:lnTo>
                  <a:lnTo>
                    <a:pt x="645" y="1579"/>
                  </a:lnTo>
                  <a:lnTo>
                    <a:pt x="647" y="1579"/>
                  </a:lnTo>
                  <a:lnTo>
                    <a:pt x="658" y="1583"/>
                  </a:lnTo>
                  <a:lnTo>
                    <a:pt x="664" y="1585"/>
                  </a:lnTo>
                  <a:lnTo>
                    <a:pt x="668" y="1588"/>
                  </a:lnTo>
                  <a:lnTo>
                    <a:pt x="671" y="1591"/>
                  </a:lnTo>
                  <a:lnTo>
                    <a:pt x="673" y="1593"/>
                  </a:lnTo>
                  <a:lnTo>
                    <a:pt x="675" y="1601"/>
                  </a:lnTo>
                  <a:lnTo>
                    <a:pt x="674" y="1609"/>
                  </a:lnTo>
                  <a:lnTo>
                    <a:pt x="670" y="1625"/>
                  </a:lnTo>
                  <a:lnTo>
                    <a:pt x="670" y="1641"/>
                  </a:lnTo>
                  <a:lnTo>
                    <a:pt x="709" y="1652"/>
                  </a:lnTo>
                  <a:lnTo>
                    <a:pt x="707" y="1642"/>
                  </a:lnTo>
                  <a:lnTo>
                    <a:pt x="709" y="1631"/>
                  </a:lnTo>
                  <a:lnTo>
                    <a:pt x="711" y="1619"/>
                  </a:lnTo>
                  <a:lnTo>
                    <a:pt x="713" y="1609"/>
                  </a:lnTo>
                  <a:lnTo>
                    <a:pt x="713" y="1601"/>
                  </a:lnTo>
                  <a:lnTo>
                    <a:pt x="711" y="1592"/>
                  </a:lnTo>
                  <a:lnTo>
                    <a:pt x="709" y="1588"/>
                  </a:lnTo>
                  <a:lnTo>
                    <a:pt x="706" y="1585"/>
                  </a:lnTo>
                  <a:lnTo>
                    <a:pt x="701" y="1582"/>
                  </a:lnTo>
                  <a:lnTo>
                    <a:pt x="696" y="1579"/>
                  </a:lnTo>
                  <a:lnTo>
                    <a:pt x="701" y="1579"/>
                  </a:lnTo>
                  <a:lnTo>
                    <a:pt x="706" y="1578"/>
                  </a:lnTo>
                  <a:lnTo>
                    <a:pt x="711" y="1578"/>
                  </a:lnTo>
                  <a:lnTo>
                    <a:pt x="717" y="1575"/>
                  </a:lnTo>
                  <a:lnTo>
                    <a:pt x="722" y="1572"/>
                  </a:lnTo>
                  <a:lnTo>
                    <a:pt x="727" y="1566"/>
                  </a:lnTo>
                  <a:lnTo>
                    <a:pt x="732" y="1560"/>
                  </a:lnTo>
                  <a:lnTo>
                    <a:pt x="735" y="1552"/>
                  </a:lnTo>
                  <a:lnTo>
                    <a:pt x="736" y="1545"/>
                  </a:lnTo>
                  <a:lnTo>
                    <a:pt x="736" y="1539"/>
                  </a:lnTo>
                  <a:lnTo>
                    <a:pt x="736" y="1535"/>
                  </a:lnTo>
                  <a:lnTo>
                    <a:pt x="735" y="1530"/>
                  </a:lnTo>
                  <a:lnTo>
                    <a:pt x="730" y="1522"/>
                  </a:lnTo>
                  <a:lnTo>
                    <a:pt x="723" y="1515"/>
                  </a:lnTo>
                  <a:lnTo>
                    <a:pt x="714" y="1510"/>
                  </a:lnTo>
                  <a:lnTo>
                    <a:pt x="704" y="1506"/>
                  </a:lnTo>
                  <a:lnTo>
                    <a:pt x="694" y="1502"/>
                  </a:lnTo>
                  <a:lnTo>
                    <a:pt x="686" y="1499"/>
                  </a:lnTo>
                  <a:close/>
                  <a:moveTo>
                    <a:pt x="311" y="1217"/>
                  </a:moveTo>
                  <a:lnTo>
                    <a:pt x="311" y="1217"/>
                  </a:lnTo>
                  <a:lnTo>
                    <a:pt x="235" y="1209"/>
                  </a:lnTo>
                  <a:lnTo>
                    <a:pt x="193" y="1293"/>
                  </a:lnTo>
                  <a:lnTo>
                    <a:pt x="216" y="1334"/>
                  </a:lnTo>
                  <a:lnTo>
                    <a:pt x="258" y="1249"/>
                  </a:lnTo>
                  <a:lnTo>
                    <a:pt x="334" y="1257"/>
                  </a:lnTo>
                  <a:lnTo>
                    <a:pt x="311" y="1217"/>
                  </a:lnTo>
                  <a:close/>
                  <a:moveTo>
                    <a:pt x="171" y="1058"/>
                  </a:moveTo>
                  <a:lnTo>
                    <a:pt x="171" y="1058"/>
                  </a:lnTo>
                  <a:lnTo>
                    <a:pt x="173" y="1039"/>
                  </a:lnTo>
                  <a:lnTo>
                    <a:pt x="174" y="1023"/>
                  </a:lnTo>
                  <a:lnTo>
                    <a:pt x="176" y="1016"/>
                  </a:lnTo>
                  <a:lnTo>
                    <a:pt x="177" y="1012"/>
                  </a:lnTo>
                  <a:lnTo>
                    <a:pt x="179" y="1008"/>
                  </a:lnTo>
                  <a:lnTo>
                    <a:pt x="182" y="1006"/>
                  </a:lnTo>
                  <a:lnTo>
                    <a:pt x="187" y="1006"/>
                  </a:lnTo>
                  <a:lnTo>
                    <a:pt x="192" y="1006"/>
                  </a:lnTo>
                  <a:lnTo>
                    <a:pt x="195" y="1009"/>
                  </a:lnTo>
                  <a:lnTo>
                    <a:pt x="199" y="1012"/>
                  </a:lnTo>
                  <a:lnTo>
                    <a:pt x="200" y="1016"/>
                  </a:lnTo>
                  <a:lnTo>
                    <a:pt x="202" y="1021"/>
                  </a:lnTo>
                  <a:lnTo>
                    <a:pt x="203" y="1028"/>
                  </a:lnTo>
                  <a:lnTo>
                    <a:pt x="202" y="1033"/>
                  </a:lnTo>
                  <a:lnTo>
                    <a:pt x="200" y="1036"/>
                  </a:lnTo>
                  <a:lnTo>
                    <a:pt x="197" y="1039"/>
                  </a:lnTo>
                  <a:lnTo>
                    <a:pt x="193" y="1041"/>
                  </a:lnTo>
                  <a:lnTo>
                    <a:pt x="187" y="1044"/>
                  </a:lnTo>
                  <a:lnTo>
                    <a:pt x="193" y="1066"/>
                  </a:lnTo>
                  <a:lnTo>
                    <a:pt x="196" y="1079"/>
                  </a:lnTo>
                  <a:lnTo>
                    <a:pt x="199" y="1079"/>
                  </a:lnTo>
                  <a:lnTo>
                    <a:pt x="207" y="1077"/>
                  </a:lnTo>
                  <a:lnTo>
                    <a:pt x="212" y="1075"/>
                  </a:lnTo>
                  <a:lnTo>
                    <a:pt x="216" y="1072"/>
                  </a:lnTo>
                  <a:lnTo>
                    <a:pt x="220" y="1068"/>
                  </a:lnTo>
                  <a:lnTo>
                    <a:pt x="223" y="1064"/>
                  </a:lnTo>
                  <a:lnTo>
                    <a:pt x="228" y="1054"/>
                  </a:lnTo>
                  <a:lnTo>
                    <a:pt x="231" y="1044"/>
                  </a:lnTo>
                  <a:lnTo>
                    <a:pt x="231" y="1033"/>
                  </a:lnTo>
                  <a:lnTo>
                    <a:pt x="229" y="1022"/>
                  </a:lnTo>
                  <a:lnTo>
                    <a:pt x="226" y="1012"/>
                  </a:lnTo>
                  <a:lnTo>
                    <a:pt x="223" y="1003"/>
                  </a:lnTo>
                  <a:lnTo>
                    <a:pt x="220" y="995"/>
                  </a:lnTo>
                  <a:lnTo>
                    <a:pt x="216" y="987"/>
                  </a:lnTo>
                  <a:lnTo>
                    <a:pt x="212" y="982"/>
                  </a:lnTo>
                  <a:lnTo>
                    <a:pt x="207" y="977"/>
                  </a:lnTo>
                  <a:lnTo>
                    <a:pt x="200" y="972"/>
                  </a:lnTo>
                  <a:lnTo>
                    <a:pt x="193" y="969"/>
                  </a:lnTo>
                  <a:lnTo>
                    <a:pt x="186" y="967"/>
                  </a:lnTo>
                  <a:lnTo>
                    <a:pt x="179" y="966"/>
                  </a:lnTo>
                  <a:lnTo>
                    <a:pt x="170" y="967"/>
                  </a:lnTo>
                  <a:lnTo>
                    <a:pt x="163" y="970"/>
                  </a:lnTo>
                  <a:lnTo>
                    <a:pt x="157" y="975"/>
                  </a:lnTo>
                  <a:lnTo>
                    <a:pt x="153" y="977"/>
                  </a:lnTo>
                  <a:lnTo>
                    <a:pt x="148" y="982"/>
                  </a:lnTo>
                  <a:lnTo>
                    <a:pt x="146" y="986"/>
                  </a:lnTo>
                  <a:lnTo>
                    <a:pt x="143" y="996"/>
                  </a:lnTo>
                  <a:lnTo>
                    <a:pt x="141" y="1006"/>
                  </a:lnTo>
                  <a:lnTo>
                    <a:pt x="140" y="1029"/>
                  </a:lnTo>
                  <a:lnTo>
                    <a:pt x="138" y="1051"/>
                  </a:lnTo>
                  <a:lnTo>
                    <a:pt x="135" y="1054"/>
                  </a:lnTo>
                  <a:lnTo>
                    <a:pt x="133" y="1056"/>
                  </a:lnTo>
                  <a:lnTo>
                    <a:pt x="128" y="1059"/>
                  </a:lnTo>
                  <a:lnTo>
                    <a:pt x="124" y="1058"/>
                  </a:lnTo>
                  <a:lnTo>
                    <a:pt x="120" y="1056"/>
                  </a:lnTo>
                  <a:lnTo>
                    <a:pt x="115" y="1054"/>
                  </a:lnTo>
                  <a:lnTo>
                    <a:pt x="112" y="1049"/>
                  </a:lnTo>
                  <a:lnTo>
                    <a:pt x="111" y="1045"/>
                  </a:lnTo>
                  <a:lnTo>
                    <a:pt x="110" y="1038"/>
                  </a:lnTo>
                  <a:lnTo>
                    <a:pt x="110" y="1029"/>
                  </a:lnTo>
                  <a:lnTo>
                    <a:pt x="110" y="1026"/>
                  </a:lnTo>
                  <a:lnTo>
                    <a:pt x="111" y="1022"/>
                  </a:lnTo>
                  <a:lnTo>
                    <a:pt x="114" y="1019"/>
                  </a:lnTo>
                  <a:lnTo>
                    <a:pt x="117" y="1018"/>
                  </a:lnTo>
                  <a:lnTo>
                    <a:pt x="124" y="1013"/>
                  </a:lnTo>
                  <a:lnTo>
                    <a:pt x="127" y="1012"/>
                  </a:lnTo>
                  <a:lnTo>
                    <a:pt x="118" y="977"/>
                  </a:lnTo>
                  <a:lnTo>
                    <a:pt x="108" y="979"/>
                  </a:lnTo>
                  <a:lnTo>
                    <a:pt x="98" y="985"/>
                  </a:lnTo>
                  <a:lnTo>
                    <a:pt x="94" y="987"/>
                  </a:lnTo>
                  <a:lnTo>
                    <a:pt x="91" y="990"/>
                  </a:lnTo>
                  <a:lnTo>
                    <a:pt x="88" y="995"/>
                  </a:lnTo>
                  <a:lnTo>
                    <a:pt x="85" y="1000"/>
                  </a:lnTo>
                  <a:lnTo>
                    <a:pt x="82" y="1012"/>
                  </a:lnTo>
                  <a:lnTo>
                    <a:pt x="81" y="1022"/>
                  </a:lnTo>
                  <a:lnTo>
                    <a:pt x="81" y="1033"/>
                  </a:lnTo>
                  <a:lnTo>
                    <a:pt x="82" y="1045"/>
                  </a:lnTo>
                  <a:lnTo>
                    <a:pt x="85" y="1055"/>
                  </a:lnTo>
                  <a:lnTo>
                    <a:pt x="88" y="1065"/>
                  </a:lnTo>
                  <a:lnTo>
                    <a:pt x="94" y="1074"/>
                  </a:lnTo>
                  <a:lnTo>
                    <a:pt x="101" y="1082"/>
                  </a:lnTo>
                  <a:lnTo>
                    <a:pt x="107" y="1088"/>
                  </a:lnTo>
                  <a:lnTo>
                    <a:pt x="114" y="1092"/>
                  </a:lnTo>
                  <a:lnTo>
                    <a:pt x="121" y="1095"/>
                  </a:lnTo>
                  <a:lnTo>
                    <a:pt x="127" y="1097"/>
                  </a:lnTo>
                  <a:lnTo>
                    <a:pt x="134" y="1098"/>
                  </a:lnTo>
                  <a:lnTo>
                    <a:pt x="140" y="1097"/>
                  </a:lnTo>
                  <a:lnTo>
                    <a:pt x="147" y="1095"/>
                  </a:lnTo>
                  <a:lnTo>
                    <a:pt x="153" y="1092"/>
                  </a:lnTo>
                  <a:lnTo>
                    <a:pt x="157" y="1089"/>
                  </a:lnTo>
                  <a:lnTo>
                    <a:pt x="161" y="1085"/>
                  </a:lnTo>
                  <a:lnTo>
                    <a:pt x="164" y="1081"/>
                  </a:lnTo>
                  <a:lnTo>
                    <a:pt x="167" y="1075"/>
                  </a:lnTo>
                  <a:lnTo>
                    <a:pt x="171" y="1065"/>
                  </a:lnTo>
                  <a:lnTo>
                    <a:pt x="171" y="1058"/>
                  </a:lnTo>
                  <a:close/>
                  <a:moveTo>
                    <a:pt x="268" y="1144"/>
                  </a:moveTo>
                  <a:lnTo>
                    <a:pt x="268" y="1144"/>
                  </a:lnTo>
                  <a:lnTo>
                    <a:pt x="146" y="1214"/>
                  </a:lnTo>
                  <a:lnTo>
                    <a:pt x="166" y="1249"/>
                  </a:lnTo>
                  <a:lnTo>
                    <a:pt x="288" y="1178"/>
                  </a:lnTo>
                  <a:lnTo>
                    <a:pt x="268" y="1144"/>
                  </a:lnTo>
                  <a:close/>
                  <a:moveTo>
                    <a:pt x="423" y="1336"/>
                  </a:moveTo>
                  <a:lnTo>
                    <a:pt x="423" y="1336"/>
                  </a:lnTo>
                  <a:lnTo>
                    <a:pt x="448" y="1359"/>
                  </a:lnTo>
                  <a:lnTo>
                    <a:pt x="480" y="1358"/>
                  </a:lnTo>
                  <a:lnTo>
                    <a:pt x="457" y="1335"/>
                  </a:lnTo>
                  <a:lnTo>
                    <a:pt x="423" y="1336"/>
                  </a:lnTo>
                  <a:close/>
                  <a:moveTo>
                    <a:pt x="1521" y="986"/>
                  </a:moveTo>
                  <a:lnTo>
                    <a:pt x="1521" y="986"/>
                  </a:lnTo>
                  <a:lnTo>
                    <a:pt x="1660" y="1005"/>
                  </a:lnTo>
                  <a:lnTo>
                    <a:pt x="1666" y="965"/>
                  </a:lnTo>
                  <a:lnTo>
                    <a:pt x="1527" y="947"/>
                  </a:lnTo>
                  <a:lnTo>
                    <a:pt x="1521" y="986"/>
                  </a:lnTo>
                  <a:close/>
                  <a:moveTo>
                    <a:pt x="1459" y="1454"/>
                  </a:moveTo>
                  <a:lnTo>
                    <a:pt x="1459" y="1454"/>
                  </a:lnTo>
                  <a:lnTo>
                    <a:pt x="1430" y="1481"/>
                  </a:lnTo>
                  <a:lnTo>
                    <a:pt x="1400" y="1509"/>
                  </a:lnTo>
                  <a:lnTo>
                    <a:pt x="1368" y="1533"/>
                  </a:lnTo>
                  <a:lnTo>
                    <a:pt x="1335" y="1556"/>
                  </a:lnTo>
                  <a:lnTo>
                    <a:pt x="1300" y="1578"/>
                  </a:lnTo>
                  <a:lnTo>
                    <a:pt x="1266" y="1598"/>
                  </a:lnTo>
                  <a:lnTo>
                    <a:pt x="1230" y="1616"/>
                  </a:lnTo>
                  <a:lnTo>
                    <a:pt x="1192" y="1634"/>
                  </a:lnTo>
                  <a:lnTo>
                    <a:pt x="1155" y="1648"/>
                  </a:lnTo>
                  <a:lnTo>
                    <a:pt x="1116" y="1661"/>
                  </a:lnTo>
                  <a:lnTo>
                    <a:pt x="1076" y="1672"/>
                  </a:lnTo>
                  <a:lnTo>
                    <a:pt x="1035" y="1681"/>
                  </a:lnTo>
                  <a:lnTo>
                    <a:pt x="995" y="1690"/>
                  </a:lnTo>
                  <a:lnTo>
                    <a:pt x="952" y="1694"/>
                  </a:lnTo>
                  <a:lnTo>
                    <a:pt x="910" y="1698"/>
                  </a:lnTo>
                  <a:lnTo>
                    <a:pt x="867" y="1698"/>
                  </a:lnTo>
                  <a:lnTo>
                    <a:pt x="824" y="1698"/>
                  </a:lnTo>
                  <a:lnTo>
                    <a:pt x="782" y="1694"/>
                  </a:lnTo>
                  <a:lnTo>
                    <a:pt x="739" y="1690"/>
                  </a:lnTo>
                  <a:lnTo>
                    <a:pt x="699" y="1681"/>
                  </a:lnTo>
                  <a:lnTo>
                    <a:pt x="658" y="1672"/>
                  </a:lnTo>
                  <a:lnTo>
                    <a:pt x="618" y="1661"/>
                  </a:lnTo>
                  <a:lnTo>
                    <a:pt x="579" y="1648"/>
                  </a:lnTo>
                  <a:lnTo>
                    <a:pt x="542" y="1634"/>
                  </a:lnTo>
                  <a:lnTo>
                    <a:pt x="504" y="1616"/>
                  </a:lnTo>
                  <a:lnTo>
                    <a:pt x="468" y="1598"/>
                  </a:lnTo>
                  <a:lnTo>
                    <a:pt x="434" y="1578"/>
                  </a:lnTo>
                  <a:lnTo>
                    <a:pt x="399" y="1556"/>
                  </a:lnTo>
                  <a:lnTo>
                    <a:pt x="366" y="1533"/>
                  </a:lnTo>
                  <a:lnTo>
                    <a:pt x="334" y="1509"/>
                  </a:lnTo>
                  <a:lnTo>
                    <a:pt x="304" y="1481"/>
                  </a:lnTo>
                  <a:lnTo>
                    <a:pt x="275" y="1454"/>
                  </a:lnTo>
                  <a:lnTo>
                    <a:pt x="248" y="1425"/>
                  </a:lnTo>
                  <a:lnTo>
                    <a:pt x="220" y="1395"/>
                  </a:lnTo>
                  <a:lnTo>
                    <a:pt x="196" y="1364"/>
                  </a:lnTo>
                  <a:lnTo>
                    <a:pt x="173" y="1331"/>
                  </a:lnTo>
                  <a:lnTo>
                    <a:pt x="151" y="1296"/>
                  </a:lnTo>
                  <a:lnTo>
                    <a:pt x="131" y="1262"/>
                  </a:lnTo>
                  <a:lnTo>
                    <a:pt x="112" y="1226"/>
                  </a:lnTo>
                  <a:lnTo>
                    <a:pt x="95" y="1189"/>
                  </a:lnTo>
                  <a:lnTo>
                    <a:pt x="81" y="1151"/>
                  </a:lnTo>
                  <a:lnTo>
                    <a:pt x="68" y="1112"/>
                  </a:lnTo>
                  <a:lnTo>
                    <a:pt x="56" y="1072"/>
                  </a:lnTo>
                  <a:lnTo>
                    <a:pt x="46" y="1032"/>
                  </a:lnTo>
                  <a:lnTo>
                    <a:pt x="39" y="990"/>
                  </a:lnTo>
                  <a:lnTo>
                    <a:pt x="35" y="949"/>
                  </a:lnTo>
                  <a:lnTo>
                    <a:pt x="30" y="907"/>
                  </a:lnTo>
                  <a:lnTo>
                    <a:pt x="30" y="864"/>
                  </a:lnTo>
                  <a:lnTo>
                    <a:pt x="30" y="821"/>
                  </a:lnTo>
                  <a:lnTo>
                    <a:pt x="35" y="779"/>
                  </a:lnTo>
                  <a:lnTo>
                    <a:pt x="39" y="736"/>
                  </a:lnTo>
                  <a:lnTo>
                    <a:pt x="46" y="696"/>
                  </a:lnTo>
                  <a:lnTo>
                    <a:pt x="56" y="656"/>
                  </a:lnTo>
                  <a:lnTo>
                    <a:pt x="68" y="616"/>
                  </a:lnTo>
                  <a:lnTo>
                    <a:pt x="81" y="577"/>
                  </a:lnTo>
                  <a:lnTo>
                    <a:pt x="95" y="539"/>
                  </a:lnTo>
                  <a:lnTo>
                    <a:pt x="112" y="502"/>
                  </a:lnTo>
                  <a:lnTo>
                    <a:pt x="131" y="466"/>
                  </a:lnTo>
                  <a:lnTo>
                    <a:pt x="151" y="432"/>
                  </a:lnTo>
                  <a:lnTo>
                    <a:pt x="173" y="397"/>
                  </a:lnTo>
                  <a:lnTo>
                    <a:pt x="196" y="364"/>
                  </a:lnTo>
                  <a:lnTo>
                    <a:pt x="220" y="333"/>
                  </a:lnTo>
                  <a:lnTo>
                    <a:pt x="248" y="303"/>
                  </a:lnTo>
                  <a:lnTo>
                    <a:pt x="275" y="274"/>
                  </a:lnTo>
                  <a:lnTo>
                    <a:pt x="304" y="247"/>
                  </a:lnTo>
                  <a:lnTo>
                    <a:pt x="334" y="219"/>
                  </a:lnTo>
                  <a:lnTo>
                    <a:pt x="366" y="195"/>
                  </a:lnTo>
                  <a:lnTo>
                    <a:pt x="399" y="172"/>
                  </a:lnTo>
                  <a:lnTo>
                    <a:pt x="434" y="150"/>
                  </a:lnTo>
                  <a:lnTo>
                    <a:pt x="468" y="130"/>
                  </a:lnTo>
                  <a:lnTo>
                    <a:pt x="504" y="112"/>
                  </a:lnTo>
                  <a:lnTo>
                    <a:pt x="542" y="94"/>
                  </a:lnTo>
                  <a:lnTo>
                    <a:pt x="579" y="80"/>
                  </a:lnTo>
                  <a:lnTo>
                    <a:pt x="618" y="67"/>
                  </a:lnTo>
                  <a:lnTo>
                    <a:pt x="658" y="56"/>
                  </a:lnTo>
                  <a:lnTo>
                    <a:pt x="699" y="45"/>
                  </a:lnTo>
                  <a:lnTo>
                    <a:pt x="739" y="38"/>
                  </a:lnTo>
                  <a:lnTo>
                    <a:pt x="782" y="34"/>
                  </a:lnTo>
                  <a:lnTo>
                    <a:pt x="824" y="30"/>
                  </a:lnTo>
                  <a:lnTo>
                    <a:pt x="867" y="30"/>
                  </a:lnTo>
                  <a:lnTo>
                    <a:pt x="910" y="30"/>
                  </a:lnTo>
                  <a:lnTo>
                    <a:pt x="952" y="34"/>
                  </a:lnTo>
                  <a:lnTo>
                    <a:pt x="995" y="38"/>
                  </a:lnTo>
                  <a:lnTo>
                    <a:pt x="1035" y="45"/>
                  </a:lnTo>
                  <a:lnTo>
                    <a:pt x="1076" y="56"/>
                  </a:lnTo>
                  <a:lnTo>
                    <a:pt x="1116" y="67"/>
                  </a:lnTo>
                  <a:lnTo>
                    <a:pt x="1155" y="80"/>
                  </a:lnTo>
                  <a:lnTo>
                    <a:pt x="1192" y="94"/>
                  </a:lnTo>
                  <a:lnTo>
                    <a:pt x="1230" y="112"/>
                  </a:lnTo>
                  <a:lnTo>
                    <a:pt x="1266" y="130"/>
                  </a:lnTo>
                  <a:lnTo>
                    <a:pt x="1300" y="150"/>
                  </a:lnTo>
                  <a:lnTo>
                    <a:pt x="1335" y="172"/>
                  </a:lnTo>
                  <a:lnTo>
                    <a:pt x="1368" y="195"/>
                  </a:lnTo>
                  <a:lnTo>
                    <a:pt x="1400" y="219"/>
                  </a:lnTo>
                  <a:lnTo>
                    <a:pt x="1430" y="247"/>
                  </a:lnTo>
                  <a:lnTo>
                    <a:pt x="1459" y="274"/>
                  </a:lnTo>
                  <a:lnTo>
                    <a:pt x="1486" y="303"/>
                  </a:lnTo>
                  <a:lnTo>
                    <a:pt x="1514" y="333"/>
                  </a:lnTo>
                  <a:lnTo>
                    <a:pt x="1538" y="364"/>
                  </a:lnTo>
                  <a:lnTo>
                    <a:pt x="1561" y="397"/>
                  </a:lnTo>
                  <a:lnTo>
                    <a:pt x="1583" y="432"/>
                  </a:lnTo>
                  <a:lnTo>
                    <a:pt x="1603" y="466"/>
                  </a:lnTo>
                  <a:lnTo>
                    <a:pt x="1622" y="502"/>
                  </a:lnTo>
                  <a:lnTo>
                    <a:pt x="1639" y="539"/>
                  </a:lnTo>
                  <a:lnTo>
                    <a:pt x="1653" y="577"/>
                  </a:lnTo>
                  <a:lnTo>
                    <a:pt x="1666" y="616"/>
                  </a:lnTo>
                  <a:lnTo>
                    <a:pt x="1678" y="656"/>
                  </a:lnTo>
                  <a:lnTo>
                    <a:pt x="1686" y="696"/>
                  </a:lnTo>
                  <a:lnTo>
                    <a:pt x="1695" y="736"/>
                  </a:lnTo>
                  <a:lnTo>
                    <a:pt x="1699" y="779"/>
                  </a:lnTo>
                  <a:lnTo>
                    <a:pt x="1704" y="821"/>
                  </a:lnTo>
                  <a:lnTo>
                    <a:pt x="1704" y="864"/>
                  </a:lnTo>
                  <a:lnTo>
                    <a:pt x="1704" y="907"/>
                  </a:lnTo>
                  <a:lnTo>
                    <a:pt x="1699" y="949"/>
                  </a:lnTo>
                  <a:lnTo>
                    <a:pt x="1695" y="990"/>
                  </a:lnTo>
                  <a:lnTo>
                    <a:pt x="1686" y="1032"/>
                  </a:lnTo>
                  <a:lnTo>
                    <a:pt x="1678" y="1072"/>
                  </a:lnTo>
                  <a:lnTo>
                    <a:pt x="1666" y="1112"/>
                  </a:lnTo>
                  <a:lnTo>
                    <a:pt x="1653" y="1151"/>
                  </a:lnTo>
                  <a:lnTo>
                    <a:pt x="1639" y="1189"/>
                  </a:lnTo>
                  <a:lnTo>
                    <a:pt x="1622" y="1226"/>
                  </a:lnTo>
                  <a:lnTo>
                    <a:pt x="1603" y="1262"/>
                  </a:lnTo>
                  <a:lnTo>
                    <a:pt x="1583" y="1296"/>
                  </a:lnTo>
                  <a:lnTo>
                    <a:pt x="1561" y="1331"/>
                  </a:lnTo>
                  <a:lnTo>
                    <a:pt x="1538" y="1364"/>
                  </a:lnTo>
                  <a:lnTo>
                    <a:pt x="1514" y="1395"/>
                  </a:lnTo>
                  <a:lnTo>
                    <a:pt x="1486" y="1425"/>
                  </a:lnTo>
                  <a:lnTo>
                    <a:pt x="1459" y="1454"/>
                  </a:lnTo>
                  <a:close/>
                  <a:moveTo>
                    <a:pt x="867" y="0"/>
                  </a:moveTo>
                  <a:lnTo>
                    <a:pt x="867" y="0"/>
                  </a:lnTo>
                  <a:lnTo>
                    <a:pt x="822" y="1"/>
                  </a:lnTo>
                  <a:lnTo>
                    <a:pt x="778" y="4"/>
                  </a:lnTo>
                  <a:lnTo>
                    <a:pt x="735" y="10"/>
                  </a:lnTo>
                  <a:lnTo>
                    <a:pt x="693" y="17"/>
                  </a:lnTo>
                  <a:lnTo>
                    <a:pt x="651" y="27"/>
                  </a:lnTo>
                  <a:lnTo>
                    <a:pt x="609" y="38"/>
                  </a:lnTo>
                  <a:lnTo>
                    <a:pt x="569" y="51"/>
                  </a:lnTo>
                  <a:lnTo>
                    <a:pt x="530" y="67"/>
                  </a:lnTo>
                  <a:lnTo>
                    <a:pt x="491" y="84"/>
                  </a:lnTo>
                  <a:lnTo>
                    <a:pt x="454" y="104"/>
                  </a:lnTo>
                  <a:lnTo>
                    <a:pt x="418" y="124"/>
                  </a:lnTo>
                  <a:lnTo>
                    <a:pt x="382" y="147"/>
                  </a:lnTo>
                  <a:lnTo>
                    <a:pt x="349" y="172"/>
                  </a:lnTo>
                  <a:lnTo>
                    <a:pt x="315" y="196"/>
                  </a:lnTo>
                  <a:lnTo>
                    <a:pt x="284" y="224"/>
                  </a:lnTo>
                  <a:lnTo>
                    <a:pt x="254" y="252"/>
                  </a:lnTo>
                  <a:lnTo>
                    <a:pt x="225" y="282"/>
                  </a:lnTo>
                  <a:lnTo>
                    <a:pt x="197" y="314"/>
                  </a:lnTo>
                  <a:lnTo>
                    <a:pt x="173" y="347"/>
                  </a:lnTo>
                  <a:lnTo>
                    <a:pt x="148" y="380"/>
                  </a:lnTo>
                  <a:lnTo>
                    <a:pt x="125" y="416"/>
                  </a:lnTo>
                  <a:lnTo>
                    <a:pt x="105" y="452"/>
                  </a:lnTo>
                  <a:lnTo>
                    <a:pt x="85" y="489"/>
                  </a:lnTo>
                  <a:lnTo>
                    <a:pt x="68" y="528"/>
                  </a:lnTo>
                  <a:lnTo>
                    <a:pt x="52" y="567"/>
                  </a:lnTo>
                  <a:lnTo>
                    <a:pt x="39" y="607"/>
                  </a:lnTo>
                  <a:lnTo>
                    <a:pt x="27" y="647"/>
                  </a:lnTo>
                  <a:lnTo>
                    <a:pt x="17" y="690"/>
                  </a:lnTo>
                  <a:lnTo>
                    <a:pt x="10" y="732"/>
                  </a:lnTo>
                  <a:lnTo>
                    <a:pt x="4" y="775"/>
                  </a:lnTo>
                  <a:lnTo>
                    <a:pt x="2" y="819"/>
                  </a:lnTo>
                  <a:lnTo>
                    <a:pt x="0" y="864"/>
                  </a:lnTo>
                  <a:lnTo>
                    <a:pt x="2" y="909"/>
                  </a:lnTo>
                  <a:lnTo>
                    <a:pt x="4" y="953"/>
                  </a:lnTo>
                  <a:lnTo>
                    <a:pt x="10" y="996"/>
                  </a:lnTo>
                  <a:lnTo>
                    <a:pt x="17" y="1038"/>
                  </a:lnTo>
                  <a:lnTo>
                    <a:pt x="27" y="1079"/>
                  </a:lnTo>
                  <a:lnTo>
                    <a:pt x="39" y="1121"/>
                  </a:lnTo>
                  <a:lnTo>
                    <a:pt x="52" y="1161"/>
                  </a:lnTo>
                  <a:lnTo>
                    <a:pt x="68" y="1200"/>
                  </a:lnTo>
                  <a:lnTo>
                    <a:pt x="85" y="1239"/>
                  </a:lnTo>
                  <a:lnTo>
                    <a:pt x="105" y="1276"/>
                  </a:lnTo>
                  <a:lnTo>
                    <a:pt x="125" y="1312"/>
                  </a:lnTo>
                  <a:lnTo>
                    <a:pt x="148" y="1348"/>
                  </a:lnTo>
                  <a:lnTo>
                    <a:pt x="173" y="1381"/>
                  </a:lnTo>
                  <a:lnTo>
                    <a:pt x="197" y="1414"/>
                  </a:lnTo>
                  <a:lnTo>
                    <a:pt x="225" y="1446"/>
                  </a:lnTo>
                  <a:lnTo>
                    <a:pt x="254" y="1476"/>
                  </a:lnTo>
                  <a:lnTo>
                    <a:pt x="284" y="1504"/>
                  </a:lnTo>
                  <a:lnTo>
                    <a:pt x="315" y="1532"/>
                  </a:lnTo>
                  <a:lnTo>
                    <a:pt x="349" y="1556"/>
                  </a:lnTo>
                  <a:lnTo>
                    <a:pt x="382" y="1581"/>
                  </a:lnTo>
                  <a:lnTo>
                    <a:pt x="418" y="1604"/>
                  </a:lnTo>
                  <a:lnTo>
                    <a:pt x="454" y="1624"/>
                  </a:lnTo>
                  <a:lnTo>
                    <a:pt x="491" y="1644"/>
                  </a:lnTo>
                  <a:lnTo>
                    <a:pt x="530" y="1661"/>
                  </a:lnTo>
                  <a:lnTo>
                    <a:pt x="569" y="1675"/>
                  </a:lnTo>
                  <a:lnTo>
                    <a:pt x="609" y="1690"/>
                  </a:lnTo>
                  <a:lnTo>
                    <a:pt x="651" y="1701"/>
                  </a:lnTo>
                  <a:lnTo>
                    <a:pt x="693" y="1711"/>
                  </a:lnTo>
                  <a:lnTo>
                    <a:pt x="735" y="1718"/>
                  </a:lnTo>
                  <a:lnTo>
                    <a:pt x="778" y="1724"/>
                  </a:lnTo>
                  <a:lnTo>
                    <a:pt x="822" y="1727"/>
                  </a:lnTo>
                  <a:lnTo>
                    <a:pt x="867" y="1728"/>
                  </a:lnTo>
                  <a:lnTo>
                    <a:pt x="912" y="1727"/>
                  </a:lnTo>
                  <a:lnTo>
                    <a:pt x="956" y="1724"/>
                  </a:lnTo>
                  <a:lnTo>
                    <a:pt x="999" y="1718"/>
                  </a:lnTo>
                  <a:lnTo>
                    <a:pt x="1041" y="1711"/>
                  </a:lnTo>
                  <a:lnTo>
                    <a:pt x="1083" y="1701"/>
                  </a:lnTo>
                  <a:lnTo>
                    <a:pt x="1125" y="1690"/>
                  </a:lnTo>
                  <a:lnTo>
                    <a:pt x="1165" y="1675"/>
                  </a:lnTo>
                  <a:lnTo>
                    <a:pt x="1204" y="1661"/>
                  </a:lnTo>
                  <a:lnTo>
                    <a:pt x="1243" y="1644"/>
                  </a:lnTo>
                  <a:lnTo>
                    <a:pt x="1280" y="1624"/>
                  </a:lnTo>
                  <a:lnTo>
                    <a:pt x="1316" y="1604"/>
                  </a:lnTo>
                  <a:lnTo>
                    <a:pt x="1352" y="1581"/>
                  </a:lnTo>
                  <a:lnTo>
                    <a:pt x="1385" y="1556"/>
                  </a:lnTo>
                  <a:lnTo>
                    <a:pt x="1419" y="1532"/>
                  </a:lnTo>
                  <a:lnTo>
                    <a:pt x="1450" y="1504"/>
                  </a:lnTo>
                  <a:lnTo>
                    <a:pt x="1480" y="1476"/>
                  </a:lnTo>
                  <a:lnTo>
                    <a:pt x="1509" y="1446"/>
                  </a:lnTo>
                  <a:lnTo>
                    <a:pt x="1537" y="1414"/>
                  </a:lnTo>
                  <a:lnTo>
                    <a:pt x="1561" y="1381"/>
                  </a:lnTo>
                  <a:lnTo>
                    <a:pt x="1586" y="1348"/>
                  </a:lnTo>
                  <a:lnTo>
                    <a:pt x="1609" y="1312"/>
                  </a:lnTo>
                  <a:lnTo>
                    <a:pt x="1629" y="1276"/>
                  </a:lnTo>
                  <a:lnTo>
                    <a:pt x="1649" y="1239"/>
                  </a:lnTo>
                  <a:lnTo>
                    <a:pt x="1666" y="1200"/>
                  </a:lnTo>
                  <a:lnTo>
                    <a:pt x="1681" y="1161"/>
                  </a:lnTo>
                  <a:lnTo>
                    <a:pt x="1695" y="1121"/>
                  </a:lnTo>
                  <a:lnTo>
                    <a:pt x="1707" y="1079"/>
                  </a:lnTo>
                  <a:lnTo>
                    <a:pt x="1717" y="1038"/>
                  </a:lnTo>
                  <a:lnTo>
                    <a:pt x="1724" y="996"/>
                  </a:lnTo>
                  <a:lnTo>
                    <a:pt x="1730" y="953"/>
                  </a:lnTo>
                  <a:lnTo>
                    <a:pt x="1732" y="909"/>
                  </a:lnTo>
                  <a:lnTo>
                    <a:pt x="1734" y="864"/>
                  </a:lnTo>
                  <a:lnTo>
                    <a:pt x="1732" y="819"/>
                  </a:lnTo>
                  <a:lnTo>
                    <a:pt x="1730" y="775"/>
                  </a:lnTo>
                  <a:lnTo>
                    <a:pt x="1724" y="732"/>
                  </a:lnTo>
                  <a:lnTo>
                    <a:pt x="1717" y="690"/>
                  </a:lnTo>
                  <a:lnTo>
                    <a:pt x="1707" y="647"/>
                  </a:lnTo>
                  <a:lnTo>
                    <a:pt x="1695" y="607"/>
                  </a:lnTo>
                  <a:lnTo>
                    <a:pt x="1681" y="567"/>
                  </a:lnTo>
                  <a:lnTo>
                    <a:pt x="1666" y="528"/>
                  </a:lnTo>
                  <a:lnTo>
                    <a:pt x="1649" y="489"/>
                  </a:lnTo>
                  <a:lnTo>
                    <a:pt x="1629" y="452"/>
                  </a:lnTo>
                  <a:lnTo>
                    <a:pt x="1609" y="416"/>
                  </a:lnTo>
                  <a:lnTo>
                    <a:pt x="1586" y="380"/>
                  </a:lnTo>
                  <a:lnTo>
                    <a:pt x="1561" y="347"/>
                  </a:lnTo>
                  <a:lnTo>
                    <a:pt x="1537" y="314"/>
                  </a:lnTo>
                  <a:lnTo>
                    <a:pt x="1509" y="282"/>
                  </a:lnTo>
                  <a:lnTo>
                    <a:pt x="1480" y="252"/>
                  </a:lnTo>
                  <a:lnTo>
                    <a:pt x="1450" y="224"/>
                  </a:lnTo>
                  <a:lnTo>
                    <a:pt x="1419" y="196"/>
                  </a:lnTo>
                  <a:lnTo>
                    <a:pt x="1385" y="172"/>
                  </a:lnTo>
                  <a:lnTo>
                    <a:pt x="1352" y="147"/>
                  </a:lnTo>
                  <a:lnTo>
                    <a:pt x="1316" y="124"/>
                  </a:lnTo>
                  <a:lnTo>
                    <a:pt x="1280" y="104"/>
                  </a:lnTo>
                  <a:lnTo>
                    <a:pt x="1243" y="84"/>
                  </a:lnTo>
                  <a:lnTo>
                    <a:pt x="1204" y="67"/>
                  </a:lnTo>
                  <a:lnTo>
                    <a:pt x="1165" y="51"/>
                  </a:lnTo>
                  <a:lnTo>
                    <a:pt x="1125" y="38"/>
                  </a:lnTo>
                  <a:lnTo>
                    <a:pt x="1083" y="27"/>
                  </a:lnTo>
                  <a:lnTo>
                    <a:pt x="1041" y="17"/>
                  </a:lnTo>
                  <a:lnTo>
                    <a:pt x="999" y="10"/>
                  </a:lnTo>
                  <a:lnTo>
                    <a:pt x="956" y="4"/>
                  </a:lnTo>
                  <a:lnTo>
                    <a:pt x="912" y="1"/>
                  </a:lnTo>
                  <a:lnTo>
                    <a:pt x="867" y="0"/>
                  </a:lnTo>
                  <a:close/>
                  <a:moveTo>
                    <a:pt x="1594" y="1137"/>
                  </a:moveTo>
                  <a:lnTo>
                    <a:pt x="1594" y="1137"/>
                  </a:lnTo>
                  <a:lnTo>
                    <a:pt x="1488" y="1097"/>
                  </a:lnTo>
                  <a:lnTo>
                    <a:pt x="1473" y="1134"/>
                  </a:lnTo>
                  <a:lnTo>
                    <a:pt x="1604" y="1184"/>
                  </a:lnTo>
                  <a:lnTo>
                    <a:pt x="1640" y="1091"/>
                  </a:lnTo>
                  <a:lnTo>
                    <a:pt x="1614" y="1082"/>
                  </a:lnTo>
                  <a:lnTo>
                    <a:pt x="1594" y="1137"/>
                  </a:lnTo>
                  <a:close/>
                  <a:moveTo>
                    <a:pt x="1306" y="1364"/>
                  </a:moveTo>
                  <a:lnTo>
                    <a:pt x="1306" y="1364"/>
                  </a:lnTo>
                  <a:lnTo>
                    <a:pt x="1275" y="1387"/>
                  </a:lnTo>
                  <a:lnTo>
                    <a:pt x="1282" y="1398"/>
                  </a:lnTo>
                  <a:lnTo>
                    <a:pt x="1299" y="1423"/>
                  </a:lnTo>
                  <a:lnTo>
                    <a:pt x="1318" y="1448"/>
                  </a:lnTo>
                  <a:lnTo>
                    <a:pt x="1328" y="1461"/>
                  </a:lnTo>
                  <a:lnTo>
                    <a:pt x="1331" y="1466"/>
                  </a:lnTo>
                  <a:lnTo>
                    <a:pt x="1331" y="1470"/>
                  </a:lnTo>
                  <a:lnTo>
                    <a:pt x="1331" y="1474"/>
                  </a:lnTo>
                  <a:lnTo>
                    <a:pt x="1331" y="1480"/>
                  </a:lnTo>
                  <a:lnTo>
                    <a:pt x="1328" y="1484"/>
                  </a:lnTo>
                  <a:lnTo>
                    <a:pt x="1326" y="1487"/>
                  </a:lnTo>
                  <a:lnTo>
                    <a:pt x="1323" y="1492"/>
                  </a:lnTo>
                  <a:lnTo>
                    <a:pt x="1319" y="1494"/>
                  </a:lnTo>
                  <a:lnTo>
                    <a:pt x="1315" y="1497"/>
                  </a:lnTo>
                  <a:lnTo>
                    <a:pt x="1311" y="1499"/>
                  </a:lnTo>
                  <a:lnTo>
                    <a:pt x="1306" y="1500"/>
                  </a:lnTo>
                  <a:lnTo>
                    <a:pt x="1302" y="1500"/>
                  </a:lnTo>
                  <a:lnTo>
                    <a:pt x="1298" y="1499"/>
                  </a:lnTo>
                  <a:lnTo>
                    <a:pt x="1293" y="1497"/>
                  </a:lnTo>
                  <a:lnTo>
                    <a:pt x="1289" y="1496"/>
                  </a:lnTo>
                  <a:lnTo>
                    <a:pt x="1286" y="1492"/>
                  </a:lnTo>
                  <a:lnTo>
                    <a:pt x="1276" y="1479"/>
                  </a:lnTo>
                  <a:lnTo>
                    <a:pt x="1257" y="1453"/>
                  </a:lnTo>
                  <a:lnTo>
                    <a:pt x="1240" y="1428"/>
                  </a:lnTo>
                  <a:lnTo>
                    <a:pt x="1231" y="1417"/>
                  </a:lnTo>
                  <a:lnTo>
                    <a:pt x="1200" y="1440"/>
                  </a:lnTo>
                  <a:lnTo>
                    <a:pt x="1207" y="1451"/>
                  </a:lnTo>
                  <a:lnTo>
                    <a:pt x="1224" y="1476"/>
                  </a:lnTo>
                  <a:lnTo>
                    <a:pt x="1243" y="1502"/>
                  </a:lnTo>
                  <a:lnTo>
                    <a:pt x="1253" y="1516"/>
                  </a:lnTo>
                  <a:lnTo>
                    <a:pt x="1260" y="1523"/>
                  </a:lnTo>
                  <a:lnTo>
                    <a:pt x="1269" y="1530"/>
                  </a:lnTo>
                  <a:lnTo>
                    <a:pt x="1279" y="1533"/>
                  </a:lnTo>
                  <a:lnTo>
                    <a:pt x="1289" y="1535"/>
                  </a:lnTo>
                  <a:lnTo>
                    <a:pt x="1300" y="1533"/>
                  </a:lnTo>
                  <a:lnTo>
                    <a:pt x="1312" y="1530"/>
                  </a:lnTo>
                  <a:lnTo>
                    <a:pt x="1323" y="1525"/>
                  </a:lnTo>
                  <a:lnTo>
                    <a:pt x="1335" y="1517"/>
                  </a:lnTo>
                  <a:lnTo>
                    <a:pt x="1347" y="1509"/>
                  </a:lnTo>
                  <a:lnTo>
                    <a:pt x="1355" y="1499"/>
                  </a:lnTo>
                  <a:lnTo>
                    <a:pt x="1362" y="1489"/>
                  </a:lnTo>
                  <a:lnTo>
                    <a:pt x="1367" y="1479"/>
                  </a:lnTo>
                  <a:lnTo>
                    <a:pt x="1370" y="1469"/>
                  </a:lnTo>
                  <a:lnTo>
                    <a:pt x="1368" y="1459"/>
                  </a:lnTo>
                  <a:lnTo>
                    <a:pt x="1367" y="1448"/>
                  </a:lnTo>
                  <a:lnTo>
                    <a:pt x="1361" y="1438"/>
                  </a:lnTo>
                  <a:lnTo>
                    <a:pt x="1351" y="1424"/>
                  </a:lnTo>
                  <a:lnTo>
                    <a:pt x="1332" y="1398"/>
                  </a:lnTo>
                  <a:lnTo>
                    <a:pt x="1315" y="1374"/>
                  </a:lnTo>
                  <a:lnTo>
                    <a:pt x="1306" y="1364"/>
                  </a:lnTo>
                  <a:close/>
                  <a:moveTo>
                    <a:pt x="1488" y="1331"/>
                  </a:moveTo>
                  <a:lnTo>
                    <a:pt x="1488" y="1331"/>
                  </a:lnTo>
                  <a:lnTo>
                    <a:pt x="1480" y="1339"/>
                  </a:lnTo>
                  <a:lnTo>
                    <a:pt x="1479" y="1342"/>
                  </a:lnTo>
                  <a:lnTo>
                    <a:pt x="1456" y="1324"/>
                  </a:lnTo>
                  <a:lnTo>
                    <a:pt x="1457" y="1322"/>
                  </a:lnTo>
                  <a:lnTo>
                    <a:pt x="1465" y="1312"/>
                  </a:lnTo>
                  <a:lnTo>
                    <a:pt x="1472" y="1306"/>
                  </a:lnTo>
                  <a:lnTo>
                    <a:pt x="1478" y="1302"/>
                  </a:lnTo>
                  <a:lnTo>
                    <a:pt x="1480" y="1301"/>
                  </a:lnTo>
                  <a:lnTo>
                    <a:pt x="1485" y="1301"/>
                  </a:lnTo>
                  <a:lnTo>
                    <a:pt x="1488" y="1302"/>
                  </a:lnTo>
                  <a:lnTo>
                    <a:pt x="1491" y="1305"/>
                  </a:lnTo>
                  <a:lnTo>
                    <a:pt x="1493" y="1306"/>
                  </a:lnTo>
                  <a:lnTo>
                    <a:pt x="1495" y="1309"/>
                  </a:lnTo>
                  <a:lnTo>
                    <a:pt x="1495" y="1313"/>
                  </a:lnTo>
                  <a:lnTo>
                    <a:pt x="1495" y="1316"/>
                  </a:lnTo>
                  <a:lnTo>
                    <a:pt x="1492" y="1324"/>
                  </a:lnTo>
                  <a:lnTo>
                    <a:pt x="1488" y="1331"/>
                  </a:lnTo>
                  <a:close/>
                  <a:moveTo>
                    <a:pt x="1443" y="1295"/>
                  </a:moveTo>
                  <a:lnTo>
                    <a:pt x="1443" y="1295"/>
                  </a:lnTo>
                  <a:lnTo>
                    <a:pt x="1436" y="1303"/>
                  </a:lnTo>
                  <a:lnTo>
                    <a:pt x="1433" y="1305"/>
                  </a:lnTo>
                  <a:lnTo>
                    <a:pt x="1411" y="1286"/>
                  </a:lnTo>
                  <a:lnTo>
                    <a:pt x="1413" y="1285"/>
                  </a:lnTo>
                  <a:lnTo>
                    <a:pt x="1420" y="1276"/>
                  </a:lnTo>
                  <a:lnTo>
                    <a:pt x="1427" y="1269"/>
                  </a:lnTo>
                  <a:lnTo>
                    <a:pt x="1433" y="1265"/>
                  </a:lnTo>
                  <a:lnTo>
                    <a:pt x="1436" y="1265"/>
                  </a:lnTo>
                  <a:lnTo>
                    <a:pt x="1440" y="1265"/>
                  </a:lnTo>
                  <a:lnTo>
                    <a:pt x="1443" y="1265"/>
                  </a:lnTo>
                  <a:lnTo>
                    <a:pt x="1446" y="1268"/>
                  </a:lnTo>
                  <a:lnTo>
                    <a:pt x="1449" y="1270"/>
                  </a:lnTo>
                  <a:lnTo>
                    <a:pt x="1450" y="1273"/>
                  </a:lnTo>
                  <a:lnTo>
                    <a:pt x="1450" y="1276"/>
                  </a:lnTo>
                  <a:lnTo>
                    <a:pt x="1450" y="1279"/>
                  </a:lnTo>
                  <a:lnTo>
                    <a:pt x="1447" y="1286"/>
                  </a:lnTo>
                  <a:lnTo>
                    <a:pt x="1443" y="1295"/>
                  </a:lnTo>
                  <a:close/>
                  <a:moveTo>
                    <a:pt x="1522" y="1272"/>
                  </a:moveTo>
                  <a:lnTo>
                    <a:pt x="1522" y="1272"/>
                  </a:lnTo>
                  <a:lnTo>
                    <a:pt x="1515" y="1268"/>
                  </a:lnTo>
                  <a:lnTo>
                    <a:pt x="1509" y="1265"/>
                  </a:lnTo>
                  <a:lnTo>
                    <a:pt x="1503" y="1263"/>
                  </a:lnTo>
                  <a:lnTo>
                    <a:pt x="1498" y="1263"/>
                  </a:lnTo>
                  <a:lnTo>
                    <a:pt x="1486" y="1266"/>
                  </a:lnTo>
                  <a:lnTo>
                    <a:pt x="1475" y="1273"/>
                  </a:lnTo>
                  <a:lnTo>
                    <a:pt x="1478" y="1268"/>
                  </a:lnTo>
                  <a:lnTo>
                    <a:pt x="1479" y="1257"/>
                  </a:lnTo>
                  <a:lnTo>
                    <a:pt x="1479" y="1252"/>
                  </a:lnTo>
                  <a:lnTo>
                    <a:pt x="1478" y="1246"/>
                  </a:lnTo>
                  <a:lnTo>
                    <a:pt x="1473" y="1239"/>
                  </a:lnTo>
                  <a:lnTo>
                    <a:pt x="1467" y="1233"/>
                  </a:lnTo>
                  <a:lnTo>
                    <a:pt x="1462" y="1229"/>
                  </a:lnTo>
                  <a:lnTo>
                    <a:pt x="1457" y="1226"/>
                  </a:lnTo>
                  <a:lnTo>
                    <a:pt x="1452" y="1224"/>
                  </a:lnTo>
                  <a:lnTo>
                    <a:pt x="1447" y="1224"/>
                  </a:lnTo>
                  <a:lnTo>
                    <a:pt x="1437" y="1226"/>
                  </a:lnTo>
                  <a:lnTo>
                    <a:pt x="1429" y="1230"/>
                  </a:lnTo>
                  <a:lnTo>
                    <a:pt x="1420" y="1236"/>
                  </a:lnTo>
                  <a:lnTo>
                    <a:pt x="1413" y="1243"/>
                  </a:lnTo>
                  <a:lnTo>
                    <a:pt x="1406" y="1252"/>
                  </a:lnTo>
                  <a:lnTo>
                    <a:pt x="1400" y="1259"/>
                  </a:lnTo>
                  <a:lnTo>
                    <a:pt x="1380" y="1283"/>
                  </a:lnTo>
                  <a:lnTo>
                    <a:pt x="1365" y="1301"/>
                  </a:lnTo>
                  <a:lnTo>
                    <a:pt x="1473" y="1390"/>
                  </a:lnTo>
                  <a:lnTo>
                    <a:pt x="1488" y="1372"/>
                  </a:lnTo>
                  <a:lnTo>
                    <a:pt x="1508" y="1348"/>
                  </a:lnTo>
                  <a:lnTo>
                    <a:pt x="1521" y="1331"/>
                  </a:lnTo>
                  <a:lnTo>
                    <a:pt x="1528" y="1316"/>
                  </a:lnTo>
                  <a:lnTo>
                    <a:pt x="1532" y="1305"/>
                  </a:lnTo>
                  <a:lnTo>
                    <a:pt x="1534" y="1295"/>
                  </a:lnTo>
                  <a:lnTo>
                    <a:pt x="1532" y="1286"/>
                  </a:lnTo>
                  <a:lnTo>
                    <a:pt x="1529" y="1280"/>
                  </a:lnTo>
                  <a:lnTo>
                    <a:pt x="1527" y="1276"/>
                  </a:lnTo>
                  <a:lnTo>
                    <a:pt x="1522" y="1272"/>
                  </a:lnTo>
                  <a:close/>
                  <a:moveTo>
                    <a:pt x="1097" y="1549"/>
                  </a:moveTo>
                  <a:lnTo>
                    <a:pt x="1097" y="1549"/>
                  </a:lnTo>
                  <a:lnTo>
                    <a:pt x="1086" y="1552"/>
                  </a:lnTo>
                  <a:lnTo>
                    <a:pt x="1083" y="1553"/>
                  </a:lnTo>
                  <a:lnTo>
                    <a:pt x="1074" y="1519"/>
                  </a:lnTo>
                  <a:lnTo>
                    <a:pt x="1076" y="1519"/>
                  </a:lnTo>
                  <a:lnTo>
                    <a:pt x="1087" y="1516"/>
                  </a:lnTo>
                  <a:lnTo>
                    <a:pt x="1096" y="1515"/>
                  </a:lnTo>
                  <a:lnTo>
                    <a:pt x="1105" y="1515"/>
                  </a:lnTo>
                  <a:lnTo>
                    <a:pt x="1107" y="1516"/>
                  </a:lnTo>
                  <a:lnTo>
                    <a:pt x="1110" y="1519"/>
                  </a:lnTo>
                  <a:lnTo>
                    <a:pt x="1112" y="1522"/>
                  </a:lnTo>
                  <a:lnTo>
                    <a:pt x="1115" y="1526"/>
                  </a:lnTo>
                  <a:lnTo>
                    <a:pt x="1115" y="1530"/>
                  </a:lnTo>
                  <a:lnTo>
                    <a:pt x="1115" y="1535"/>
                  </a:lnTo>
                  <a:lnTo>
                    <a:pt x="1113" y="1537"/>
                  </a:lnTo>
                  <a:lnTo>
                    <a:pt x="1112" y="1540"/>
                  </a:lnTo>
                  <a:lnTo>
                    <a:pt x="1106" y="1546"/>
                  </a:lnTo>
                  <a:lnTo>
                    <a:pt x="1097" y="1549"/>
                  </a:lnTo>
                  <a:close/>
                  <a:moveTo>
                    <a:pt x="1080" y="1490"/>
                  </a:moveTo>
                  <a:lnTo>
                    <a:pt x="1080" y="1490"/>
                  </a:lnTo>
                  <a:lnTo>
                    <a:pt x="1066" y="1494"/>
                  </a:lnTo>
                  <a:lnTo>
                    <a:pt x="1048" y="1499"/>
                  </a:lnTo>
                  <a:lnTo>
                    <a:pt x="1034" y="1503"/>
                  </a:lnTo>
                  <a:lnTo>
                    <a:pt x="1028" y="1504"/>
                  </a:lnTo>
                  <a:lnTo>
                    <a:pt x="1067" y="1639"/>
                  </a:lnTo>
                  <a:lnTo>
                    <a:pt x="1106" y="1628"/>
                  </a:lnTo>
                  <a:lnTo>
                    <a:pt x="1092" y="1579"/>
                  </a:lnTo>
                  <a:lnTo>
                    <a:pt x="1093" y="1578"/>
                  </a:lnTo>
                  <a:lnTo>
                    <a:pt x="1105" y="1575"/>
                  </a:lnTo>
                  <a:lnTo>
                    <a:pt x="1113" y="1572"/>
                  </a:lnTo>
                  <a:lnTo>
                    <a:pt x="1123" y="1569"/>
                  </a:lnTo>
                  <a:lnTo>
                    <a:pt x="1133" y="1565"/>
                  </a:lnTo>
                  <a:lnTo>
                    <a:pt x="1141" y="1559"/>
                  </a:lnTo>
                  <a:lnTo>
                    <a:pt x="1145" y="1555"/>
                  </a:lnTo>
                  <a:lnTo>
                    <a:pt x="1148" y="1550"/>
                  </a:lnTo>
                  <a:lnTo>
                    <a:pt x="1151" y="1546"/>
                  </a:lnTo>
                  <a:lnTo>
                    <a:pt x="1152" y="1542"/>
                  </a:lnTo>
                  <a:lnTo>
                    <a:pt x="1154" y="1536"/>
                  </a:lnTo>
                  <a:lnTo>
                    <a:pt x="1154" y="1530"/>
                  </a:lnTo>
                  <a:lnTo>
                    <a:pt x="1152" y="1523"/>
                  </a:lnTo>
                  <a:lnTo>
                    <a:pt x="1151" y="1516"/>
                  </a:lnTo>
                  <a:lnTo>
                    <a:pt x="1148" y="1507"/>
                  </a:lnTo>
                  <a:lnTo>
                    <a:pt x="1145" y="1502"/>
                  </a:lnTo>
                  <a:lnTo>
                    <a:pt x="1142" y="1497"/>
                  </a:lnTo>
                  <a:lnTo>
                    <a:pt x="1138" y="1493"/>
                  </a:lnTo>
                  <a:lnTo>
                    <a:pt x="1133" y="1489"/>
                  </a:lnTo>
                  <a:lnTo>
                    <a:pt x="1129" y="1487"/>
                  </a:lnTo>
                  <a:lnTo>
                    <a:pt x="1125" y="1486"/>
                  </a:lnTo>
                  <a:lnTo>
                    <a:pt x="1119" y="1484"/>
                  </a:lnTo>
                  <a:lnTo>
                    <a:pt x="1109" y="1484"/>
                  </a:lnTo>
                  <a:lnTo>
                    <a:pt x="1099" y="1484"/>
                  </a:lnTo>
                  <a:lnTo>
                    <a:pt x="1089" y="1487"/>
                  </a:lnTo>
                  <a:lnTo>
                    <a:pt x="1080" y="1490"/>
                  </a:lnTo>
                  <a:close/>
                  <a:moveTo>
                    <a:pt x="873" y="1638"/>
                  </a:moveTo>
                  <a:lnTo>
                    <a:pt x="873" y="1638"/>
                  </a:lnTo>
                  <a:lnTo>
                    <a:pt x="873" y="1608"/>
                  </a:lnTo>
                  <a:lnTo>
                    <a:pt x="932" y="1608"/>
                  </a:lnTo>
                  <a:lnTo>
                    <a:pt x="932" y="1581"/>
                  </a:lnTo>
                  <a:lnTo>
                    <a:pt x="873" y="1581"/>
                  </a:lnTo>
                  <a:lnTo>
                    <a:pt x="873" y="1552"/>
                  </a:lnTo>
                  <a:lnTo>
                    <a:pt x="930" y="1550"/>
                  </a:lnTo>
                  <a:lnTo>
                    <a:pt x="930" y="1525"/>
                  </a:lnTo>
                  <a:lnTo>
                    <a:pt x="832" y="1525"/>
                  </a:lnTo>
                  <a:lnTo>
                    <a:pt x="832" y="1664"/>
                  </a:lnTo>
                  <a:lnTo>
                    <a:pt x="932" y="1664"/>
                  </a:lnTo>
                  <a:lnTo>
                    <a:pt x="932" y="1637"/>
                  </a:lnTo>
                  <a:lnTo>
                    <a:pt x="873" y="1638"/>
                  </a:lnTo>
                  <a:close/>
                  <a:moveTo>
                    <a:pt x="1531" y="595"/>
                  </a:moveTo>
                  <a:lnTo>
                    <a:pt x="1531" y="595"/>
                  </a:lnTo>
                  <a:lnTo>
                    <a:pt x="1492" y="644"/>
                  </a:lnTo>
                  <a:lnTo>
                    <a:pt x="1508" y="682"/>
                  </a:lnTo>
                  <a:lnTo>
                    <a:pt x="1573" y="601"/>
                  </a:lnTo>
                  <a:lnTo>
                    <a:pt x="1617" y="581"/>
                  </a:lnTo>
                  <a:lnTo>
                    <a:pt x="1601" y="545"/>
                  </a:lnTo>
                  <a:lnTo>
                    <a:pt x="1557" y="564"/>
                  </a:lnTo>
                  <a:lnTo>
                    <a:pt x="1452" y="551"/>
                  </a:lnTo>
                  <a:lnTo>
                    <a:pt x="1467" y="587"/>
                  </a:lnTo>
                  <a:lnTo>
                    <a:pt x="1531" y="595"/>
                  </a:lnTo>
                  <a:close/>
                  <a:moveTo>
                    <a:pt x="1270" y="170"/>
                  </a:moveTo>
                  <a:lnTo>
                    <a:pt x="1270" y="170"/>
                  </a:lnTo>
                  <a:lnTo>
                    <a:pt x="1233" y="152"/>
                  </a:lnTo>
                  <a:lnTo>
                    <a:pt x="1171" y="278"/>
                  </a:lnTo>
                  <a:lnTo>
                    <a:pt x="1207" y="295"/>
                  </a:lnTo>
                  <a:lnTo>
                    <a:pt x="1270" y="170"/>
                  </a:lnTo>
                  <a:close/>
                  <a:moveTo>
                    <a:pt x="1041" y="231"/>
                  </a:moveTo>
                  <a:lnTo>
                    <a:pt x="1041" y="231"/>
                  </a:lnTo>
                  <a:lnTo>
                    <a:pt x="1053" y="232"/>
                  </a:lnTo>
                  <a:lnTo>
                    <a:pt x="1063" y="232"/>
                  </a:lnTo>
                  <a:lnTo>
                    <a:pt x="1073" y="231"/>
                  </a:lnTo>
                  <a:lnTo>
                    <a:pt x="1083" y="228"/>
                  </a:lnTo>
                  <a:lnTo>
                    <a:pt x="1092" y="222"/>
                  </a:lnTo>
                  <a:lnTo>
                    <a:pt x="1099" y="216"/>
                  </a:lnTo>
                  <a:lnTo>
                    <a:pt x="1106" y="208"/>
                  </a:lnTo>
                  <a:lnTo>
                    <a:pt x="1110" y="198"/>
                  </a:lnTo>
                  <a:lnTo>
                    <a:pt x="1077" y="191"/>
                  </a:lnTo>
                  <a:lnTo>
                    <a:pt x="1070" y="198"/>
                  </a:lnTo>
                  <a:lnTo>
                    <a:pt x="1063" y="202"/>
                  </a:lnTo>
                  <a:lnTo>
                    <a:pt x="1056" y="205"/>
                  </a:lnTo>
                  <a:lnTo>
                    <a:pt x="1047" y="203"/>
                  </a:lnTo>
                  <a:lnTo>
                    <a:pt x="1041" y="202"/>
                  </a:lnTo>
                  <a:lnTo>
                    <a:pt x="1037" y="199"/>
                  </a:lnTo>
                  <a:lnTo>
                    <a:pt x="1033" y="195"/>
                  </a:lnTo>
                  <a:lnTo>
                    <a:pt x="1030" y="189"/>
                  </a:lnTo>
                  <a:lnTo>
                    <a:pt x="1027" y="182"/>
                  </a:lnTo>
                  <a:lnTo>
                    <a:pt x="1025" y="173"/>
                  </a:lnTo>
                  <a:lnTo>
                    <a:pt x="1027" y="163"/>
                  </a:lnTo>
                  <a:lnTo>
                    <a:pt x="1028" y="153"/>
                  </a:lnTo>
                  <a:lnTo>
                    <a:pt x="1031" y="142"/>
                  </a:lnTo>
                  <a:lnTo>
                    <a:pt x="1035" y="133"/>
                  </a:lnTo>
                  <a:lnTo>
                    <a:pt x="1040" y="126"/>
                  </a:lnTo>
                  <a:lnTo>
                    <a:pt x="1044" y="122"/>
                  </a:lnTo>
                  <a:lnTo>
                    <a:pt x="1050" y="117"/>
                  </a:lnTo>
                  <a:lnTo>
                    <a:pt x="1056" y="116"/>
                  </a:lnTo>
                  <a:lnTo>
                    <a:pt x="1061" y="114"/>
                  </a:lnTo>
                  <a:lnTo>
                    <a:pt x="1067" y="116"/>
                  </a:lnTo>
                  <a:lnTo>
                    <a:pt x="1074" y="119"/>
                  </a:lnTo>
                  <a:lnTo>
                    <a:pt x="1080" y="123"/>
                  </a:lnTo>
                  <a:lnTo>
                    <a:pt x="1086" y="130"/>
                  </a:lnTo>
                  <a:lnTo>
                    <a:pt x="1087" y="139"/>
                  </a:lnTo>
                  <a:lnTo>
                    <a:pt x="1122" y="147"/>
                  </a:lnTo>
                  <a:lnTo>
                    <a:pt x="1122" y="136"/>
                  </a:lnTo>
                  <a:lnTo>
                    <a:pt x="1119" y="124"/>
                  </a:lnTo>
                  <a:lnTo>
                    <a:pt x="1115" y="116"/>
                  </a:lnTo>
                  <a:lnTo>
                    <a:pt x="1109" y="107"/>
                  </a:lnTo>
                  <a:lnTo>
                    <a:pt x="1102" y="101"/>
                  </a:lnTo>
                  <a:lnTo>
                    <a:pt x="1095" y="96"/>
                  </a:lnTo>
                  <a:lnTo>
                    <a:pt x="1084" y="91"/>
                  </a:lnTo>
                  <a:lnTo>
                    <a:pt x="1073" y="89"/>
                  </a:lnTo>
                  <a:lnTo>
                    <a:pt x="1060" y="86"/>
                  </a:lnTo>
                  <a:lnTo>
                    <a:pt x="1046" y="86"/>
                  </a:lnTo>
                  <a:lnTo>
                    <a:pt x="1034" y="89"/>
                  </a:lnTo>
                  <a:lnTo>
                    <a:pt x="1021" y="94"/>
                  </a:lnTo>
                  <a:lnTo>
                    <a:pt x="1017" y="99"/>
                  </a:lnTo>
                  <a:lnTo>
                    <a:pt x="1011" y="103"/>
                  </a:lnTo>
                  <a:lnTo>
                    <a:pt x="1007" y="107"/>
                  </a:lnTo>
                  <a:lnTo>
                    <a:pt x="1002" y="113"/>
                  </a:lnTo>
                  <a:lnTo>
                    <a:pt x="998" y="120"/>
                  </a:lnTo>
                  <a:lnTo>
                    <a:pt x="995" y="127"/>
                  </a:lnTo>
                  <a:lnTo>
                    <a:pt x="992" y="135"/>
                  </a:lnTo>
                  <a:lnTo>
                    <a:pt x="989" y="145"/>
                  </a:lnTo>
                  <a:lnTo>
                    <a:pt x="988" y="153"/>
                  </a:lnTo>
                  <a:lnTo>
                    <a:pt x="987" y="162"/>
                  </a:lnTo>
                  <a:lnTo>
                    <a:pt x="987" y="170"/>
                  </a:lnTo>
                  <a:lnTo>
                    <a:pt x="988" y="178"/>
                  </a:lnTo>
                  <a:lnTo>
                    <a:pt x="989" y="185"/>
                  </a:lnTo>
                  <a:lnTo>
                    <a:pt x="991" y="191"/>
                  </a:lnTo>
                  <a:lnTo>
                    <a:pt x="994" y="198"/>
                  </a:lnTo>
                  <a:lnTo>
                    <a:pt x="997" y="203"/>
                  </a:lnTo>
                  <a:lnTo>
                    <a:pt x="1005" y="213"/>
                  </a:lnTo>
                  <a:lnTo>
                    <a:pt x="1015" y="221"/>
                  </a:lnTo>
                  <a:lnTo>
                    <a:pt x="1027" y="226"/>
                  </a:lnTo>
                  <a:lnTo>
                    <a:pt x="1041" y="231"/>
                  </a:lnTo>
                  <a:close/>
                  <a:moveTo>
                    <a:pt x="1532" y="858"/>
                  </a:moveTo>
                  <a:lnTo>
                    <a:pt x="1532" y="858"/>
                  </a:lnTo>
                  <a:lnTo>
                    <a:pt x="1672" y="842"/>
                  </a:lnTo>
                  <a:lnTo>
                    <a:pt x="1668" y="802"/>
                  </a:lnTo>
                  <a:lnTo>
                    <a:pt x="1528" y="818"/>
                  </a:lnTo>
                  <a:lnTo>
                    <a:pt x="1532" y="858"/>
                  </a:lnTo>
                  <a:close/>
                  <a:moveTo>
                    <a:pt x="893" y="64"/>
                  </a:moveTo>
                  <a:lnTo>
                    <a:pt x="893" y="64"/>
                  </a:lnTo>
                  <a:lnTo>
                    <a:pt x="853" y="64"/>
                  </a:lnTo>
                  <a:lnTo>
                    <a:pt x="853" y="205"/>
                  </a:lnTo>
                  <a:lnTo>
                    <a:pt x="893" y="205"/>
                  </a:lnTo>
                  <a:lnTo>
                    <a:pt x="893" y="64"/>
                  </a:lnTo>
                  <a:close/>
                  <a:moveTo>
                    <a:pt x="1371" y="392"/>
                  </a:moveTo>
                  <a:lnTo>
                    <a:pt x="1371" y="392"/>
                  </a:lnTo>
                  <a:lnTo>
                    <a:pt x="1328" y="353"/>
                  </a:lnTo>
                  <a:lnTo>
                    <a:pt x="1347" y="330"/>
                  </a:lnTo>
                  <a:lnTo>
                    <a:pt x="1391" y="369"/>
                  </a:lnTo>
                  <a:lnTo>
                    <a:pt x="1408" y="348"/>
                  </a:lnTo>
                  <a:lnTo>
                    <a:pt x="1365" y="310"/>
                  </a:lnTo>
                  <a:lnTo>
                    <a:pt x="1385" y="288"/>
                  </a:lnTo>
                  <a:lnTo>
                    <a:pt x="1429" y="327"/>
                  </a:lnTo>
                  <a:lnTo>
                    <a:pt x="1447" y="307"/>
                  </a:lnTo>
                  <a:lnTo>
                    <a:pt x="1372" y="241"/>
                  </a:lnTo>
                  <a:lnTo>
                    <a:pt x="1279" y="346"/>
                  </a:lnTo>
                  <a:lnTo>
                    <a:pt x="1352" y="412"/>
                  </a:lnTo>
                  <a:lnTo>
                    <a:pt x="1371" y="392"/>
                  </a:lnTo>
                  <a:close/>
                  <a:moveTo>
                    <a:pt x="1519" y="728"/>
                  </a:moveTo>
                  <a:lnTo>
                    <a:pt x="1519" y="728"/>
                  </a:lnTo>
                  <a:lnTo>
                    <a:pt x="1524" y="772"/>
                  </a:lnTo>
                  <a:lnTo>
                    <a:pt x="1590" y="811"/>
                  </a:lnTo>
                  <a:lnTo>
                    <a:pt x="1663" y="751"/>
                  </a:lnTo>
                  <a:lnTo>
                    <a:pt x="1658" y="706"/>
                  </a:lnTo>
                  <a:lnTo>
                    <a:pt x="1584" y="766"/>
                  </a:lnTo>
                  <a:lnTo>
                    <a:pt x="1519" y="728"/>
                  </a:lnTo>
                  <a:close/>
                  <a:moveTo>
                    <a:pt x="133" y="677"/>
                  </a:moveTo>
                  <a:lnTo>
                    <a:pt x="133" y="677"/>
                  </a:lnTo>
                  <a:lnTo>
                    <a:pt x="144" y="644"/>
                  </a:lnTo>
                  <a:lnTo>
                    <a:pt x="138" y="637"/>
                  </a:lnTo>
                  <a:lnTo>
                    <a:pt x="134" y="630"/>
                  </a:lnTo>
                  <a:lnTo>
                    <a:pt x="133" y="621"/>
                  </a:lnTo>
                  <a:lnTo>
                    <a:pt x="134" y="614"/>
                  </a:lnTo>
                  <a:lnTo>
                    <a:pt x="137" y="608"/>
                  </a:lnTo>
                  <a:lnTo>
                    <a:pt x="141" y="604"/>
                  </a:lnTo>
                  <a:lnTo>
                    <a:pt x="146" y="600"/>
                  </a:lnTo>
                  <a:lnTo>
                    <a:pt x="151" y="597"/>
                  </a:lnTo>
                  <a:lnTo>
                    <a:pt x="159" y="595"/>
                  </a:lnTo>
                  <a:lnTo>
                    <a:pt x="167" y="595"/>
                  </a:lnTo>
                  <a:lnTo>
                    <a:pt x="176" y="598"/>
                  </a:lnTo>
                  <a:lnTo>
                    <a:pt x="187" y="601"/>
                  </a:lnTo>
                  <a:lnTo>
                    <a:pt x="197" y="606"/>
                  </a:lnTo>
                  <a:lnTo>
                    <a:pt x="206" y="610"/>
                  </a:lnTo>
                  <a:lnTo>
                    <a:pt x="212" y="616"/>
                  </a:lnTo>
                  <a:lnTo>
                    <a:pt x="218" y="620"/>
                  </a:lnTo>
                  <a:lnTo>
                    <a:pt x="220" y="626"/>
                  </a:lnTo>
                  <a:lnTo>
                    <a:pt x="222" y="631"/>
                  </a:lnTo>
                  <a:lnTo>
                    <a:pt x="222" y="637"/>
                  </a:lnTo>
                  <a:lnTo>
                    <a:pt x="220" y="643"/>
                  </a:lnTo>
                  <a:lnTo>
                    <a:pt x="216" y="650"/>
                  </a:lnTo>
                  <a:lnTo>
                    <a:pt x="210" y="656"/>
                  </a:lnTo>
                  <a:lnTo>
                    <a:pt x="203" y="660"/>
                  </a:lnTo>
                  <a:lnTo>
                    <a:pt x="193" y="662"/>
                  </a:lnTo>
                  <a:lnTo>
                    <a:pt x="182" y="695"/>
                  </a:lnTo>
                  <a:lnTo>
                    <a:pt x="195" y="695"/>
                  </a:lnTo>
                  <a:lnTo>
                    <a:pt x="205" y="693"/>
                  </a:lnTo>
                  <a:lnTo>
                    <a:pt x="215" y="690"/>
                  </a:lnTo>
                  <a:lnTo>
                    <a:pt x="223" y="686"/>
                  </a:lnTo>
                  <a:lnTo>
                    <a:pt x="231" y="680"/>
                  </a:lnTo>
                  <a:lnTo>
                    <a:pt x="236" y="672"/>
                  </a:lnTo>
                  <a:lnTo>
                    <a:pt x="242" y="663"/>
                  </a:lnTo>
                  <a:lnTo>
                    <a:pt x="246" y="653"/>
                  </a:lnTo>
                  <a:lnTo>
                    <a:pt x="251" y="640"/>
                  </a:lnTo>
                  <a:lnTo>
                    <a:pt x="252" y="626"/>
                  </a:lnTo>
                  <a:lnTo>
                    <a:pt x="251" y="613"/>
                  </a:lnTo>
                  <a:lnTo>
                    <a:pt x="246" y="601"/>
                  </a:lnTo>
                  <a:lnTo>
                    <a:pt x="243" y="595"/>
                  </a:lnTo>
                  <a:lnTo>
                    <a:pt x="239" y="590"/>
                  </a:lnTo>
                  <a:lnTo>
                    <a:pt x="235" y="584"/>
                  </a:lnTo>
                  <a:lnTo>
                    <a:pt x="229" y="580"/>
                  </a:lnTo>
                  <a:lnTo>
                    <a:pt x="223" y="574"/>
                  </a:lnTo>
                  <a:lnTo>
                    <a:pt x="216" y="570"/>
                  </a:lnTo>
                  <a:lnTo>
                    <a:pt x="209" y="567"/>
                  </a:lnTo>
                  <a:lnTo>
                    <a:pt x="200" y="562"/>
                  </a:lnTo>
                  <a:lnTo>
                    <a:pt x="192" y="560"/>
                  </a:lnTo>
                  <a:lnTo>
                    <a:pt x="183" y="558"/>
                  </a:lnTo>
                  <a:lnTo>
                    <a:pt x="176" y="558"/>
                  </a:lnTo>
                  <a:lnTo>
                    <a:pt x="167" y="557"/>
                  </a:lnTo>
                  <a:lnTo>
                    <a:pt x="160" y="558"/>
                  </a:lnTo>
                  <a:lnTo>
                    <a:pt x="153" y="560"/>
                  </a:lnTo>
                  <a:lnTo>
                    <a:pt x="147" y="561"/>
                  </a:lnTo>
                  <a:lnTo>
                    <a:pt x="141" y="564"/>
                  </a:lnTo>
                  <a:lnTo>
                    <a:pt x="130" y="571"/>
                  </a:lnTo>
                  <a:lnTo>
                    <a:pt x="121" y="580"/>
                  </a:lnTo>
                  <a:lnTo>
                    <a:pt x="114" y="591"/>
                  </a:lnTo>
                  <a:lnTo>
                    <a:pt x="108" y="604"/>
                  </a:lnTo>
                  <a:lnTo>
                    <a:pt x="105" y="616"/>
                  </a:lnTo>
                  <a:lnTo>
                    <a:pt x="104" y="626"/>
                  </a:lnTo>
                  <a:lnTo>
                    <a:pt x="104" y="636"/>
                  </a:lnTo>
                  <a:lnTo>
                    <a:pt x="107" y="646"/>
                  </a:lnTo>
                  <a:lnTo>
                    <a:pt x="111" y="656"/>
                  </a:lnTo>
                  <a:lnTo>
                    <a:pt x="117" y="663"/>
                  </a:lnTo>
                  <a:lnTo>
                    <a:pt x="124" y="672"/>
                  </a:lnTo>
                  <a:lnTo>
                    <a:pt x="133" y="677"/>
                  </a:lnTo>
                  <a:close/>
                  <a:moveTo>
                    <a:pt x="501" y="182"/>
                  </a:moveTo>
                  <a:lnTo>
                    <a:pt x="501" y="182"/>
                  </a:lnTo>
                  <a:lnTo>
                    <a:pt x="507" y="179"/>
                  </a:lnTo>
                  <a:lnTo>
                    <a:pt x="513" y="179"/>
                  </a:lnTo>
                  <a:lnTo>
                    <a:pt x="519" y="179"/>
                  </a:lnTo>
                  <a:lnTo>
                    <a:pt x="524" y="182"/>
                  </a:lnTo>
                  <a:lnTo>
                    <a:pt x="530" y="186"/>
                  </a:lnTo>
                  <a:lnTo>
                    <a:pt x="536" y="192"/>
                  </a:lnTo>
                  <a:lnTo>
                    <a:pt x="542" y="201"/>
                  </a:lnTo>
                  <a:lnTo>
                    <a:pt x="547" y="209"/>
                  </a:lnTo>
                  <a:lnTo>
                    <a:pt x="552" y="221"/>
                  </a:lnTo>
                  <a:lnTo>
                    <a:pt x="555" y="229"/>
                  </a:lnTo>
                  <a:lnTo>
                    <a:pt x="555" y="238"/>
                  </a:lnTo>
                  <a:lnTo>
                    <a:pt x="555" y="245"/>
                  </a:lnTo>
                  <a:lnTo>
                    <a:pt x="553" y="251"/>
                  </a:lnTo>
                  <a:lnTo>
                    <a:pt x="549" y="257"/>
                  </a:lnTo>
                  <a:lnTo>
                    <a:pt x="546" y="259"/>
                  </a:lnTo>
                  <a:lnTo>
                    <a:pt x="540" y="264"/>
                  </a:lnTo>
                  <a:lnTo>
                    <a:pt x="534" y="265"/>
                  </a:lnTo>
                  <a:lnTo>
                    <a:pt x="529" y="265"/>
                  </a:lnTo>
                  <a:lnTo>
                    <a:pt x="523" y="265"/>
                  </a:lnTo>
                  <a:lnTo>
                    <a:pt x="517" y="262"/>
                  </a:lnTo>
                  <a:lnTo>
                    <a:pt x="510" y="258"/>
                  </a:lnTo>
                  <a:lnTo>
                    <a:pt x="504" y="252"/>
                  </a:lnTo>
                  <a:lnTo>
                    <a:pt x="500" y="245"/>
                  </a:lnTo>
                  <a:lnTo>
                    <a:pt x="494" y="235"/>
                  </a:lnTo>
                  <a:lnTo>
                    <a:pt x="490" y="225"/>
                  </a:lnTo>
                  <a:lnTo>
                    <a:pt x="487" y="215"/>
                  </a:lnTo>
                  <a:lnTo>
                    <a:pt x="487" y="208"/>
                  </a:lnTo>
                  <a:lnTo>
                    <a:pt x="487" y="201"/>
                  </a:lnTo>
                  <a:lnTo>
                    <a:pt x="488" y="193"/>
                  </a:lnTo>
                  <a:lnTo>
                    <a:pt x="491" y="189"/>
                  </a:lnTo>
                  <a:lnTo>
                    <a:pt x="495" y="185"/>
                  </a:lnTo>
                  <a:lnTo>
                    <a:pt x="501" y="182"/>
                  </a:lnTo>
                  <a:close/>
                  <a:moveTo>
                    <a:pt x="552" y="288"/>
                  </a:moveTo>
                  <a:lnTo>
                    <a:pt x="552" y="288"/>
                  </a:lnTo>
                  <a:lnTo>
                    <a:pt x="565" y="281"/>
                  </a:lnTo>
                  <a:lnTo>
                    <a:pt x="575" y="274"/>
                  </a:lnTo>
                  <a:lnTo>
                    <a:pt x="583" y="264"/>
                  </a:lnTo>
                  <a:lnTo>
                    <a:pt x="589" y="252"/>
                  </a:lnTo>
                  <a:lnTo>
                    <a:pt x="591" y="245"/>
                  </a:lnTo>
                  <a:lnTo>
                    <a:pt x="592" y="239"/>
                  </a:lnTo>
                  <a:lnTo>
                    <a:pt x="593" y="232"/>
                  </a:lnTo>
                  <a:lnTo>
                    <a:pt x="592" y="225"/>
                  </a:lnTo>
                  <a:lnTo>
                    <a:pt x="592" y="216"/>
                  </a:lnTo>
                  <a:lnTo>
                    <a:pt x="591" y="209"/>
                  </a:lnTo>
                  <a:lnTo>
                    <a:pt x="588" y="201"/>
                  </a:lnTo>
                  <a:lnTo>
                    <a:pt x="583" y="192"/>
                  </a:lnTo>
                  <a:lnTo>
                    <a:pt x="579" y="185"/>
                  </a:lnTo>
                  <a:lnTo>
                    <a:pt x="575" y="178"/>
                  </a:lnTo>
                  <a:lnTo>
                    <a:pt x="570" y="170"/>
                  </a:lnTo>
                  <a:lnTo>
                    <a:pt x="565" y="165"/>
                  </a:lnTo>
                  <a:lnTo>
                    <a:pt x="559" y="160"/>
                  </a:lnTo>
                  <a:lnTo>
                    <a:pt x="553" y="156"/>
                  </a:lnTo>
                  <a:lnTo>
                    <a:pt x="547" y="153"/>
                  </a:lnTo>
                  <a:lnTo>
                    <a:pt x="542" y="150"/>
                  </a:lnTo>
                  <a:lnTo>
                    <a:pt x="529" y="149"/>
                  </a:lnTo>
                  <a:lnTo>
                    <a:pt x="516" y="149"/>
                  </a:lnTo>
                  <a:lnTo>
                    <a:pt x="503" y="150"/>
                  </a:lnTo>
                  <a:lnTo>
                    <a:pt x="490" y="156"/>
                  </a:lnTo>
                  <a:lnTo>
                    <a:pt x="477" y="163"/>
                  </a:lnTo>
                  <a:lnTo>
                    <a:pt x="467" y="172"/>
                  </a:lnTo>
                  <a:lnTo>
                    <a:pt x="458" y="182"/>
                  </a:lnTo>
                  <a:lnTo>
                    <a:pt x="452" y="193"/>
                  </a:lnTo>
                  <a:lnTo>
                    <a:pt x="451" y="199"/>
                  </a:lnTo>
                  <a:lnTo>
                    <a:pt x="449" y="206"/>
                  </a:lnTo>
                  <a:lnTo>
                    <a:pt x="448" y="212"/>
                  </a:lnTo>
                  <a:lnTo>
                    <a:pt x="448" y="221"/>
                  </a:lnTo>
                  <a:lnTo>
                    <a:pt x="449" y="228"/>
                  </a:lnTo>
                  <a:lnTo>
                    <a:pt x="451" y="235"/>
                  </a:lnTo>
                  <a:lnTo>
                    <a:pt x="454" y="244"/>
                  </a:lnTo>
                  <a:lnTo>
                    <a:pt x="458" y="252"/>
                  </a:lnTo>
                  <a:lnTo>
                    <a:pt x="462" y="259"/>
                  </a:lnTo>
                  <a:lnTo>
                    <a:pt x="467" y="268"/>
                  </a:lnTo>
                  <a:lnTo>
                    <a:pt x="471" y="274"/>
                  </a:lnTo>
                  <a:lnTo>
                    <a:pt x="477" y="280"/>
                  </a:lnTo>
                  <a:lnTo>
                    <a:pt x="483" y="284"/>
                  </a:lnTo>
                  <a:lnTo>
                    <a:pt x="488" y="288"/>
                  </a:lnTo>
                  <a:lnTo>
                    <a:pt x="494" y="291"/>
                  </a:lnTo>
                  <a:lnTo>
                    <a:pt x="500" y="294"/>
                  </a:lnTo>
                  <a:lnTo>
                    <a:pt x="513" y="297"/>
                  </a:lnTo>
                  <a:lnTo>
                    <a:pt x="526" y="297"/>
                  </a:lnTo>
                  <a:lnTo>
                    <a:pt x="539" y="294"/>
                  </a:lnTo>
                  <a:lnTo>
                    <a:pt x="552" y="288"/>
                  </a:lnTo>
                  <a:close/>
                  <a:moveTo>
                    <a:pt x="356" y="331"/>
                  </a:moveTo>
                  <a:lnTo>
                    <a:pt x="356" y="331"/>
                  </a:lnTo>
                  <a:lnTo>
                    <a:pt x="349" y="340"/>
                  </a:lnTo>
                  <a:lnTo>
                    <a:pt x="347" y="341"/>
                  </a:lnTo>
                  <a:lnTo>
                    <a:pt x="321" y="317"/>
                  </a:lnTo>
                  <a:lnTo>
                    <a:pt x="323" y="315"/>
                  </a:lnTo>
                  <a:lnTo>
                    <a:pt x="331" y="307"/>
                  </a:lnTo>
                  <a:lnTo>
                    <a:pt x="339" y="301"/>
                  </a:lnTo>
                  <a:lnTo>
                    <a:pt x="346" y="298"/>
                  </a:lnTo>
                  <a:lnTo>
                    <a:pt x="350" y="298"/>
                  </a:lnTo>
                  <a:lnTo>
                    <a:pt x="353" y="298"/>
                  </a:lnTo>
                  <a:lnTo>
                    <a:pt x="357" y="300"/>
                  </a:lnTo>
                  <a:lnTo>
                    <a:pt x="360" y="303"/>
                  </a:lnTo>
                  <a:lnTo>
                    <a:pt x="363" y="307"/>
                  </a:lnTo>
                  <a:lnTo>
                    <a:pt x="364" y="310"/>
                  </a:lnTo>
                  <a:lnTo>
                    <a:pt x="366" y="314"/>
                  </a:lnTo>
                  <a:lnTo>
                    <a:pt x="364" y="317"/>
                  </a:lnTo>
                  <a:lnTo>
                    <a:pt x="362" y="324"/>
                  </a:lnTo>
                  <a:lnTo>
                    <a:pt x="356" y="331"/>
                  </a:lnTo>
                  <a:close/>
                  <a:moveTo>
                    <a:pt x="403" y="396"/>
                  </a:moveTo>
                  <a:lnTo>
                    <a:pt x="403" y="396"/>
                  </a:lnTo>
                  <a:lnTo>
                    <a:pt x="366" y="360"/>
                  </a:lnTo>
                  <a:lnTo>
                    <a:pt x="367" y="359"/>
                  </a:lnTo>
                  <a:lnTo>
                    <a:pt x="376" y="350"/>
                  </a:lnTo>
                  <a:lnTo>
                    <a:pt x="383" y="343"/>
                  </a:lnTo>
                  <a:lnTo>
                    <a:pt x="389" y="336"/>
                  </a:lnTo>
                  <a:lnTo>
                    <a:pt x="395" y="327"/>
                  </a:lnTo>
                  <a:lnTo>
                    <a:pt x="399" y="318"/>
                  </a:lnTo>
                  <a:lnTo>
                    <a:pt x="400" y="313"/>
                  </a:lnTo>
                  <a:lnTo>
                    <a:pt x="402" y="308"/>
                  </a:lnTo>
                  <a:lnTo>
                    <a:pt x="402" y="303"/>
                  </a:lnTo>
                  <a:lnTo>
                    <a:pt x="400" y="298"/>
                  </a:lnTo>
                  <a:lnTo>
                    <a:pt x="399" y="292"/>
                  </a:lnTo>
                  <a:lnTo>
                    <a:pt x="396" y="287"/>
                  </a:lnTo>
                  <a:lnTo>
                    <a:pt x="392" y="281"/>
                  </a:lnTo>
                  <a:lnTo>
                    <a:pt x="387" y="275"/>
                  </a:lnTo>
                  <a:lnTo>
                    <a:pt x="382" y="271"/>
                  </a:lnTo>
                  <a:lnTo>
                    <a:pt x="376" y="267"/>
                  </a:lnTo>
                  <a:lnTo>
                    <a:pt x="370" y="264"/>
                  </a:lnTo>
                  <a:lnTo>
                    <a:pt x="364" y="262"/>
                  </a:lnTo>
                  <a:lnTo>
                    <a:pt x="359" y="261"/>
                  </a:lnTo>
                  <a:lnTo>
                    <a:pt x="354" y="261"/>
                  </a:lnTo>
                  <a:lnTo>
                    <a:pt x="349" y="262"/>
                  </a:lnTo>
                  <a:lnTo>
                    <a:pt x="344" y="264"/>
                  </a:lnTo>
                  <a:lnTo>
                    <a:pt x="336" y="268"/>
                  </a:lnTo>
                  <a:lnTo>
                    <a:pt x="327" y="274"/>
                  </a:lnTo>
                  <a:lnTo>
                    <a:pt x="320" y="281"/>
                  </a:lnTo>
                  <a:lnTo>
                    <a:pt x="313" y="288"/>
                  </a:lnTo>
                  <a:lnTo>
                    <a:pt x="290" y="311"/>
                  </a:lnTo>
                  <a:lnTo>
                    <a:pt x="274" y="327"/>
                  </a:lnTo>
                  <a:lnTo>
                    <a:pt x="375" y="425"/>
                  </a:lnTo>
                  <a:lnTo>
                    <a:pt x="403" y="396"/>
                  </a:lnTo>
                  <a:close/>
                  <a:moveTo>
                    <a:pt x="264" y="699"/>
                  </a:moveTo>
                  <a:lnTo>
                    <a:pt x="264" y="699"/>
                  </a:lnTo>
                  <a:lnTo>
                    <a:pt x="272" y="674"/>
                  </a:lnTo>
                  <a:lnTo>
                    <a:pt x="262" y="657"/>
                  </a:lnTo>
                  <a:lnTo>
                    <a:pt x="281" y="650"/>
                  </a:lnTo>
                  <a:lnTo>
                    <a:pt x="290" y="624"/>
                  </a:lnTo>
                  <a:lnTo>
                    <a:pt x="261" y="636"/>
                  </a:lnTo>
                  <a:lnTo>
                    <a:pt x="248" y="673"/>
                  </a:lnTo>
                  <a:lnTo>
                    <a:pt x="264" y="699"/>
                  </a:lnTo>
                  <a:close/>
                  <a:moveTo>
                    <a:pt x="786" y="206"/>
                  </a:moveTo>
                  <a:lnTo>
                    <a:pt x="786" y="206"/>
                  </a:lnTo>
                  <a:lnTo>
                    <a:pt x="781" y="179"/>
                  </a:lnTo>
                  <a:lnTo>
                    <a:pt x="724" y="192"/>
                  </a:lnTo>
                  <a:lnTo>
                    <a:pt x="699" y="83"/>
                  </a:lnTo>
                  <a:lnTo>
                    <a:pt x="660" y="91"/>
                  </a:lnTo>
                  <a:lnTo>
                    <a:pt x="691" y="228"/>
                  </a:lnTo>
                  <a:lnTo>
                    <a:pt x="786" y="206"/>
                  </a:lnTo>
                  <a:close/>
                  <a:moveTo>
                    <a:pt x="1119" y="967"/>
                  </a:moveTo>
                  <a:lnTo>
                    <a:pt x="1119" y="967"/>
                  </a:lnTo>
                  <a:lnTo>
                    <a:pt x="1503" y="863"/>
                  </a:lnTo>
                  <a:lnTo>
                    <a:pt x="1119" y="758"/>
                  </a:lnTo>
                  <a:lnTo>
                    <a:pt x="1318" y="413"/>
                  </a:lnTo>
                  <a:lnTo>
                    <a:pt x="971" y="611"/>
                  </a:lnTo>
                  <a:lnTo>
                    <a:pt x="867" y="228"/>
                  </a:lnTo>
                  <a:lnTo>
                    <a:pt x="762" y="611"/>
                  </a:lnTo>
                  <a:lnTo>
                    <a:pt x="416" y="413"/>
                  </a:lnTo>
                  <a:lnTo>
                    <a:pt x="614" y="758"/>
                  </a:lnTo>
                  <a:lnTo>
                    <a:pt x="229" y="863"/>
                  </a:lnTo>
                  <a:lnTo>
                    <a:pt x="614" y="967"/>
                  </a:lnTo>
                  <a:lnTo>
                    <a:pt x="416" y="1312"/>
                  </a:lnTo>
                  <a:lnTo>
                    <a:pt x="762" y="1115"/>
                  </a:lnTo>
                  <a:lnTo>
                    <a:pt x="867" y="1499"/>
                  </a:lnTo>
                  <a:lnTo>
                    <a:pt x="971" y="1115"/>
                  </a:lnTo>
                  <a:lnTo>
                    <a:pt x="1318" y="1312"/>
                  </a:lnTo>
                  <a:lnTo>
                    <a:pt x="1119" y="9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B94C315A-47BC-77F6-0C72-17EC00BFBD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20388" y="2341563"/>
              <a:ext cx="657225" cy="654050"/>
            </a:xfrm>
            <a:custGeom>
              <a:avLst/>
              <a:gdLst>
                <a:gd name="T0" fmla="*/ 470 w 1242"/>
                <a:gd name="T1" fmla="*/ 619 h 1237"/>
                <a:gd name="T2" fmla="*/ 628 w 1242"/>
                <a:gd name="T3" fmla="*/ 627 h 1237"/>
                <a:gd name="T4" fmla="*/ 621 w 1242"/>
                <a:gd name="T5" fmla="*/ 468 h 1237"/>
                <a:gd name="T6" fmla="*/ 182 w 1242"/>
                <a:gd name="T7" fmla="*/ 1057 h 1237"/>
                <a:gd name="T8" fmla="*/ 504 w 1242"/>
                <a:gd name="T9" fmla="*/ 735 h 1237"/>
                <a:gd name="T10" fmla="*/ 455 w 1242"/>
                <a:gd name="T11" fmla="*/ 621 h 1237"/>
                <a:gd name="T12" fmla="*/ 375 w 1242"/>
                <a:gd name="T13" fmla="*/ 721 h 1237"/>
                <a:gd name="T14" fmla="*/ 467 w 1242"/>
                <a:gd name="T15" fmla="*/ 682 h 1237"/>
                <a:gd name="T16" fmla="*/ 491 w 1242"/>
                <a:gd name="T17" fmla="*/ 722 h 1237"/>
                <a:gd name="T18" fmla="*/ 467 w 1242"/>
                <a:gd name="T19" fmla="*/ 682 h 1237"/>
                <a:gd name="T20" fmla="*/ 723 w 1242"/>
                <a:gd name="T21" fmla="*/ 864 h 1237"/>
                <a:gd name="T22" fmla="*/ 712 w 1242"/>
                <a:gd name="T23" fmla="*/ 756 h 1237"/>
                <a:gd name="T24" fmla="*/ 455 w 1242"/>
                <a:gd name="T25" fmla="*/ 616 h 1237"/>
                <a:gd name="T26" fmla="*/ 458 w 1242"/>
                <a:gd name="T27" fmla="*/ 586 h 1237"/>
                <a:gd name="T28" fmla="*/ 375 w 1242"/>
                <a:gd name="T29" fmla="*/ 517 h 1237"/>
                <a:gd name="T30" fmla="*/ 621 w 1242"/>
                <a:gd name="T31" fmla="*/ 784 h 1237"/>
                <a:gd name="T32" fmla="*/ 723 w 1242"/>
                <a:gd name="T33" fmla="*/ 864 h 1237"/>
                <a:gd name="T34" fmla="*/ 723 w 1242"/>
                <a:gd name="T35" fmla="*/ 864 h 1237"/>
                <a:gd name="T36" fmla="*/ 723 w 1242"/>
                <a:gd name="T37" fmla="*/ 864 h 1237"/>
                <a:gd name="T38" fmla="*/ 519 w 1242"/>
                <a:gd name="T39" fmla="*/ 864 h 1237"/>
                <a:gd name="T40" fmla="*/ 586 w 1242"/>
                <a:gd name="T41" fmla="*/ 781 h 1237"/>
                <a:gd name="T42" fmla="*/ 519 w 1242"/>
                <a:gd name="T43" fmla="*/ 864 h 1237"/>
                <a:gd name="T44" fmla="*/ 738 w 1242"/>
                <a:gd name="T45" fmla="*/ 735 h 1237"/>
                <a:gd name="T46" fmla="*/ 739 w 1242"/>
                <a:gd name="T47" fmla="*/ 733 h 1237"/>
                <a:gd name="T48" fmla="*/ 785 w 1242"/>
                <a:gd name="T49" fmla="*/ 637 h 1237"/>
                <a:gd name="T50" fmla="*/ 774 w 1242"/>
                <a:gd name="T51" fmla="*/ 682 h 1237"/>
                <a:gd name="T52" fmla="*/ 867 w 1242"/>
                <a:gd name="T53" fmla="*/ 517 h 1237"/>
                <a:gd name="T54" fmla="*/ 787 w 1242"/>
                <a:gd name="T55" fmla="*/ 619 h 1237"/>
                <a:gd name="T56" fmla="*/ 867 w 1242"/>
                <a:gd name="T57" fmla="*/ 517 h 1237"/>
                <a:gd name="T58" fmla="*/ 749 w 1242"/>
                <a:gd name="T59" fmla="*/ 515 h 1237"/>
                <a:gd name="T60" fmla="*/ 774 w 1242"/>
                <a:gd name="T61" fmla="*/ 555 h 1237"/>
                <a:gd name="T62" fmla="*/ 501 w 1242"/>
                <a:gd name="T63" fmla="*/ 504 h 1237"/>
                <a:gd name="T64" fmla="*/ 375 w 1242"/>
                <a:gd name="T65" fmla="*/ 517 h 1237"/>
                <a:gd name="T66" fmla="*/ 519 w 1242"/>
                <a:gd name="T67" fmla="*/ 373 h 1237"/>
                <a:gd name="T68" fmla="*/ 529 w 1242"/>
                <a:gd name="T69" fmla="*/ 481 h 1237"/>
                <a:gd name="T70" fmla="*/ 519 w 1242"/>
                <a:gd name="T71" fmla="*/ 373 h 1237"/>
                <a:gd name="T72" fmla="*/ 1060 w 1242"/>
                <a:gd name="T73" fmla="*/ 181 h 1237"/>
                <a:gd name="T74" fmla="*/ 738 w 1242"/>
                <a:gd name="T75" fmla="*/ 502 h 1237"/>
                <a:gd name="T76" fmla="*/ 621 w 1242"/>
                <a:gd name="T77" fmla="*/ 0 h 1237"/>
                <a:gd name="T78" fmla="*/ 621 w 1242"/>
                <a:gd name="T79" fmla="*/ 453 h 1237"/>
                <a:gd name="T80" fmla="*/ 622 w 1242"/>
                <a:gd name="T81" fmla="*/ 453 h 1237"/>
                <a:gd name="T82" fmla="*/ 670 w 1242"/>
                <a:gd name="T83" fmla="*/ 461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2" h="1237">
                  <a:moveTo>
                    <a:pt x="621" y="468"/>
                  </a:moveTo>
                  <a:lnTo>
                    <a:pt x="612" y="611"/>
                  </a:lnTo>
                  <a:lnTo>
                    <a:pt x="470" y="619"/>
                  </a:lnTo>
                  <a:lnTo>
                    <a:pt x="612" y="627"/>
                  </a:lnTo>
                  <a:lnTo>
                    <a:pt x="621" y="769"/>
                  </a:lnTo>
                  <a:lnTo>
                    <a:pt x="628" y="627"/>
                  </a:lnTo>
                  <a:lnTo>
                    <a:pt x="772" y="619"/>
                  </a:lnTo>
                  <a:lnTo>
                    <a:pt x="628" y="611"/>
                  </a:lnTo>
                  <a:lnTo>
                    <a:pt x="621" y="468"/>
                  </a:lnTo>
                  <a:close/>
                  <a:moveTo>
                    <a:pt x="504" y="735"/>
                  </a:moveTo>
                  <a:lnTo>
                    <a:pt x="504" y="735"/>
                  </a:lnTo>
                  <a:lnTo>
                    <a:pt x="182" y="1057"/>
                  </a:lnTo>
                  <a:lnTo>
                    <a:pt x="519" y="864"/>
                  </a:lnTo>
                  <a:lnTo>
                    <a:pt x="506" y="738"/>
                  </a:lnTo>
                  <a:lnTo>
                    <a:pt x="504" y="735"/>
                  </a:lnTo>
                  <a:close/>
                  <a:moveTo>
                    <a:pt x="375" y="721"/>
                  </a:moveTo>
                  <a:lnTo>
                    <a:pt x="375" y="7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0" y="619"/>
                  </a:lnTo>
                  <a:lnTo>
                    <a:pt x="375" y="721"/>
                  </a:lnTo>
                  <a:lnTo>
                    <a:pt x="375" y="721"/>
                  </a:lnTo>
                  <a:close/>
                  <a:moveTo>
                    <a:pt x="467" y="682"/>
                  </a:moveTo>
                  <a:lnTo>
                    <a:pt x="467" y="682"/>
                  </a:lnTo>
                  <a:lnTo>
                    <a:pt x="375" y="721"/>
                  </a:lnTo>
                  <a:lnTo>
                    <a:pt x="503" y="733"/>
                  </a:lnTo>
                  <a:lnTo>
                    <a:pt x="491" y="722"/>
                  </a:lnTo>
                  <a:lnTo>
                    <a:pt x="483" y="710"/>
                  </a:lnTo>
                  <a:lnTo>
                    <a:pt x="474" y="696"/>
                  </a:lnTo>
                  <a:lnTo>
                    <a:pt x="467" y="682"/>
                  </a:lnTo>
                  <a:close/>
                  <a:moveTo>
                    <a:pt x="684" y="771"/>
                  </a:moveTo>
                  <a:lnTo>
                    <a:pt x="684" y="771"/>
                  </a:lnTo>
                  <a:lnTo>
                    <a:pt x="723" y="864"/>
                  </a:lnTo>
                  <a:lnTo>
                    <a:pt x="736" y="736"/>
                  </a:lnTo>
                  <a:lnTo>
                    <a:pt x="725" y="748"/>
                  </a:lnTo>
                  <a:lnTo>
                    <a:pt x="712" y="756"/>
                  </a:lnTo>
                  <a:lnTo>
                    <a:pt x="699" y="765"/>
                  </a:lnTo>
                  <a:lnTo>
                    <a:pt x="684" y="771"/>
                  </a:lnTo>
                  <a:close/>
                  <a:moveTo>
                    <a:pt x="455" y="616"/>
                  </a:moveTo>
                  <a:lnTo>
                    <a:pt x="455" y="616"/>
                  </a:lnTo>
                  <a:lnTo>
                    <a:pt x="455" y="600"/>
                  </a:lnTo>
                  <a:lnTo>
                    <a:pt x="458" y="586"/>
                  </a:lnTo>
                  <a:lnTo>
                    <a:pt x="463" y="570"/>
                  </a:lnTo>
                  <a:lnTo>
                    <a:pt x="467" y="555"/>
                  </a:lnTo>
                  <a:lnTo>
                    <a:pt x="375" y="517"/>
                  </a:lnTo>
                  <a:lnTo>
                    <a:pt x="455" y="616"/>
                  </a:lnTo>
                  <a:close/>
                  <a:moveTo>
                    <a:pt x="621" y="784"/>
                  </a:moveTo>
                  <a:lnTo>
                    <a:pt x="621" y="784"/>
                  </a:lnTo>
                  <a:lnTo>
                    <a:pt x="621" y="1237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624" y="784"/>
                  </a:lnTo>
                  <a:lnTo>
                    <a:pt x="621" y="784"/>
                  </a:lnTo>
                  <a:close/>
                  <a:moveTo>
                    <a:pt x="723" y="864"/>
                  </a:move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close/>
                  <a:moveTo>
                    <a:pt x="519" y="864"/>
                  </a:moveTo>
                  <a:lnTo>
                    <a:pt x="519" y="864"/>
                  </a:lnTo>
                  <a:lnTo>
                    <a:pt x="618" y="784"/>
                  </a:lnTo>
                  <a:lnTo>
                    <a:pt x="602" y="782"/>
                  </a:lnTo>
                  <a:lnTo>
                    <a:pt x="586" y="781"/>
                  </a:lnTo>
                  <a:lnTo>
                    <a:pt x="572" y="777"/>
                  </a:lnTo>
                  <a:lnTo>
                    <a:pt x="558" y="771"/>
                  </a:lnTo>
                  <a:lnTo>
                    <a:pt x="519" y="864"/>
                  </a:lnTo>
                  <a:close/>
                  <a:moveTo>
                    <a:pt x="739" y="733"/>
                  </a:moveTo>
                  <a:lnTo>
                    <a:pt x="739" y="733"/>
                  </a:lnTo>
                  <a:lnTo>
                    <a:pt x="738" y="735"/>
                  </a:lnTo>
                  <a:lnTo>
                    <a:pt x="1060" y="1057"/>
                  </a:lnTo>
                  <a:lnTo>
                    <a:pt x="867" y="721"/>
                  </a:lnTo>
                  <a:lnTo>
                    <a:pt x="739" y="733"/>
                  </a:lnTo>
                  <a:close/>
                  <a:moveTo>
                    <a:pt x="787" y="621"/>
                  </a:moveTo>
                  <a:lnTo>
                    <a:pt x="787" y="621"/>
                  </a:lnTo>
                  <a:lnTo>
                    <a:pt x="785" y="637"/>
                  </a:lnTo>
                  <a:lnTo>
                    <a:pt x="782" y="653"/>
                  </a:lnTo>
                  <a:lnTo>
                    <a:pt x="779" y="667"/>
                  </a:lnTo>
                  <a:lnTo>
                    <a:pt x="774" y="682"/>
                  </a:lnTo>
                  <a:lnTo>
                    <a:pt x="867" y="721"/>
                  </a:lnTo>
                  <a:lnTo>
                    <a:pt x="787" y="621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87" y="616"/>
                  </a:lnTo>
                  <a:lnTo>
                    <a:pt x="787" y="619"/>
                  </a:lnTo>
                  <a:lnTo>
                    <a:pt x="1242" y="619"/>
                  </a:lnTo>
                  <a:lnTo>
                    <a:pt x="867" y="517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39" y="504"/>
                  </a:lnTo>
                  <a:lnTo>
                    <a:pt x="749" y="515"/>
                  </a:lnTo>
                  <a:lnTo>
                    <a:pt x="759" y="528"/>
                  </a:lnTo>
                  <a:lnTo>
                    <a:pt x="766" y="541"/>
                  </a:lnTo>
                  <a:lnTo>
                    <a:pt x="774" y="555"/>
                  </a:lnTo>
                  <a:lnTo>
                    <a:pt x="867" y="517"/>
                  </a:lnTo>
                  <a:close/>
                  <a:moveTo>
                    <a:pt x="501" y="504"/>
                  </a:moveTo>
                  <a:lnTo>
                    <a:pt x="501" y="504"/>
                  </a:lnTo>
                  <a:lnTo>
                    <a:pt x="504" y="502"/>
                  </a:lnTo>
                  <a:lnTo>
                    <a:pt x="182" y="181"/>
                  </a:lnTo>
                  <a:lnTo>
                    <a:pt x="375" y="517"/>
                  </a:lnTo>
                  <a:lnTo>
                    <a:pt x="501" y="504"/>
                  </a:lnTo>
                  <a:close/>
                  <a:moveTo>
                    <a:pt x="519" y="373"/>
                  </a:moveTo>
                  <a:lnTo>
                    <a:pt x="519" y="373"/>
                  </a:lnTo>
                  <a:lnTo>
                    <a:pt x="506" y="501"/>
                  </a:lnTo>
                  <a:lnTo>
                    <a:pt x="517" y="491"/>
                  </a:lnTo>
                  <a:lnTo>
                    <a:pt x="529" y="481"/>
                  </a:lnTo>
                  <a:lnTo>
                    <a:pt x="543" y="474"/>
                  </a:lnTo>
                  <a:lnTo>
                    <a:pt x="558" y="466"/>
                  </a:lnTo>
                  <a:lnTo>
                    <a:pt x="519" y="373"/>
                  </a:lnTo>
                  <a:close/>
                  <a:moveTo>
                    <a:pt x="738" y="502"/>
                  </a:moveTo>
                  <a:lnTo>
                    <a:pt x="738" y="502"/>
                  </a:lnTo>
                  <a:lnTo>
                    <a:pt x="1060" y="181"/>
                  </a:lnTo>
                  <a:lnTo>
                    <a:pt x="723" y="373"/>
                  </a:lnTo>
                  <a:lnTo>
                    <a:pt x="736" y="501"/>
                  </a:lnTo>
                  <a:lnTo>
                    <a:pt x="738" y="502"/>
                  </a:lnTo>
                  <a:close/>
                  <a:moveTo>
                    <a:pt x="621" y="453"/>
                  </a:moveTo>
                  <a:lnTo>
                    <a:pt x="621" y="453"/>
                  </a:lnTo>
                  <a:lnTo>
                    <a:pt x="621" y="0"/>
                  </a:lnTo>
                  <a:lnTo>
                    <a:pt x="519" y="373"/>
                  </a:lnTo>
                  <a:lnTo>
                    <a:pt x="618" y="453"/>
                  </a:lnTo>
                  <a:lnTo>
                    <a:pt x="621" y="453"/>
                  </a:lnTo>
                  <a:close/>
                  <a:moveTo>
                    <a:pt x="723" y="373"/>
                  </a:moveTo>
                  <a:lnTo>
                    <a:pt x="723" y="373"/>
                  </a:lnTo>
                  <a:lnTo>
                    <a:pt x="622" y="453"/>
                  </a:lnTo>
                  <a:lnTo>
                    <a:pt x="640" y="455"/>
                  </a:lnTo>
                  <a:lnTo>
                    <a:pt x="654" y="458"/>
                  </a:lnTo>
                  <a:lnTo>
                    <a:pt x="670" y="461"/>
                  </a:lnTo>
                  <a:lnTo>
                    <a:pt x="684" y="466"/>
                  </a:lnTo>
                  <a:lnTo>
                    <a:pt x="723" y="373"/>
                  </a:lnTo>
                  <a:close/>
                </a:path>
              </a:pathLst>
            </a:custGeom>
            <a:solidFill>
              <a:srgbClr val="B8B8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1A68B2DA-2152-2B25-6799-B0BFBCD83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63275" y="2582863"/>
              <a:ext cx="171450" cy="169863"/>
            </a:xfrm>
            <a:custGeom>
              <a:avLst/>
              <a:gdLst>
                <a:gd name="T0" fmla="*/ 170 w 322"/>
                <a:gd name="T1" fmla="*/ 184 h 321"/>
                <a:gd name="T2" fmla="*/ 178 w 322"/>
                <a:gd name="T3" fmla="*/ 321 h 321"/>
                <a:gd name="T4" fmla="*/ 210 w 322"/>
                <a:gd name="T5" fmla="*/ 314 h 321"/>
                <a:gd name="T6" fmla="*/ 239 w 322"/>
                <a:gd name="T7" fmla="*/ 303 h 321"/>
                <a:gd name="T8" fmla="*/ 263 w 322"/>
                <a:gd name="T9" fmla="*/ 285 h 321"/>
                <a:gd name="T10" fmla="*/ 285 w 322"/>
                <a:gd name="T11" fmla="*/ 264 h 321"/>
                <a:gd name="T12" fmla="*/ 302 w 322"/>
                <a:gd name="T13" fmla="*/ 238 h 321"/>
                <a:gd name="T14" fmla="*/ 315 w 322"/>
                <a:gd name="T15" fmla="*/ 209 h 321"/>
                <a:gd name="T16" fmla="*/ 321 w 322"/>
                <a:gd name="T17" fmla="*/ 178 h 321"/>
                <a:gd name="T18" fmla="*/ 183 w 322"/>
                <a:gd name="T19" fmla="*/ 171 h 321"/>
                <a:gd name="T20" fmla="*/ 151 w 322"/>
                <a:gd name="T21" fmla="*/ 171 h 321"/>
                <a:gd name="T22" fmla="*/ 138 w 322"/>
                <a:gd name="T23" fmla="*/ 171 h 321"/>
                <a:gd name="T24" fmla="*/ 0 w 322"/>
                <a:gd name="T25" fmla="*/ 178 h 321"/>
                <a:gd name="T26" fmla="*/ 7 w 322"/>
                <a:gd name="T27" fmla="*/ 209 h 321"/>
                <a:gd name="T28" fmla="*/ 18 w 322"/>
                <a:gd name="T29" fmla="*/ 238 h 321"/>
                <a:gd name="T30" fmla="*/ 36 w 322"/>
                <a:gd name="T31" fmla="*/ 264 h 321"/>
                <a:gd name="T32" fmla="*/ 57 w 322"/>
                <a:gd name="T33" fmla="*/ 285 h 321"/>
                <a:gd name="T34" fmla="*/ 83 w 322"/>
                <a:gd name="T35" fmla="*/ 303 h 321"/>
                <a:gd name="T36" fmla="*/ 112 w 322"/>
                <a:gd name="T37" fmla="*/ 314 h 321"/>
                <a:gd name="T38" fmla="*/ 142 w 322"/>
                <a:gd name="T39" fmla="*/ 321 h 321"/>
                <a:gd name="T40" fmla="*/ 151 w 322"/>
                <a:gd name="T41" fmla="*/ 184 h 321"/>
                <a:gd name="T42" fmla="*/ 171 w 322"/>
                <a:gd name="T43" fmla="*/ 151 h 321"/>
                <a:gd name="T44" fmla="*/ 183 w 322"/>
                <a:gd name="T45" fmla="*/ 152 h 321"/>
                <a:gd name="T46" fmla="*/ 321 w 322"/>
                <a:gd name="T47" fmla="*/ 143 h 321"/>
                <a:gd name="T48" fmla="*/ 315 w 322"/>
                <a:gd name="T49" fmla="*/ 112 h 321"/>
                <a:gd name="T50" fmla="*/ 302 w 322"/>
                <a:gd name="T51" fmla="*/ 83 h 321"/>
                <a:gd name="T52" fmla="*/ 285 w 322"/>
                <a:gd name="T53" fmla="*/ 59 h 321"/>
                <a:gd name="T54" fmla="*/ 263 w 322"/>
                <a:gd name="T55" fmla="*/ 37 h 321"/>
                <a:gd name="T56" fmla="*/ 239 w 322"/>
                <a:gd name="T57" fmla="*/ 20 h 321"/>
                <a:gd name="T58" fmla="*/ 210 w 322"/>
                <a:gd name="T59" fmla="*/ 7 h 321"/>
                <a:gd name="T60" fmla="*/ 178 w 322"/>
                <a:gd name="T61" fmla="*/ 1 h 321"/>
                <a:gd name="T62" fmla="*/ 170 w 322"/>
                <a:gd name="T63" fmla="*/ 139 h 321"/>
                <a:gd name="T64" fmla="*/ 0 w 322"/>
                <a:gd name="T65" fmla="*/ 159 h 321"/>
                <a:gd name="T66" fmla="*/ 138 w 322"/>
                <a:gd name="T67" fmla="*/ 152 h 321"/>
                <a:gd name="T68" fmla="*/ 151 w 322"/>
                <a:gd name="T69" fmla="*/ 139 h 321"/>
                <a:gd name="T70" fmla="*/ 142 w 322"/>
                <a:gd name="T71" fmla="*/ 1 h 321"/>
                <a:gd name="T72" fmla="*/ 112 w 322"/>
                <a:gd name="T73" fmla="*/ 7 h 321"/>
                <a:gd name="T74" fmla="*/ 83 w 322"/>
                <a:gd name="T75" fmla="*/ 20 h 321"/>
                <a:gd name="T76" fmla="*/ 57 w 322"/>
                <a:gd name="T77" fmla="*/ 37 h 321"/>
                <a:gd name="T78" fmla="*/ 36 w 322"/>
                <a:gd name="T79" fmla="*/ 59 h 321"/>
                <a:gd name="T80" fmla="*/ 18 w 322"/>
                <a:gd name="T81" fmla="*/ 83 h 321"/>
                <a:gd name="T82" fmla="*/ 7 w 322"/>
                <a:gd name="T83" fmla="*/ 112 h 321"/>
                <a:gd name="T84" fmla="*/ 0 w 322"/>
                <a:gd name="T85" fmla="*/ 1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2" h="321">
                  <a:moveTo>
                    <a:pt x="171" y="171"/>
                  </a:moveTo>
                  <a:lnTo>
                    <a:pt x="170" y="184"/>
                  </a:lnTo>
                  <a:lnTo>
                    <a:pt x="162" y="321"/>
                  </a:lnTo>
                  <a:lnTo>
                    <a:pt x="178" y="321"/>
                  </a:lnTo>
                  <a:lnTo>
                    <a:pt x="194" y="319"/>
                  </a:lnTo>
                  <a:lnTo>
                    <a:pt x="210" y="314"/>
                  </a:lnTo>
                  <a:lnTo>
                    <a:pt x="224" y="308"/>
                  </a:lnTo>
                  <a:lnTo>
                    <a:pt x="239" y="303"/>
                  </a:lnTo>
                  <a:lnTo>
                    <a:pt x="252" y="294"/>
                  </a:lnTo>
                  <a:lnTo>
                    <a:pt x="263" y="285"/>
                  </a:lnTo>
                  <a:lnTo>
                    <a:pt x="275" y="274"/>
                  </a:lnTo>
                  <a:lnTo>
                    <a:pt x="285" y="264"/>
                  </a:lnTo>
                  <a:lnTo>
                    <a:pt x="295" y="251"/>
                  </a:lnTo>
                  <a:lnTo>
                    <a:pt x="302" y="238"/>
                  </a:lnTo>
                  <a:lnTo>
                    <a:pt x="309" y="224"/>
                  </a:lnTo>
                  <a:lnTo>
                    <a:pt x="315" y="209"/>
                  </a:lnTo>
                  <a:lnTo>
                    <a:pt x="318" y="194"/>
                  </a:lnTo>
                  <a:lnTo>
                    <a:pt x="321" y="178"/>
                  </a:lnTo>
                  <a:lnTo>
                    <a:pt x="322" y="162"/>
                  </a:lnTo>
                  <a:lnTo>
                    <a:pt x="183" y="171"/>
                  </a:lnTo>
                  <a:lnTo>
                    <a:pt x="171" y="171"/>
                  </a:lnTo>
                  <a:close/>
                  <a:moveTo>
                    <a:pt x="151" y="171"/>
                  </a:moveTo>
                  <a:lnTo>
                    <a:pt x="151" y="171"/>
                  </a:lnTo>
                  <a:lnTo>
                    <a:pt x="138" y="171"/>
                  </a:lnTo>
                  <a:lnTo>
                    <a:pt x="0" y="162"/>
                  </a:lnTo>
                  <a:lnTo>
                    <a:pt x="0" y="178"/>
                  </a:lnTo>
                  <a:lnTo>
                    <a:pt x="3" y="194"/>
                  </a:lnTo>
                  <a:lnTo>
                    <a:pt x="7" y="209"/>
                  </a:lnTo>
                  <a:lnTo>
                    <a:pt x="13" y="224"/>
                  </a:lnTo>
                  <a:lnTo>
                    <a:pt x="18" y="238"/>
                  </a:lnTo>
                  <a:lnTo>
                    <a:pt x="27" y="251"/>
                  </a:lnTo>
                  <a:lnTo>
                    <a:pt x="36" y="264"/>
                  </a:lnTo>
                  <a:lnTo>
                    <a:pt x="47" y="274"/>
                  </a:lnTo>
                  <a:lnTo>
                    <a:pt x="57" y="285"/>
                  </a:lnTo>
                  <a:lnTo>
                    <a:pt x="70" y="294"/>
                  </a:lnTo>
                  <a:lnTo>
                    <a:pt x="83" y="303"/>
                  </a:lnTo>
                  <a:lnTo>
                    <a:pt x="98" y="308"/>
                  </a:lnTo>
                  <a:lnTo>
                    <a:pt x="112" y="314"/>
                  </a:lnTo>
                  <a:lnTo>
                    <a:pt x="126" y="319"/>
                  </a:lnTo>
                  <a:lnTo>
                    <a:pt x="142" y="321"/>
                  </a:lnTo>
                  <a:lnTo>
                    <a:pt x="160" y="321"/>
                  </a:lnTo>
                  <a:lnTo>
                    <a:pt x="151" y="184"/>
                  </a:lnTo>
                  <a:lnTo>
                    <a:pt x="151" y="171"/>
                  </a:lnTo>
                  <a:close/>
                  <a:moveTo>
                    <a:pt x="171" y="151"/>
                  </a:moveTo>
                  <a:lnTo>
                    <a:pt x="171" y="151"/>
                  </a:lnTo>
                  <a:lnTo>
                    <a:pt x="183" y="152"/>
                  </a:lnTo>
                  <a:lnTo>
                    <a:pt x="322" y="159"/>
                  </a:lnTo>
                  <a:lnTo>
                    <a:pt x="321" y="143"/>
                  </a:lnTo>
                  <a:lnTo>
                    <a:pt x="318" y="128"/>
                  </a:lnTo>
                  <a:lnTo>
                    <a:pt x="315" y="112"/>
                  </a:lnTo>
                  <a:lnTo>
                    <a:pt x="309" y="97"/>
                  </a:lnTo>
                  <a:lnTo>
                    <a:pt x="302" y="83"/>
                  </a:lnTo>
                  <a:lnTo>
                    <a:pt x="295" y="70"/>
                  </a:lnTo>
                  <a:lnTo>
                    <a:pt x="285" y="59"/>
                  </a:lnTo>
                  <a:lnTo>
                    <a:pt x="275" y="47"/>
                  </a:lnTo>
                  <a:lnTo>
                    <a:pt x="263" y="37"/>
                  </a:lnTo>
                  <a:lnTo>
                    <a:pt x="252" y="27"/>
                  </a:lnTo>
                  <a:lnTo>
                    <a:pt x="239" y="20"/>
                  </a:lnTo>
                  <a:lnTo>
                    <a:pt x="224" y="13"/>
                  </a:lnTo>
                  <a:lnTo>
                    <a:pt x="210" y="7"/>
                  </a:lnTo>
                  <a:lnTo>
                    <a:pt x="194" y="4"/>
                  </a:lnTo>
                  <a:lnTo>
                    <a:pt x="178" y="1"/>
                  </a:lnTo>
                  <a:lnTo>
                    <a:pt x="162" y="0"/>
                  </a:lnTo>
                  <a:lnTo>
                    <a:pt x="170" y="139"/>
                  </a:lnTo>
                  <a:lnTo>
                    <a:pt x="171" y="151"/>
                  </a:lnTo>
                  <a:close/>
                  <a:moveTo>
                    <a:pt x="0" y="159"/>
                  </a:moveTo>
                  <a:lnTo>
                    <a:pt x="0" y="159"/>
                  </a:lnTo>
                  <a:lnTo>
                    <a:pt x="138" y="152"/>
                  </a:lnTo>
                  <a:lnTo>
                    <a:pt x="151" y="151"/>
                  </a:lnTo>
                  <a:lnTo>
                    <a:pt x="151" y="139"/>
                  </a:lnTo>
                  <a:lnTo>
                    <a:pt x="160" y="0"/>
                  </a:lnTo>
                  <a:lnTo>
                    <a:pt x="142" y="1"/>
                  </a:lnTo>
                  <a:lnTo>
                    <a:pt x="126" y="4"/>
                  </a:lnTo>
                  <a:lnTo>
                    <a:pt x="112" y="7"/>
                  </a:lnTo>
                  <a:lnTo>
                    <a:pt x="98" y="13"/>
                  </a:lnTo>
                  <a:lnTo>
                    <a:pt x="83" y="20"/>
                  </a:lnTo>
                  <a:lnTo>
                    <a:pt x="70" y="27"/>
                  </a:lnTo>
                  <a:lnTo>
                    <a:pt x="57" y="37"/>
                  </a:lnTo>
                  <a:lnTo>
                    <a:pt x="47" y="47"/>
                  </a:lnTo>
                  <a:lnTo>
                    <a:pt x="36" y="59"/>
                  </a:lnTo>
                  <a:lnTo>
                    <a:pt x="27" y="70"/>
                  </a:lnTo>
                  <a:lnTo>
                    <a:pt x="18" y="83"/>
                  </a:lnTo>
                  <a:lnTo>
                    <a:pt x="13" y="97"/>
                  </a:lnTo>
                  <a:lnTo>
                    <a:pt x="7" y="112"/>
                  </a:lnTo>
                  <a:lnTo>
                    <a:pt x="3" y="128"/>
                  </a:lnTo>
                  <a:lnTo>
                    <a:pt x="0" y="143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8CBCFA57-D499-C5A4-DCD9-D15BA3233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35250"/>
              <a:ext cx="65088" cy="31750"/>
            </a:xfrm>
            <a:custGeom>
              <a:avLst/>
              <a:gdLst>
                <a:gd name="T0" fmla="*/ 61 w 121"/>
                <a:gd name="T1" fmla="*/ 0 h 60"/>
                <a:gd name="T2" fmla="*/ 61 w 121"/>
                <a:gd name="T3" fmla="*/ 0 h 60"/>
                <a:gd name="T4" fmla="*/ 29 w 121"/>
                <a:gd name="T5" fmla="*/ 0 h 60"/>
                <a:gd name="T6" fmla="*/ 29 w 121"/>
                <a:gd name="T7" fmla="*/ 0 h 60"/>
                <a:gd name="T8" fmla="*/ 0 w 121"/>
                <a:gd name="T9" fmla="*/ 29 h 60"/>
                <a:gd name="T10" fmla="*/ 0 w 121"/>
                <a:gd name="T11" fmla="*/ 46 h 60"/>
                <a:gd name="T12" fmla="*/ 9 w 121"/>
                <a:gd name="T13" fmla="*/ 54 h 60"/>
                <a:gd name="T14" fmla="*/ 121 w 121"/>
                <a:gd name="T15" fmla="*/ 60 h 60"/>
                <a:gd name="T16" fmla="*/ 61 w 121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60">
                  <a:moveTo>
                    <a:pt x="61" y="0"/>
                  </a:moveTo>
                  <a:lnTo>
                    <a:pt x="6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46"/>
                  </a:lnTo>
                  <a:lnTo>
                    <a:pt x="9" y="54"/>
                  </a:lnTo>
                  <a:lnTo>
                    <a:pt x="121" y="6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5CAFA9FE-5995-FAA3-829B-BAD3C15C4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68588"/>
              <a:ext cx="65088" cy="31750"/>
            </a:xfrm>
            <a:custGeom>
              <a:avLst/>
              <a:gdLst>
                <a:gd name="T0" fmla="*/ 9 w 121"/>
                <a:gd name="T1" fmla="*/ 7 h 60"/>
                <a:gd name="T2" fmla="*/ 0 w 121"/>
                <a:gd name="T3" fmla="*/ 14 h 60"/>
                <a:gd name="T4" fmla="*/ 0 w 121"/>
                <a:gd name="T5" fmla="*/ 32 h 60"/>
                <a:gd name="T6" fmla="*/ 29 w 121"/>
                <a:gd name="T7" fmla="*/ 60 h 60"/>
                <a:gd name="T8" fmla="*/ 61 w 121"/>
                <a:gd name="T9" fmla="*/ 60 h 60"/>
                <a:gd name="T10" fmla="*/ 121 w 121"/>
                <a:gd name="T11" fmla="*/ 0 h 60"/>
                <a:gd name="T12" fmla="*/ 9 w 121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60">
                  <a:moveTo>
                    <a:pt x="9" y="7"/>
                  </a:moveTo>
                  <a:lnTo>
                    <a:pt x="0" y="14"/>
                  </a:lnTo>
                  <a:lnTo>
                    <a:pt x="0" y="32"/>
                  </a:lnTo>
                  <a:lnTo>
                    <a:pt x="29" y="60"/>
                  </a:lnTo>
                  <a:lnTo>
                    <a:pt x="61" y="60"/>
                  </a:lnTo>
                  <a:lnTo>
                    <a:pt x="121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4FB3DA4-F46C-7393-F8F5-80B572A2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35250"/>
              <a:ext cx="63500" cy="31750"/>
            </a:xfrm>
            <a:custGeom>
              <a:avLst/>
              <a:gdLst>
                <a:gd name="T0" fmla="*/ 59 w 119"/>
                <a:gd name="T1" fmla="*/ 0 h 60"/>
                <a:gd name="T2" fmla="*/ 59 w 119"/>
                <a:gd name="T3" fmla="*/ 0 h 60"/>
                <a:gd name="T4" fmla="*/ 92 w 119"/>
                <a:gd name="T5" fmla="*/ 0 h 60"/>
                <a:gd name="T6" fmla="*/ 92 w 119"/>
                <a:gd name="T7" fmla="*/ 0 h 60"/>
                <a:gd name="T8" fmla="*/ 119 w 119"/>
                <a:gd name="T9" fmla="*/ 29 h 60"/>
                <a:gd name="T10" fmla="*/ 119 w 119"/>
                <a:gd name="T11" fmla="*/ 46 h 60"/>
                <a:gd name="T12" fmla="*/ 112 w 119"/>
                <a:gd name="T13" fmla="*/ 54 h 60"/>
                <a:gd name="T14" fmla="*/ 0 w 119"/>
                <a:gd name="T15" fmla="*/ 60 h 60"/>
                <a:gd name="T16" fmla="*/ 59 w 119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60">
                  <a:moveTo>
                    <a:pt x="59" y="0"/>
                  </a:moveTo>
                  <a:lnTo>
                    <a:pt x="59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19" y="29"/>
                  </a:lnTo>
                  <a:lnTo>
                    <a:pt x="119" y="46"/>
                  </a:lnTo>
                  <a:lnTo>
                    <a:pt x="112" y="54"/>
                  </a:lnTo>
                  <a:lnTo>
                    <a:pt x="0" y="6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CC365492-0639-DB67-CAF8-885118405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68588"/>
              <a:ext cx="63500" cy="31750"/>
            </a:xfrm>
            <a:custGeom>
              <a:avLst/>
              <a:gdLst>
                <a:gd name="T0" fmla="*/ 112 w 119"/>
                <a:gd name="T1" fmla="*/ 7 h 60"/>
                <a:gd name="T2" fmla="*/ 119 w 119"/>
                <a:gd name="T3" fmla="*/ 14 h 60"/>
                <a:gd name="T4" fmla="*/ 119 w 119"/>
                <a:gd name="T5" fmla="*/ 32 h 60"/>
                <a:gd name="T6" fmla="*/ 90 w 119"/>
                <a:gd name="T7" fmla="*/ 60 h 60"/>
                <a:gd name="T8" fmla="*/ 60 w 119"/>
                <a:gd name="T9" fmla="*/ 60 h 60"/>
                <a:gd name="T10" fmla="*/ 0 w 119"/>
                <a:gd name="T11" fmla="*/ 0 h 60"/>
                <a:gd name="T12" fmla="*/ 112 w 119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60">
                  <a:moveTo>
                    <a:pt x="112" y="7"/>
                  </a:moveTo>
                  <a:lnTo>
                    <a:pt x="119" y="14"/>
                  </a:lnTo>
                  <a:lnTo>
                    <a:pt x="119" y="32"/>
                  </a:lnTo>
                  <a:lnTo>
                    <a:pt x="90" y="60"/>
                  </a:lnTo>
                  <a:lnTo>
                    <a:pt x="60" y="60"/>
                  </a:lnTo>
                  <a:lnTo>
                    <a:pt x="0" y="0"/>
                  </a:lnTo>
                  <a:lnTo>
                    <a:pt x="112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8823327-977F-71A1-F6F8-7ED3653F2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584450"/>
              <a:ext cx="33338" cy="63500"/>
            </a:xfrm>
            <a:custGeom>
              <a:avLst/>
              <a:gdLst>
                <a:gd name="T0" fmla="*/ 61 w 61"/>
                <a:gd name="T1" fmla="*/ 60 h 120"/>
                <a:gd name="T2" fmla="*/ 59 w 61"/>
                <a:gd name="T3" fmla="*/ 60 h 120"/>
                <a:gd name="T4" fmla="*/ 59 w 61"/>
                <a:gd name="T5" fmla="*/ 92 h 120"/>
                <a:gd name="T6" fmla="*/ 61 w 61"/>
                <a:gd name="T7" fmla="*/ 92 h 120"/>
                <a:gd name="T8" fmla="*/ 32 w 61"/>
                <a:gd name="T9" fmla="*/ 120 h 120"/>
                <a:gd name="T10" fmla="*/ 15 w 61"/>
                <a:gd name="T11" fmla="*/ 120 h 120"/>
                <a:gd name="T12" fmla="*/ 6 w 61"/>
                <a:gd name="T13" fmla="*/ 112 h 120"/>
                <a:gd name="T14" fmla="*/ 0 w 61"/>
                <a:gd name="T15" fmla="*/ 0 h 120"/>
                <a:gd name="T16" fmla="*/ 61 w 61"/>
                <a:gd name="T17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0"/>
                  </a:moveTo>
                  <a:lnTo>
                    <a:pt x="59" y="60"/>
                  </a:lnTo>
                  <a:lnTo>
                    <a:pt x="59" y="92"/>
                  </a:lnTo>
                  <a:lnTo>
                    <a:pt x="61" y="92"/>
                  </a:lnTo>
                  <a:lnTo>
                    <a:pt x="32" y="120"/>
                  </a:lnTo>
                  <a:lnTo>
                    <a:pt x="15" y="120"/>
                  </a:lnTo>
                  <a:lnTo>
                    <a:pt x="6" y="112"/>
                  </a:lnTo>
                  <a:lnTo>
                    <a:pt x="0" y="0"/>
                  </a:lnTo>
                  <a:lnTo>
                    <a:pt x="61" y="6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A070502B-1D7D-A90A-4B66-F1368334B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584450"/>
              <a:ext cx="33338" cy="63500"/>
            </a:xfrm>
            <a:custGeom>
              <a:avLst/>
              <a:gdLst>
                <a:gd name="T0" fmla="*/ 53 w 61"/>
                <a:gd name="T1" fmla="*/ 112 h 120"/>
                <a:gd name="T2" fmla="*/ 46 w 61"/>
                <a:gd name="T3" fmla="*/ 120 h 120"/>
                <a:gd name="T4" fmla="*/ 29 w 61"/>
                <a:gd name="T5" fmla="*/ 120 h 120"/>
                <a:gd name="T6" fmla="*/ 0 w 61"/>
                <a:gd name="T7" fmla="*/ 92 h 120"/>
                <a:gd name="T8" fmla="*/ 0 w 61"/>
                <a:gd name="T9" fmla="*/ 60 h 120"/>
                <a:gd name="T10" fmla="*/ 61 w 61"/>
                <a:gd name="T11" fmla="*/ 0 h 120"/>
                <a:gd name="T12" fmla="*/ 53 w 61"/>
                <a:gd name="T13" fmla="*/ 11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112"/>
                  </a:moveTo>
                  <a:lnTo>
                    <a:pt x="46" y="120"/>
                  </a:lnTo>
                  <a:lnTo>
                    <a:pt x="29" y="120"/>
                  </a:lnTo>
                  <a:lnTo>
                    <a:pt x="0" y="92"/>
                  </a:lnTo>
                  <a:lnTo>
                    <a:pt x="0" y="60"/>
                  </a:lnTo>
                  <a:lnTo>
                    <a:pt x="61" y="0"/>
                  </a:lnTo>
                  <a:lnTo>
                    <a:pt x="53" y="112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F2E26F5F-4D8F-9704-B65C-31B3D29D7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689225"/>
              <a:ext cx="33338" cy="63500"/>
            </a:xfrm>
            <a:custGeom>
              <a:avLst/>
              <a:gdLst>
                <a:gd name="T0" fmla="*/ 61 w 61"/>
                <a:gd name="T1" fmla="*/ 61 h 120"/>
                <a:gd name="T2" fmla="*/ 59 w 61"/>
                <a:gd name="T3" fmla="*/ 61 h 120"/>
                <a:gd name="T4" fmla="*/ 59 w 61"/>
                <a:gd name="T5" fmla="*/ 28 h 120"/>
                <a:gd name="T6" fmla="*/ 61 w 61"/>
                <a:gd name="T7" fmla="*/ 28 h 120"/>
                <a:gd name="T8" fmla="*/ 32 w 61"/>
                <a:gd name="T9" fmla="*/ 0 h 120"/>
                <a:gd name="T10" fmla="*/ 15 w 61"/>
                <a:gd name="T11" fmla="*/ 0 h 120"/>
                <a:gd name="T12" fmla="*/ 6 w 61"/>
                <a:gd name="T13" fmla="*/ 8 h 120"/>
                <a:gd name="T14" fmla="*/ 0 w 61"/>
                <a:gd name="T15" fmla="*/ 120 h 120"/>
                <a:gd name="T16" fmla="*/ 61 w 61"/>
                <a:gd name="T17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1"/>
                  </a:moveTo>
                  <a:lnTo>
                    <a:pt x="59" y="61"/>
                  </a:lnTo>
                  <a:lnTo>
                    <a:pt x="59" y="28"/>
                  </a:lnTo>
                  <a:lnTo>
                    <a:pt x="61" y="28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6" y="8"/>
                  </a:lnTo>
                  <a:lnTo>
                    <a:pt x="0" y="120"/>
                  </a:lnTo>
                  <a:lnTo>
                    <a:pt x="61" y="61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EF42C38A-2B1C-7116-029F-45741B7F1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689225"/>
              <a:ext cx="33338" cy="63500"/>
            </a:xfrm>
            <a:custGeom>
              <a:avLst/>
              <a:gdLst>
                <a:gd name="T0" fmla="*/ 53 w 61"/>
                <a:gd name="T1" fmla="*/ 8 h 120"/>
                <a:gd name="T2" fmla="*/ 46 w 61"/>
                <a:gd name="T3" fmla="*/ 0 h 120"/>
                <a:gd name="T4" fmla="*/ 29 w 61"/>
                <a:gd name="T5" fmla="*/ 0 h 120"/>
                <a:gd name="T6" fmla="*/ 0 w 61"/>
                <a:gd name="T7" fmla="*/ 29 h 120"/>
                <a:gd name="T8" fmla="*/ 0 w 61"/>
                <a:gd name="T9" fmla="*/ 59 h 120"/>
                <a:gd name="T10" fmla="*/ 61 w 61"/>
                <a:gd name="T11" fmla="*/ 120 h 120"/>
                <a:gd name="T12" fmla="*/ 53 w 61"/>
                <a:gd name="T13" fmla="*/ 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8"/>
                  </a:moveTo>
                  <a:lnTo>
                    <a:pt x="46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59"/>
                  </a:lnTo>
                  <a:lnTo>
                    <a:pt x="61" y="120"/>
                  </a:lnTo>
                  <a:lnTo>
                    <a:pt x="53" y="8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2" name="Skupina 1061">
            <a:extLst>
              <a:ext uri="{FF2B5EF4-FFF2-40B4-BE49-F238E27FC236}">
                <a16:creationId xmlns:a16="http://schemas.microsoft.com/office/drawing/2014/main" id="{A42A0414-D3E2-E604-DBB5-CBD2EE97453E}"/>
              </a:ext>
            </a:extLst>
          </p:cNvPr>
          <p:cNvGrpSpPr/>
          <p:nvPr/>
        </p:nvGrpSpPr>
        <p:grpSpPr>
          <a:xfrm>
            <a:off x="10363200" y="785813"/>
            <a:ext cx="1371600" cy="536575"/>
            <a:chOff x="10363200" y="785813"/>
            <a:chExt cx="1371600" cy="536575"/>
          </a:xfrm>
        </p:grpSpPr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02EE8710-E01C-B596-38DD-969506914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0250" y="879475"/>
              <a:ext cx="844550" cy="401638"/>
            </a:xfrm>
            <a:custGeom>
              <a:avLst/>
              <a:gdLst>
                <a:gd name="T0" fmla="*/ 950 w 1597"/>
                <a:gd name="T1" fmla="*/ 308 h 758"/>
                <a:gd name="T2" fmla="*/ 827 w 1597"/>
                <a:gd name="T3" fmla="*/ 308 h 758"/>
                <a:gd name="T4" fmla="*/ 707 w 1597"/>
                <a:gd name="T5" fmla="*/ 297 h 758"/>
                <a:gd name="T6" fmla="*/ 660 w 1597"/>
                <a:gd name="T7" fmla="*/ 309 h 758"/>
                <a:gd name="T8" fmla="*/ 688 w 1597"/>
                <a:gd name="T9" fmla="*/ 510 h 758"/>
                <a:gd name="T10" fmla="*/ 713 w 1597"/>
                <a:gd name="T11" fmla="*/ 473 h 758"/>
                <a:gd name="T12" fmla="*/ 727 w 1597"/>
                <a:gd name="T13" fmla="*/ 506 h 758"/>
                <a:gd name="T14" fmla="*/ 765 w 1597"/>
                <a:gd name="T15" fmla="*/ 359 h 758"/>
                <a:gd name="T16" fmla="*/ 599 w 1597"/>
                <a:gd name="T17" fmla="*/ 308 h 758"/>
                <a:gd name="T18" fmla="*/ 418 w 1597"/>
                <a:gd name="T19" fmla="*/ 507 h 758"/>
                <a:gd name="T20" fmla="*/ 350 w 1597"/>
                <a:gd name="T21" fmla="*/ 473 h 758"/>
                <a:gd name="T22" fmla="*/ 170 w 1597"/>
                <a:gd name="T23" fmla="*/ 308 h 758"/>
                <a:gd name="T24" fmla="*/ 97 w 1597"/>
                <a:gd name="T25" fmla="*/ 471 h 758"/>
                <a:gd name="T26" fmla="*/ 20 w 1597"/>
                <a:gd name="T27" fmla="*/ 389 h 758"/>
                <a:gd name="T28" fmla="*/ 61 w 1597"/>
                <a:gd name="T29" fmla="*/ 339 h 758"/>
                <a:gd name="T30" fmla="*/ 117 w 1597"/>
                <a:gd name="T31" fmla="*/ 411 h 758"/>
                <a:gd name="T32" fmla="*/ 45 w 1597"/>
                <a:gd name="T33" fmla="*/ 454 h 758"/>
                <a:gd name="T34" fmla="*/ 10 w 1597"/>
                <a:gd name="T35" fmla="*/ 484 h 758"/>
                <a:gd name="T36" fmla="*/ 85 w 1597"/>
                <a:gd name="T37" fmla="*/ 339 h 758"/>
                <a:gd name="T38" fmla="*/ 386 w 1597"/>
                <a:gd name="T39" fmla="*/ 244 h 758"/>
                <a:gd name="T40" fmla="*/ 295 w 1597"/>
                <a:gd name="T41" fmla="*/ 61 h 758"/>
                <a:gd name="T42" fmla="*/ 207 w 1597"/>
                <a:gd name="T43" fmla="*/ 114 h 758"/>
                <a:gd name="T44" fmla="*/ 189 w 1597"/>
                <a:gd name="T45" fmla="*/ 193 h 758"/>
                <a:gd name="T46" fmla="*/ 46 w 1597"/>
                <a:gd name="T47" fmla="*/ 101 h 758"/>
                <a:gd name="T48" fmla="*/ 1387 w 1597"/>
                <a:gd name="T49" fmla="*/ 708 h 758"/>
                <a:gd name="T50" fmla="*/ 1339 w 1597"/>
                <a:gd name="T51" fmla="*/ 718 h 758"/>
                <a:gd name="T52" fmla="*/ 1251 w 1597"/>
                <a:gd name="T53" fmla="*/ 628 h 758"/>
                <a:gd name="T54" fmla="*/ 1295 w 1597"/>
                <a:gd name="T55" fmla="*/ 590 h 758"/>
                <a:gd name="T56" fmla="*/ 1359 w 1597"/>
                <a:gd name="T57" fmla="*/ 661 h 758"/>
                <a:gd name="T58" fmla="*/ 1286 w 1597"/>
                <a:gd name="T59" fmla="*/ 708 h 758"/>
                <a:gd name="T60" fmla="*/ 1244 w 1597"/>
                <a:gd name="T61" fmla="*/ 723 h 758"/>
                <a:gd name="T62" fmla="*/ 1319 w 1597"/>
                <a:gd name="T63" fmla="*/ 586 h 758"/>
                <a:gd name="T64" fmla="*/ 1218 w 1597"/>
                <a:gd name="T65" fmla="*/ 593 h 758"/>
                <a:gd name="T66" fmla="*/ 1174 w 1597"/>
                <a:gd name="T67" fmla="*/ 707 h 758"/>
                <a:gd name="T68" fmla="*/ 1220 w 1597"/>
                <a:gd name="T69" fmla="*/ 701 h 758"/>
                <a:gd name="T70" fmla="*/ 1138 w 1597"/>
                <a:gd name="T71" fmla="*/ 586 h 758"/>
                <a:gd name="T72" fmla="*/ 1097 w 1597"/>
                <a:gd name="T73" fmla="*/ 743 h 758"/>
                <a:gd name="T74" fmla="*/ 903 w 1597"/>
                <a:gd name="T75" fmla="*/ 556 h 758"/>
                <a:gd name="T76" fmla="*/ 860 w 1597"/>
                <a:gd name="T77" fmla="*/ 516 h 758"/>
                <a:gd name="T78" fmla="*/ 765 w 1597"/>
                <a:gd name="T79" fmla="*/ 560 h 758"/>
                <a:gd name="T80" fmla="*/ 804 w 1597"/>
                <a:gd name="T81" fmla="*/ 727 h 758"/>
                <a:gd name="T82" fmla="*/ 822 w 1597"/>
                <a:gd name="T83" fmla="*/ 725 h 758"/>
                <a:gd name="T84" fmla="*/ 854 w 1597"/>
                <a:gd name="T85" fmla="*/ 750 h 758"/>
                <a:gd name="T86" fmla="*/ 880 w 1597"/>
                <a:gd name="T87" fmla="*/ 595 h 758"/>
                <a:gd name="T88" fmla="*/ 814 w 1597"/>
                <a:gd name="T89" fmla="*/ 552 h 758"/>
                <a:gd name="T90" fmla="*/ 661 w 1597"/>
                <a:gd name="T91" fmla="*/ 556 h 758"/>
                <a:gd name="T92" fmla="*/ 523 w 1597"/>
                <a:gd name="T93" fmla="*/ 636 h 758"/>
                <a:gd name="T94" fmla="*/ 536 w 1597"/>
                <a:gd name="T95" fmla="*/ 593 h 758"/>
                <a:gd name="T96" fmla="*/ 590 w 1597"/>
                <a:gd name="T97" fmla="*/ 596 h 758"/>
                <a:gd name="T98" fmla="*/ 454 w 1597"/>
                <a:gd name="T99" fmla="*/ 556 h 758"/>
                <a:gd name="T100" fmla="*/ 301 w 1597"/>
                <a:gd name="T101" fmla="*/ 720 h 758"/>
                <a:gd name="T102" fmla="*/ 216 w 1597"/>
                <a:gd name="T103" fmla="*/ 556 h 758"/>
                <a:gd name="T104" fmla="*/ 282 w 1597"/>
                <a:gd name="T105" fmla="*/ 589 h 758"/>
                <a:gd name="T106" fmla="*/ 89 w 1597"/>
                <a:gd name="T107" fmla="*/ 633 h 758"/>
                <a:gd name="T108" fmla="*/ 76 w 1597"/>
                <a:gd name="T109" fmla="*/ 589 h 758"/>
                <a:gd name="T110" fmla="*/ 143 w 1597"/>
                <a:gd name="T111" fmla="*/ 626 h 758"/>
                <a:gd name="T112" fmla="*/ 147 w 1597"/>
                <a:gd name="T113" fmla="*/ 691 h 758"/>
                <a:gd name="T114" fmla="*/ 82 w 1597"/>
                <a:gd name="T115" fmla="*/ 721 h 758"/>
                <a:gd name="T116" fmla="*/ 86 w 1597"/>
                <a:gd name="T117" fmla="*/ 67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7" h="758">
                  <a:moveTo>
                    <a:pt x="982" y="297"/>
                  </a:moveTo>
                  <a:lnTo>
                    <a:pt x="953" y="297"/>
                  </a:lnTo>
                  <a:lnTo>
                    <a:pt x="976" y="267"/>
                  </a:lnTo>
                  <a:lnTo>
                    <a:pt x="1028" y="267"/>
                  </a:lnTo>
                  <a:lnTo>
                    <a:pt x="982" y="297"/>
                  </a:lnTo>
                  <a:close/>
                  <a:moveTo>
                    <a:pt x="1597" y="754"/>
                  </a:moveTo>
                  <a:lnTo>
                    <a:pt x="1597" y="556"/>
                  </a:lnTo>
                  <a:lnTo>
                    <a:pt x="1551" y="556"/>
                  </a:lnTo>
                  <a:lnTo>
                    <a:pt x="1551" y="556"/>
                  </a:lnTo>
                  <a:lnTo>
                    <a:pt x="1551" y="754"/>
                  </a:lnTo>
                  <a:lnTo>
                    <a:pt x="1597" y="754"/>
                  </a:lnTo>
                  <a:close/>
                  <a:moveTo>
                    <a:pt x="950" y="308"/>
                  </a:moveTo>
                  <a:lnTo>
                    <a:pt x="950" y="308"/>
                  </a:lnTo>
                  <a:lnTo>
                    <a:pt x="998" y="308"/>
                  </a:lnTo>
                  <a:lnTo>
                    <a:pt x="998" y="507"/>
                  </a:lnTo>
                  <a:lnTo>
                    <a:pt x="950" y="507"/>
                  </a:lnTo>
                  <a:lnTo>
                    <a:pt x="950" y="308"/>
                  </a:lnTo>
                  <a:close/>
                  <a:moveTo>
                    <a:pt x="889" y="308"/>
                  </a:moveTo>
                  <a:lnTo>
                    <a:pt x="889" y="308"/>
                  </a:lnTo>
                  <a:lnTo>
                    <a:pt x="932" y="308"/>
                  </a:lnTo>
                  <a:lnTo>
                    <a:pt x="932" y="507"/>
                  </a:lnTo>
                  <a:lnTo>
                    <a:pt x="889" y="507"/>
                  </a:lnTo>
                  <a:lnTo>
                    <a:pt x="889" y="308"/>
                  </a:lnTo>
                  <a:close/>
                  <a:moveTo>
                    <a:pt x="785" y="308"/>
                  </a:moveTo>
                  <a:lnTo>
                    <a:pt x="785" y="308"/>
                  </a:lnTo>
                  <a:lnTo>
                    <a:pt x="827" y="308"/>
                  </a:lnTo>
                  <a:lnTo>
                    <a:pt x="827" y="507"/>
                  </a:lnTo>
                  <a:lnTo>
                    <a:pt x="785" y="507"/>
                  </a:lnTo>
                  <a:lnTo>
                    <a:pt x="785" y="308"/>
                  </a:lnTo>
                  <a:close/>
                  <a:moveTo>
                    <a:pt x="883" y="425"/>
                  </a:moveTo>
                  <a:lnTo>
                    <a:pt x="883" y="425"/>
                  </a:lnTo>
                  <a:lnTo>
                    <a:pt x="883" y="493"/>
                  </a:lnTo>
                  <a:lnTo>
                    <a:pt x="832" y="392"/>
                  </a:lnTo>
                  <a:lnTo>
                    <a:pt x="832" y="323"/>
                  </a:lnTo>
                  <a:lnTo>
                    <a:pt x="883" y="425"/>
                  </a:lnTo>
                  <a:close/>
                  <a:moveTo>
                    <a:pt x="707" y="267"/>
                  </a:moveTo>
                  <a:lnTo>
                    <a:pt x="707" y="267"/>
                  </a:lnTo>
                  <a:lnTo>
                    <a:pt x="745" y="267"/>
                  </a:lnTo>
                  <a:lnTo>
                    <a:pt x="707" y="297"/>
                  </a:lnTo>
                  <a:lnTo>
                    <a:pt x="678" y="297"/>
                  </a:lnTo>
                  <a:lnTo>
                    <a:pt x="641" y="267"/>
                  </a:lnTo>
                  <a:lnTo>
                    <a:pt x="680" y="267"/>
                  </a:lnTo>
                  <a:lnTo>
                    <a:pt x="693" y="280"/>
                  </a:lnTo>
                  <a:lnTo>
                    <a:pt x="707" y="267"/>
                  </a:lnTo>
                  <a:close/>
                  <a:moveTo>
                    <a:pt x="624" y="358"/>
                  </a:moveTo>
                  <a:lnTo>
                    <a:pt x="624" y="358"/>
                  </a:lnTo>
                  <a:lnTo>
                    <a:pt x="625" y="346"/>
                  </a:lnTo>
                  <a:lnTo>
                    <a:pt x="628" y="335"/>
                  </a:lnTo>
                  <a:lnTo>
                    <a:pt x="632" y="326"/>
                  </a:lnTo>
                  <a:lnTo>
                    <a:pt x="639" y="319"/>
                  </a:lnTo>
                  <a:lnTo>
                    <a:pt x="649" y="313"/>
                  </a:lnTo>
                  <a:lnTo>
                    <a:pt x="660" y="309"/>
                  </a:lnTo>
                  <a:lnTo>
                    <a:pt x="673" y="305"/>
                  </a:lnTo>
                  <a:lnTo>
                    <a:pt x="688" y="303"/>
                  </a:lnTo>
                  <a:lnTo>
                    <a:pt x="688" y="336"/>
                  </a:lnTo>
                  <a:lnTo>
                    <a:pt x="681" y="339"/>
                  </a:lnTo>
                  <a:lnTo>
                    <a:pt x="675" y="342"/>
                  </a:lnTo>
                  <a:lnTo>
                    <a:pt x="671" y="348"/>
                  </a:lnTo>
                  <a:lnTo>
                    <a:pt x="670" y="356"/>
                  </a:lnTo>
                  <a:lnTo>
                    <a:pt x="670" y="460"/>
                  </a:lnTo>
                  <a:lnTo>
                    <a:pt x="671" y="467"/>
                  </a:lnTo>
                  <a:lnTo>
                    <a:pt x="675" y="473"/>
                  </a:lnTo>
                  <a:lnTo>
                    <a:pt x="681" y="477"/>
                  </a:lnTo>
                  <a:lnTo>
                    <a:pt x="688" y="478"/>
                  </a:lnTo>
                  <a:lnTo>
                    <a:pt x="688" y="510"/>
                  </a:lnTo>
                  <a:lnTo>
                    <a:pt x="673" y="509"/>
                  </a:lnTo>
                  <a:lnTo>
                    <a:pt x="660" y="506"/>
                  </a:lnTo>
                  <a:lnTo>
                    <a:pt x="648" y="501"/>
                  </a:lnTo>
                  <a:lnTo>
                    <a:pt x="639" y="494"/>
                  </a:lnTo>
                  <a:lnTo>
                    <a:pt x="632" y="487"/>
                  </a:lnTo>
                  <a:lnTo>
                    <a:pt x="628" y="477"/>
                  </a:lnTo>
                  <a:lnTo>
                    <a:pt x="625" y="465"/>
                  </a:lnTo>
                  <a:lnTo>
                    <a:pt x="624" y="453"/>
                  </a:lnTo>
                  <a:lnTo>
                    <a:pt x="624" y="358"/>
                  </a:lnTo>
                  <a:close/>
                  <a:moveTo>
                    <a:pt x="697" y="478"/>
                  </a:moveTo>
                  <a:lnTo>
                    <a:pt x="697" y="478"/>
                  </a:lnTo>
                  <a:lnTo>
                    <a:pt x="707" y="477"/>
                  </a:lnTo>
                  <a:lnTo>
                    <a:pt x="713" y="473"/>
                  </a:lnTo>
                  <a:lnTo>
                    <a:pt x="714" y="470"/>
                  </a:lnTo>
                  <a:lnTo>
                    <a:pt x="717" y="467"/>
                  </a:lnTo>
                  <a:lnTo>
                    <a:pt x="717" y="464"/>
                  </a:lnTo>
                  <a:lnTo>
                    <a:pt x="717" y="460"/>
                  </a:lnTo>
                  <a:lnTo>
                    <a:pt x="717" y="432"/>
                  </a:lnTo>
                  <a:lnTo>
                    <a:pt x="765" y="432"/>
                  </a:lnTo>
                  <a:lnTo>
                    <a:pt x="765" y="453"/>
                  </a:lnTo>
                  <a:lnTo>
                    <a:pt x="765" y="465"/>
                  </a:lnTo>
                  <a:lnTo>
                    <a:pt x="760" y="477"/>
                  </a:lnTo>
                  <a:lnTo>
                    <a:pt x="756" y="487"/>
                  </a:lnTo>
                  <a:lnTo>
                    <a:pt x="749" y="496"/>
                  </a:lnTo>
                  <a:lnTo>
                    <a:pt x="739" y="501"/>
                  </a:lnTo>
                  <a:lnTo>
                    <a:pt x="727" y="506"/>
                  </a:lnTo>
                  <a:lnTo>
                    <a:pt x="713" y="509"/>
                  </a:lnTo>
                  <a:lnTo>
                    <a:pt x="697" y="510"/>
                  </a:lnTo>
                  <a:lnTo>
                    <a:pt x="697" y="478"/>
                  </a:lnTo>
                  <a:close/>
                  <a:moveTo>
                    <a:pt x="697" y="303"/>
                  </a:moveTo>
                  <a:lnTo>
                    <a:pt x="697" y="303"/>
                  </a:lnTo>
                  <a:lnTo>
                    <a:pt x="714" y="305"/>
                  </a:lnTo>
                  <a:lnTo>
                    <a:pt x="727" y="308"/>
                  </a:lnTo>
                  <a:lnTo>
                    <a:pt x="739" y="312"/>
                  </a:lnTo>
                  <a:lnTo>
                    <a:pt x="749" y="318"/>
                  </a:lnTo>
                  <a:lnTo>
                    <a:pt x="756" y="325"/>
                  </a:lnTo>
                  <a:lnTo>
                    <a:pt x="760" y="335"/>
                  </a:lnTo>
                  <a:lnTo>
                    <a:pt x="765" y="346"/>
                  </a:lnTo>
                  <a:lnTo>
                    <a:pt x="765" y="359"/>
                  </a:lnTo>
                  <a:lnTo>
                    <a:pt x="765" y="378"/>
                  </a:lnTo>
                  <a:lnTo>
                    <a:pt x="717" y="378"/>
                  </a:lnTo>
                  <a:lnTo>
                    <a:pt x="717" y="356"/>
                  </a:lnTo>
                  <a:lnTo>
                    <a:pt x="717" y="352"/>
                  </a:lnTo>
                  <a:lnTo>
                    <a:pt x="717" y="348"/>
                  </a:lnTo>
                  <a:lnTo>
                    <a:pt x="714" y="345"/>
                  </a:lnTo>
                  <a:lnTo>
                    <a:pt x="713" y="342"/>
                  </a:lnTo>
                  <a:lnTo>
                    <a:pt x="707" y="338"/>
                  </a:lnTo>
                  <a:lnTo>
                    <a:pt x="697" y="336"/>
                  </a:lnTo>
                  <a:lnTo>
                    <a:pt x="697" y="303"/>
                  </a:lnTo>
                  <a:close/>
                  <a:moveTo>
                    <a:pt x="552" y="308"/>
                  </a:moveTo>
                  <a:lnTo>
                    <a:pt x="552" y="308"/>
                  </a:lnTo>
                  <a:lnTo>
                    <a:pt x="599" y="308"/>
                  </a:lnTo>
                  <a:lnTo>
                    <a:pt x="599" y="507"/>
                  </a:lnTo>
                  <a:lnTo>
                    <a:pt x="552" y="507"/>
                  </a:lnTo>
                  <a:lnTo>
                    <a:pt x="552" y="308"/>
                  </a:lnTo>
                  <a:close/>
                  <a:moveTo>
                    <a:pt x="480" y="308"/>
                  </a:moveTo>
                  <a:lnTo>
                    <a:pt x="480" y="308"/>
                  </a:lnTo>
                  <a:lnTo>
                    <a:pt x="523" y="308"/>
                  </a:lnTo>
                  <a:lnTo>
                    <a:pt x="523" y="507"/>
                  </a:lnTo>
                  <a:lnTo>
                    <a:pt x="480" y="507"/>
                  </a:lnTo>
                  <a:lnTo>
                    <a:pt x="480" y="308"/>
                  </a:lnTo>
                  <a:close/>
                  <a:moveTo>
                    <a:pt x="376" y="308"/>
                  </a:moveTo>
                  <a:lnTo>
                    <a:pt x="376" y="308"/>
                  </a:lnTo>
                  <a:lnTo>
                    <a:pt x="418" y="308"/>
                  </a:lnTo>
                  <a:lnTo>
                    <a:pt x="418" y="507"/>
                  </a:lnTo>
                  <a:lnTo>
                    <a:pt x="376" y="507"/>
                  </a:lnTo>
                  <a:lnTo>
                    <a:pt x="376" y="308"/>
                  </a:lnTo>
                  <a:close/>
                  <a:moveTo>
                    <a:pt x="474" y="425"/>
                  </a:moveTo>
                  <a:lnTo>
                    <a:pt x="474" y="425"/>
                  </a:lnTo>
                  <a:lnTo>
                    <a:pt x="474" y="493"/>
                  </a:lnTo>
                  <a:lnTo>
                    <a:pt x="423" y="392"/>
                  </a:lnTo>
                  <a:lnTo>
                    <a:pt x="423" y="323"/>
                  </a:lnTo>
                  <a:lnTo>
                    <a:pt x="474" y="425"/>
                  </a:lnTo>
                  <a:close/>
                  <a:moveTo>
                    <a:pt x="350" y="507"/>
                  </a:moveTo>
                  <a:lnTo>
                    <a:pt x="350" y="507"/>
                  </a:lnTo>
                  <a:lnTo>
                    <a:pt x="297" y="507"/>
                  </a:lnTo>
                  <a:lnTo>
                    <a:pt x="297" y="473"/>
                  </a:lnTo>
                  <a:lnTo>
                    <a:pt x="350" y="473"/>
                  </a:lnTo>
                  <a:lnTo>
                    <a:pt x="350" y="507"/>
                  </a:lnTo>
                  <a:close/>
                  <a:moveTo>
                    <a:pt x="242" y="308"/>
                  </a:moveTo>
                  <a:lnTo>
                    <a:pt x="242" y="308"/>
                  </a:lnTo>
                  <a:lnTo>
                    <a:pt x="288" y="308"/>
                  </a:lnTo>
                  <a:lnTo>
                    <a:pt x="288" y="507"/>
                  </a:lnTo>
                  <a:lnTo>
                    <a:pt x="242" y="507"/>
                  </a:lnTo>
                  <a:lnTo>
                    <a:pt x="242" y="308"/>
                  </a:lnTo>
                  <a:close/>
                  <a:moveTo>
                    <a:pt x="170" y="308"/>
                  </a:moveTo>
                  <a:lnTo>
                    <a:pt x="170" y="308"/>
                  </a:lnTo>
                  <a:lnTo>
                    <a:pt x="217" y="308"/>
                  </a:lnTo>
                  <a:lnTo>
                    <a:pt x="217" y="507"/>
                  </a:lnTo>
                  <a:lnTo>
                    <a:pt x="170" y="507"/>
                  </a:lnTo>
                  <a:lnTo>
                    <a:pt x="170" y="308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7" y="471"/>
                  </a:lnTo>
                  <a:lnTo>
                    <a:pt x="144" y="481"/>
                  </a:lnTo>
                  <a:lnTo>
                    <a:pt x="138" y="490"/>
                  </a:lnTo>
                  <a:lnTo>
                    <a:pt x="131" y="497"/>
                  </a:lnTo>
                  <a:lnTo>
                    <a:pt x="121" y="503"/>
                  </a:lnTo>
                  <a:lnTo>
                    <a:pt x="109" y="507"/>
                  </a:lnTo>
                  <a:lnTo>
                    <a:pt x="97" y="510"/>
                  </a:lnTo>
                  <a:lnTo>
                    <a:pt x="81" y="510"/>
                  </a:lnTo>
                  <a:lnTo>
                    <a:pt x="81" y="477"/>
                  </a:lnTo>
                  <a:lnTo>
                    <a:pt x="91" y="476"/>
                  </a:lnTo>
                  <a:lnTo>
                    <a:pt x="97" y="471"/>
                  </a:lnTo>
                  <a:lnTo>
                    <a:pt x="99" y="470"/>
                  </a:lnTo>
                  <a:lnTo>
                    <a:pt x="101" y="467"/>
                  </a:lnTo>
                  <a:lnTo>
                    <a:pt x="102" y="464"/>
                  </a:lnTo>
                  <a:lnTo>
                    <a:pt x="102" y="461"/>
                  </a:lnTo>
                  <a:lnTo>
                    <a:pt x="101" y="455"/>
                  </a:lnTo>
                  <a:lnTo>
                    <a:pt x="99" y="451"/>
                  </a:lnTo>
                  <a:lnTo>
                    <a:pt x="95" y="447"/>
                  </a:lnTo>
                  <a:lnTo>
                    <a:pt x="91" y="443"/>
                  </a:lnTo>
                  <a:lnTo>
                    <a:pt x="75" y="430"/>
                  </a:lnTo>
                  <a:lnTo>
                    <a:pt x="59" y="418"/>
                  </a:lnTo>
                  <a:lnTo>
                    <a:pt x="43" y="408"/>
                  </a:lnTo>
                  <a:lnTo>
                    <a:pt x="29" y="398"/>
                  </a:lnTo>
                  <a:lnTo>
                    <a:pt x="20" y="389"/>
                  </a:lnTo>
                  <a:lnTo>
                    <a:pt x="13" y="379"/>
                  </a:lnTo>
                  <a:lnTo>
                    <a:pt x="7" y="368"/>
                  </a:lnTo>
                  <a:lnTo>
                    <a:pt x="4" y="356"/>
                  </a:lnTo>
                  <a:lnTo>
                    <a:pt x="6" y="345"/>
                  </a:lnTo>
                  <a:lnTo>
                    <a:pt x="9" y="333"/>
                  </a:lnTo>
                  <a:lnTo>
                    <a:pt x="13" y="326"/>
                  </a:lnTo>
                  <a:lnTo>
                    <a:pt x="20" y="319"/>
                  </a:lnTo>
                  <a:lnTo>
                    <a:pt x="30" y="313"/>
                  </a:lnTo>
                  <a:lnTo>
                    <a:pt x="40" y="309"/>
                  </a:lnTo>
                  <a:lnTo>
                    <a:pt x="53" y="306"/>
                  </a:lnTo>
                  <a:lnTo>
                    <a:pt x="69" y="305"/>
                  </a:lnTo>
                  <a:lnTo>
                    <a:pt x="69" y="338"/>
                  </a:lnTo>
                  <a:lnTo>
                    <a:pt x="61" y="339"/>
                  </a:lnTo>
                  <a:lnTo>
                    <a:pt x="55" y="342"/>
                  </a:lnTo>
                  <a:lnTo>
                    <a:pt x="52" y="348"/>
                  </a:lnTo>
                  <a:lnTo>
                    <a:pt x="50" y="353"/>
                  </a:lnTo>
                  <a:lnTo>
                    <a:pt x="50" y="358"/>
                  </a:lnTo>
                  <a:lnTo>
                    <a:pt x="50" y="364"/>
                  </a:lnTo>
                  <a:lnTo>
                    <a:pt x="53" y="366"/>
                  </a:lnTo>
                  <a:lnTo>
                    <a:pt x="56" y="369"/>
                  </a:lnTo>
                  <a:lnTo>
                    <a:pt x="73" y="381"/>
                  </a:lnTo>
                  <a:lnTo>
                    <a:pt x="86" y="391"/>
                  </a:lnTo>
                  <a:lnTo>
                    <a:pt x="98" y="398"/>
                  </a:lnTo>
                  <a:lnTo>
                    <a:pt x="107" y="404"/>
                  </a:lnTo>
                  <a:lnTo>
                    <a:pt x="112" y="408"/>
                  </a:lnTo>
                  <a:lnTo>
                    <a:pt x="117" y="411"/>
                  </a:lnTo>
                  <a:lnTo>
                    <a:pt x="120" y="414"/>
                  </a:lnTo>
                  <a:lnTo>
                    <a:pt x="121" y="414"/>
                  </a:lnTo>
                  <a:lnTo>
                    <a:pt x="128" y="420"/>
                  </a:lnTo>
                  <a:lnTo>
                    <a:pt x="133" y="424"/>
                  </a:lnTo>
                  <a:lnTo>
                    <a:pt x="137" y="430"/>
                  </a:lnTo>
                  <a:lnTo>
                    <a:pt x="141" y="435"/>
                  </a:lnTo>
                  <a:lnTo>
                    <a:pt x="144" y="441"/>
                  </a:lnTo>
                  <a:lnTo>
                    <a:pt x="145" y="447"/>
                  </a:lnTo>
                  <a:lnTo>
                    <a:pt x="147" y="454"/>
                  </a:lnTo>
                  <a:lnTo>
                    <a:pt x="148" y="460"/>
                  </a:lnTo>
                  <a:close/>
                  <a:moveTo>
                    <a:pt x="45" y="448"/>
                  </a:moveTo>
                  <a:lnTo>
                    <a:pt x="45" y="448"/>
                  </a:lnTo>
                  <a:lnTo>
                    <a:pt x="45" y="454"/>
                  </a:lnTo>
                  <a:lnTo>
                    <a:pt x="46" y="460"/>
                  </a:lnTo>
                  <a:lnTo>
                    <a:pt x="48" y="464"/>
                  </a:lnTo>
                  <a:lnTo>
                    <a:pt x="50" y="468"/>
                  </a:lnTo>
                  <a:lnTo>
                    <a:pt x="55" y="471"/>
                  </a:lnTo>
                  <a:lnTo>
                    <a:pt x="59" y="474"/>
                  </a:lnTo>
                  <a:lnTo>
                    <a:pt x="63" y="476"/>
                  </a:lnTo>
                  <a:lnTo>
                    <a:pt x="69" y="477"/>
                  </a:lnTo>
                  <a:lnTo>
                    <a:pt x="69" y="510"/>
                  </a:lnTo>
                  <a:lnTo>
                    <a:pt x="53" y="509"/>
                  </a:lnTo>
                  <a:lnTo>
                    <a:pt x="39" y="506"/>
                  </a:lnTo>
                  <a:lnTo>
                    <a:pt x="27" y="500"/>
                  </a:lnTo>
                  <a:lnTo>
                    <a:pt x="17" y="494"/>
                  </a:lnTo>
                  <a:lnTo>
                    <a:pt x="10" y="484"/>
                  </a:lnTo>
                  <a:lnTo>
                    <a:pt x="4" y="474"/>
                  </a:lnTo>
                  <a:lnTo>
                    <a:pt x="1" y="463"/>
                  </a:lnTo>
                  <a:lnTo>
                    <a:pt x="0" y="448"/>
                  </a:lnTo>
                  <a:lnTo>
                    <a:pt x="45" y="448"/>
                  </a:lnTo>
                  <a:close/>
                  <a:moveTo>
                    <a:pt x="99" y="362"/>
                  </a:moveTo>
                  <a:lnTo>
                    <a:pt x="99" y="362"/>
                  </a:lnTo>
                  <a:lnTo>
                    <a:pt x="99" y="356"/>
                  </a:lnTo>
                  <a:lnTo>
                    <a:pt x="99" y="352"/>
                  </a:lnTo>
                  <a:lnTo>
                    <a:pt x="97" y="349"/>
                  </a:lnTo>
                  <a:lnTo>
                    <a:pt x="95" y="345"/>
                  </a:lnTo>
                  <a:lnTo>
                    <a:pt x="92" y="343"/>
                  </a:lnTo>
                  <a:lnTo>
                    <a:pt x="89" y="341"/>
                  </a:lnTo>
                  <a:lnTo>
                    <a:pt x="85" y="339"/>
                  </a:lnTo>
                  <a:lnTo>
                    <a:pt x="81" y="338"/>
                  </a:lnTo>
                  <a:lnTo>
                    <a:pt x="81" y="305"/>
                  </a:lnTo>
                  <a:lnTo>
                    <a:pt x="97" y="306"/>
                  </a:lnTo>
                  <a:lnTo>
                    <a:pt x="109" y="309"/>
                  </a:lnTo>
                  <a:lnTo>
                    <a:pt x="121" y="313"/>
                  </a:lnTo>
                  <a:lnTo>
                    <a:pt x="130" y="320"/>
                  </a:lnTo>
                  <a:lnTo>
                    <a:pt x="137" y="328"/>
                  </a:lnTo>
                  <a:lnTo>
                    <a:pt x="143" y="338"/>
                  </a:lnTo>
                  <a:lnTo>
                    <a:pt x="145" y="349"/>
                  </a:lnTo>
                  <a:lnTo>
                    <a:pt x="147" y="362"/>
                  </a:lnTo>
                  <a:lnTo>
                    <a:pt x="99" y="362"/>
                  </a:lnTo>
                  <a:close/>
                  <a:moveTo>
                    <a:pt x="386" y="244"/>
                  </a:moveTo>
                  <a:lnTo>
                    <a:pt x="386" y="244"/>
                  </a:lnTo>
                  <a:lnTo>
                    <a:pt x="344" y="145"/>
                  </a:lnTo>
                  <a:lnTo>
                    <a:pt x="344" y="76"/>
                  </a:lnTo>
                  <a:lnTo>
                    <a:pt x="386" y="177"/>
                  </a:lnTo>
                  <a:lnTo>
                    <a:pt x="428" y="76"/>
                  </a:lnTo>
                  <a:lnTo>
                    <a:pt x="428" y="145"/>
                  </a:lnTo>
                  <a:lnTo>
                    <a:pt x="386" y="244"/>
                  </a:lnTo>
                  <a:close/>
                  <a:moveTo>
                    <a:pt x="433" y="61"/>
                  </a:moveTo>
                  <a:lnTo>
                    <a:pt x="433" y="61"/>
                  </a:lnTo>
                  <a:lnTo>
                    <a:pt x="477" y="61"/>
                  </a:lnTo>
                  <a:lnTo>
                    <a:pt x="477" y="259"/>
                  </a:lnTo>
                  <a:lnTo>
                    <a:pt x="433" y="259"/>
                  </a:lnTo>
                  <a:lnTo>
                    <a:pt x="433" y="61"/>
                  </a:lnTo>
                  <a:close/>
                  <a:moveTo>
                    <a:pt x="295" y="61"/>
                  </a:moveTo>
                  <a:lnTo>
                    <a:pt x="295" y="61"/>
                  </a:lnTo>
                  <a:lnTo>
                    <a:pt x="338" y="61"/>
                  </a:lnTo>
                  <a:lnTo>
                    <a:pt x="338" y="259"/>
                  </a:lnTo>
                  <a:lnTo>
                    <a:pt x="295" y="259"/>
                  </a:lnTo>
                  <a:lnTo>
                    <a:pt x="295" y="61"/>
                  </a:lnTo>
                  <a:close/>
                  <a:moveTo>
                    <a:pt x="199" y="38"/>
                  </a:moveTo>
                  <a:lnTo>
                    <a:pt x="199" y="38"/>
                  </a:lnTo>
                  <a:lnTo>
                    <a:pt x="228" y="38"/>
                  </a:lnTo>
                  <a:lnTo>
                    <a:pt x="274" y="0"/>
                  </a:lnTo>
                  <a:lnTo>
                    <a:pt x="225" y="0"/>
                  </a:lnTo>
                  <a:lnTo>
                    <a:pt x="199" y="38"/>
                  </a:lnTo>
                  <a:close/>
                  <a:moveTo>
                    <a:pt x="207" y="114"/>
                  </a:moveTo>
                  <a:lnTo>
                    <a:pt x="207" y="114"/>
                  </a:lnTo>
                  <a:lnTo>
                    <a:pt x="189" y="61"/>
                  </a:lnTo>
                  <a:lnTo>
                    <a:pt x="141" y="61"/>
                  </a:lnTo>
                  <a:lnTo>
                    <a:pt x="187" y="171"/>
                  </a:lnTo>
                  <a:lnTo>
                    <a:pt x="207" y="114"/>
                  </a:lnTo>
                  <a:close/>
                  <a:moveTo>
                    <a:pt x="189" y="259"/>
                  </a:moveTo>
                  <a:lnTo>
                    <a:pt x="189" y="259"/>
                  </a:lnTo>
                  <a:lnTo>
                    <a:pt x="235" y="259"/>
                  </a:lnTo>
                  <a:lnTo>
                    <a:pt x="235" y="175"/>
                  </a:lnTo>
                  <a:lnTo>
                    <a:pt x="284" y="61"/>
                  </a:lnTo>
                  <a:lnTo>
                    <a:pt x="236" y="61"/>
                  </a:lnTo>
                  <a:lnTo>
                    <a:pt x="213" y="125"/>
                  </a:lnTo>
                  <a:lnTo>
                    <a:pt x="213" y="125"/>
                  </a:lnTo>
                  <a:lnTo>
                    <a:pt x="189" y="193"/>
                  </a:lnTo>
                  <a:lnTo>
                    <a:pt x="189" y="259"/>
                  </a:lnTo>
                  <a:close/>
                  <a:moveTo>
                    <a:pt x="7" y="61"/>
                  </a:moveTo>
                  <a:lnTo>
                    <a:pt x="7" y="61"/>
                  </a:lnTo>
                  <a:lnTo>
                    <a:pt x="133" y="61"/>
                  </a:lnTo>
                  <a:lnTo>
                    <a:pt x="133" y="95"/>
                  </a:lnTo>
                  <a:lnTo>
                    <a:pt x="7" y="95"/>
                  </a:lnTo>
                  <a:lnTo>
                    <a:pt x="7" y="61"/>
                  </a:lnTo>
                  <a:close/>
                  <a:moveTo>
                    <a:pt x="46" y="101"/>
                  </a:moveTo>
                  <a:lnTo>
                    <a:pt x="46" y="101"/>
                  </a:lnTo>
                  <a:lnTo>
                    <a:pt x="92" y="101"/>
                  </a:lnTo>
                  <a:lnTo>
                    <a:pt x="92" y="259"/>
                  </a:lnTo>
                  <a:lnTo>
                    <a:pt x="46" y="259"/>
                  </a:lnTo>
                  <a:lnTo>
                    <a:pt x="46" y="101"/>
                  </a:lnTo>
                  <a:close/>
                  <a:moveTo>
                    <a:pt x="1407" y="556"/>
                  </a:moveTo>
                  <a:lnTo>
                    <a:pt x="1407" y="556"/>
                  </a:lnTo>
                  <a:lnTo>
                    <a:pt x="1532" y="556"/>
                  </a:lnTo>
                  <a:lnTo>
                    <a:pt x="1532" y="592"/>
                  </a:lnTo>
                  <a:lnTo>
                    <a:pt x="1407" y="592"/>
                  </a:lnTo>
                  <a:lnTo>
                    <a:pt x="1407" y="556"/>
                  </a:lnTo>
                  <a:close/>
                  <a:moveTo>
                    <a:pt x="1447" y="598"/>
                  </a:moveTo>
                  <a:lnTo>
                    <a:pt x="1447" y="598"/>
                  </a:lnTo>
                  <a:lnTo>
                    <a:pt x="1492" y="598"/>
                  </a:lnTo>
                  <a:lnTo>
                    <a:pt x="1492" y="754"/>
                  </a:lnTo>
                  <a:lnTo>
                    <a:pt x="1447" y="754"/>
                  </a:lnTo>
                  <a:lnTo>
                    <a:pt x="1447" y="598"/>
                  </a:lnTo>
                  <a:close/>
                  <a:moveTo>
                    <a:pt x="1387" y="708"/>
                  </a:moveTo>
                  <a:lnTo>
                    <a:pt x="1387" y="708"/>
                  </a:lnTo>
                  <a:lnTo>
                    <a:pt x="1385" y="720"/>
                  </a:lnTo>
                  <a:lnTo>
                    <a:pt x="1382" y="730"/>
                  </a:lnTo>
                  <a:lnTo>
                    <a:pt x="1378" y="738"/>
                  </a:lnTo>
                  <a:lnTo>
                    <a:pt x="1371" y="746"/>
                  </a:lnTo>
                  <a:lnTo>
                    <a:pt x="1361" y="751"/>
                  </a:lnTo>
                  <a:lnTo>
                    <a:pt x="1349" y="756"/>
                  </a:lnTo>
                  <a:lnTo>
                    <a:pt x="1335" y="757"/>
                  </a:lnTo>
                  <a:lnTo>
                    <a:pt x="1319" y="758"/>
                  </a:lnTo>
                  <a:lnTo>
                    <a:pt x="1319" y="724"/>
                  </a:lnTo>
                  <a:lnTo>
                    <a:pt x="1329" y="723"/>
                  </a:lnTo>
                  <a:lnTo>
                    <a:pt x="1336" y="720"/>
                  </a:lnTo>
                  <a:lnTo>
                    <a:pt x="1339" y="718"/>
                  </a:lnTo>
                  <a:lnTo>
                    <a:pt x="1341" y="715"/>
                  </a:lnTo>
                  <a:lnTo>
                    <a:pt x="1342" y="712"/>
                  </a:lnTo>
                  <a:lnTo>
                    <a:pt x="1342" y="708"/>
                  </a:lnTo>
                  <a:lnTo>
                    <a:pt x="1341" y="704"/>
                  </a:lnTo>
                  <a:lnTo>
                    <a:pt x="1338" y="700"/>
                  </a:lnTo>
                  <a:lnTo>
                    <a:pt x="1335" y="695"/>
                  </a:lnTo>
                  <a:lnTo>
                    <a:pt x="1331" y="691"/>
                  </a:lnTo>
                  <a:lnTo>
                    <a:pt x="1315" y="678"/>
                  </a:lnTo>
                  <a:lnTo>
                    <a:pt x="1299" y="667"/>
                  </a:lnTo>
                  <a:lnTo>
                    <a:pt x="1283" y="656"/>
                  </a:lnTo>
                  <a:lnTo>
                    <a:pt x="1269" y="646"/>
                  </a:lnTo>
                  <a:lnTo>
                    <a:pt x="1259" y="638"/>
                  </a:lnTo>
                  <a:lnTo>
                    <a:pt x="1251" y="628"/>
                  </a:lnTo>
                  <a:lnTo>
                    <a:pt x="1247" y="616"/>
                  </a:lnTo>
                  <a:lnTo>
                    <a:pt x="1244" y="603"/>
                  </a:lnTo>
                  <a:lnTo>
                    <a:pt x="1244" y="592"/>
                  </a:lnTo>
                  <a:lnTo>
                    <a:pt x="1249" y="582"/>
                  </a:lnTo>
                  <a:lnTo>
                    <a:pt x="1253" y="573"/>
                  </a:lnTo>
                  <a:lnTo>
                    <a:pt x="1260" y="566"/>
                  </a:lnTo>
                  <a:lnTo>
                    <a:pt x="1269" y="560"/>
                  </a:lnTo>
                  <a:lnTo>
                    <a:pt x="1280" y="557"/>
                  </a:lnTo>
                  <a:lnTo>
                    <a:pt x="1293" y="555"/>
                  </a:lnTo>
                  <a:lnTo>
                    <a:pt x="1309" y="553"/>
                  </a:lnTo>
                  <a:lnTo>
                    <a:pt x="1309" y="586"/>
                  </a:lnTo>
                  <a:lnTo>
                    <a:pt x="1300" y="588"/>
                  </a:lnTo>
                  <a:lnTo>
                    <a:pt x="1295" y="590"/>
                  </a:lnTo>
                  <a:lnTo>
                    <a:pt x="1290" y="595"/>
                  </a:lnTo>
                  <a:lnTo>
                    <a:pt x="1289" y="602"/>
                  </a:lnTo>
                  <a:lnTo>
                    <a:pt x="1289" y="606"/>
                  </a:lnTo>
                  <a:lnTo>
                    <a:pt x="1290" y="611"/>
                  </a:lnTo>
                  <a:lnTo>
                    <a:pt x="1293" y="615"/>
                  </a:lnTo>
                  <a:lnTo>
                    <a:pt x="1296" y="618"/>
                  </a:lnTo>
                  <a:lnTo>
                    <a:pt x="1312" y="629"/>
                  </a:lnTo>
                  <a:lnTo>
                    <a:pt x="1326" y="638"/>
                  </a:lnTo>
                  <a:lnTo>
                    <a:pt x="1338" y="646"/>
                  </a:lnTo>
                  <a:lnTo>
                    <a:pt x="1345" y="652"/>
                  </a:lnTo>
                  <a:lnTo>
                    <a:pt x="1352" y="656"/>
                  </a:lnTo>
                  <a:lnTo>
                    <a:pt x="1357" y="659"/>
                  </a:lnTo>
                  <a:lnTo>
                    <a:pt x="1359" y="661"/>
                  </a:lnTo>
                  <a:lnTo>
                    <a:pt x="1361" y="662"/>
                  </a:lnTo>
                  <a:lnTo>
                    <a:pt x="1367" y="667"/>
                  </a:lnTo>
                  <a:lnTo>
                    <a:pt x="1372" y="672"/>
                  </a:lnTo>
                  <a:lnTo>
                    <a:pt x="1377" y="678"/>
                  </a:lnTo>
                  <a:lnTo>
                    <a:pt x="1381" y="684"/>
                  </a:lnTo>
                  <a:lnTo>
                    <a:pt x="1384" y="690"/>
                  </a:lnTo>
                  <a:lnTo>
                    <a:pt x="1385" y="695"/>
                  </a:lnTo>
                  <a:lnTo>
                    <a:pt x="1387" y="701"/>
                  </a:lnTo>
                  <a:lnTo>
                    <a:pt x="1387" y="708"/>
                  </a:lnTo>
                  <a:close/>
                  <a:moveTo>
                    <a:pt x="1283" y="695"/>
                  </a:moveTo>
                  <a:lnTo>
                    <a:pt x="1283" y="695"/>
                  </a:lnTo>
                  <a:lnTo>
                    <a:pt x="1285" y="702"/>
                  </a:lnTo>
                  <a:lnTo>
                    <a:pt x="1286" y="708"/>
                  </a:lnTo>
                  <a:lnTo>
                    <a:pt x="1287" y="712"/>
                  </a:lnTo>
                  <a:lnTo>
                    <a:pt x="1290" y="717"/>
                  </a:lnTo>
                  <a:lnTo>
                    <a:pt x="1293" y="720"/>
                  </a:lnTo>
                  <a:lnTo>
                    <a:pt x="1297" y="721"/>
                  </a:lnTo>
                  <a:lnTo>
                    <a:pt x="1303" y="724"/>
                  </a:lnTo>
                  <a:lnTo>
                    <a:pt x="1309" y="724"/>
                  </a:lnTo>
                  <a:lnTo>
                    <a:pt x="1309" y="758"/>
                  </a:lnTo>
                  <a:lnTo>
                    <a:pt x="1293" y="757"/>
                  </a:lnTo>
                  <a:lnTo>
                    <a:pt x="1279" y="754"/>
                  </a:lnTo>
                  <a:lnTo>
                    <a:pt x="1266" y="748"/>
                  </a:lnTo>
                  <a:lnTo>
                    <a:pt x="1257" y="741"/>
                  </a:lnTo>
                  <a:lnTo>
                    <a:pt x="1249" y="733"/>
                  </a:lnTo>
                  <a:lnTo>
                    <a:pt x="1244" y="723"/>
                  </a:lnTo>
                  <a:lnTo>
                    <a:pt x="1240" y="710"/>
                  </a:lnTo>
                  <a:lnTo>
                    <a:pt x="1240" y="695"/>
                  </a:lnTo>
                  <a:lnTo>
                    <a:pt x="1283" y="695"/>
                  </a:lnTo>
                  <a:close/>
                  <a:moveTo>
                    <a:pt x="1339" y="611"/>
                  </a:moveTo>
                  <a:lnTo>
                    <a:pt x="1339" y="611"/>
                  </a:lnTo>
                  <a:lnTo>
                    <a:pt x="1339" y="605"/>
                  </a:lnTo>
                  <a:lnTo>
                    <a:pt x="1338" y="600"/>
                  </a:lnTo>
                  <a:lnTo>
                    <a:pt x="1336" y="598"/>
                  </a:lnTo>
                  <a:lnTo>
                    <a:pt x="1335" y="593"/>
                  </a:lnTo>
                  <a:lnTo>
                    <a:pt x="1332" y="590"/>
                  </a:lnTo>
                  <a:lnTo>
                    <a:pt x="1328" y="589"/>
                  </a:lnTo>
                  <a:lnTo>
                    <a:pt x="1325" y="588"/>
                  </a:lnTo>
                  <a:lnTo>
                    <a:pt x="1319" y="586"/>
                  </a:lnTo>
                  <a:lnTo>
                    <a:pt x="1319" y="553"/>
                  </a:lnTo>
                  <a:lnTo>
                    <a:pt x="1335" y="555"/>
                  </a:lnTo>
                  <a:lnTo>
                    <a:pt x="1349" y="557"/>
                  </a:lnTo>
                  <a:lnTo>
                    <a:pt x="1359" y="562"/>
                  </a:lnTo>
                  <a:lnTo>
                    <a:pt x="1369" y="569"/>
                  </a:lnTo>
                  <a:lnTo>
                    <a:pt x="1377" y="576"/>
                  </a:lnTo>
                  <a:lnTo>
                    <a:pt x="1381" y="586"/>
                  </a:lnTo>
                  <a:lnTo>
                    <a:pt x="1385" y="598"/>
                  </a:lnTo>
                  <a:lnTo>
                    <a:pt x="1385" y="611"/>
                  </a:lnTo>
                  <a:lnTo>
                    <a:pt x="1339" y="611"/>
                  </a:lnTo>
                  <a:close/>
                  <a:moveTo>
                    <a:pt x="1220" y="606"/>
                  </a:moveTo>
                  <a:lnTo>
                    <a:pt x="1220" y="606"/>
                  </a:lnTo>
                  <a:lnTo>
                    <a:pt x="1218" y="593"/>
                  </a:lnTo>
                  <a:lnTo>
                    <a:pt x="1215" y="583"/>
                  </a:lnTo>
                  <a:lnTo>
                    <a:pt x="1211" y="575"/>
                  </a:lnTo>
                  <a:lnTo>
                    <a:pt x="1204" y="567"/>
                  </a:lnTo>
                  <a:lnTo>
                    <a:pt x="1195" y="560"/>
                  </a:lnTo>
                  <a:lnTo>
                    <a:pt x="1184" y="556"/>
                  </a:lnTo>
                  <a:lnTo>
                    <a:pt x="1171" y="553"/>
                  </a:lnTo>
                  <a:lnTo>
                    <a:pt x="1155" y="552"/>
                  </a:lnTo>
                  <a:lnTo>
                    <a:pt x="1155" y="585"/>
                  </a:lnTo>
                  <a:lnTo>
                    <a:pt x="1164" y="586"/>
                  </a:lnTo>
                  <a:lnTo>
                    <a:pt x="1169" y="590"/>
                  </a:lnTo>
                  <a:lnTo>
                    <a:pt x="1172" y="596"/>
                  </a:lnTo>
                  <a:lnTo>
                    <a:pt x="1174" y="605"/>
                  </a:lnTo>
                  <a:lnTo>
                    <a:pt x="1174" y="707"/>
                  </a:lnTo>
                  <a:lnTo>
                    <a:pt x="1172" y="715"/>
                  </a:lnTo>
                  <a:lnTo>
                    <a:pt x="1169" y="721"/>
                  </a:lnTo>
                  <a:lnTo>
                    <a:pt x="1164" y="724"/>
                  </a:lnTo>
                  <a:lnTo>
                    <a:pt x="1155" y="727"/>
                  </a:lnTo>
                  <a:lnTo>
                    <a:pt x="1155" y="758"/>
                  </a:lnTo>
                  <a:lnTo>
                    <a:pt x="1171" y="757"/>
                  </a:lnTo>
                  <a:lnTo>
                    <a:pt x="1184" y="754"/>
                  </a:lnTo>
                  <a:lnTo>
                    <a:pt x="1195" y="750"/>
                  </a:lnTo>
                  <a:lnTo>
                    <a:pt x="1204" y="743"/>
                  </a:lnTo>
                  <a:lnTo>
                    <a:pt x="1211" y="734"/>
                  </a:lnTo>
                  <a:lnTo>
                    <a:pt x="1215" y="725"/>
                  </a:lnTo>
                  <a:lnTo>
                    <a:pt x="1218" y="714"/>
                  </a:lnTo>
                  <a:lnTo>
                    <a:pt x="1220" y="701"/>
                  </a:lnTo>
                  <a:lnTo>
                    <a:pt x="1220" y="606"/>
                  </a:lnTo>
                  <a:close/>
                  <a:moveTo>
                    <a:pt x="1081" y="606"/>
                  </a:moveTo>
                  <a:lnTo>
                    <a:pt x="1081" y="606"/>
                  </a:lnTo>
                  <a:lnTo>
                    <a:pt x="1081" y="593"/>
                  </a:lnTo>
                  <a:lnTo>
                    <a:pt x="1084" y="583"/>
                  </a:lnTo>
                  <a:lnTo>
                    <a:pt x="1090" y="575"/>
                  </a:lnTo>
                  <a:lnTo>
                    <a:pt x="1097" y="567"/>
                  </a:lnTo>
                  <a:lnTo>
                    <a:pt x="1106" y="560"/>
                  </a:lnTo>
                  <a:lnTo>
                    <a:pt x="1117" y="556"/>
                  </a:lnTo>
                  <a:lnTo>
                    <a:pt x="1130" y="553"/>
                  </a:lnTo>
                  <a:lnTo>
                    <a:pt x="1146" y="552"/>
                  </a:lnTo>
                  <a:lnTo>
                    <a:pt x="1146" y="585"/>
                  </a:lnTo>
                  <a:lnTo>
                    <a:pt x="1138" y="586"/>
                  </a:lnTo>
                  <a:lnTo>
                    <a:pt x="1132" y="590"/>
                  </a:lnTo>
                  <a:lnTo>
                    <a:pt x="1129" y="596"/>
                  </a:lnTo>
                  <a:lnTo>
                    <a:pt x="1128" y="605"/>
                  </a:lnTo>
                  <a:lnTo>
                    <a:pt x="1128" y="707"/>
                  </a:lnTo>
                  <a:lnTo>
                    <a:pt x="1129" y="715"/>
                  </a:lnTo>
                  <a:lnTo>
                    <a:pt x="1132" y="721"/>
                  </a:lnTo>
                  <a:lnTo>
                    <a:pt x="1138" y="724"/>
                  </a:lnTo>
                  <a:lnTo>
                    <a:pt x="1146" y="727"/>
                  </a:lnTo>
                  <a:lnTo>
                    <a:pt x="1146" y="758"/>
                  </a:lnTo>
                  <a:lnTo>
                    <a:pt x="1130" y="757"/>
                  </a:lnTo>
                  <a:lnTo>
                    <a:pt x="1117" y="754"/>
                  </a:lnTo>
                  <a:lnTo>
                    <a:pt x="1106" y="750"/>
                  </a:lnTo>
                  <a:lnTo>
                    <a:pt x="1097" y="743"/>
                  </a:lnTo>
                  <a:lnTo>
                    <a:pt x="1090" y="734"/>
                  </a:lnTo>
                  <a:lnTo>
                    <a:pt x="1084" y="725"/>
                  </a:lnTo>
                  <a:lnTo>
                    <a:pt x="1081" y="714"/>
                  </a:lnTo>
                  <a:lnTo>
                    <a:pt x="1081" y="701"/>
                  </a:lnTo>
                  <a:lnTo>
                    <a:pt x="1081" y="606"/>
                  </a:lnTo>
                  <a:close/>
                  <a:moveTo>
                    <a:pt x="1007" y="556"/>
                  </a:moveTo>
                  <a:lnTo>
                    <a:pt x="1007" y="556"/>
                  </a:lnTo>
                  <a:lnTo>
                    <a:pt x="1050" y="556"/>
                  </a:lnTo>
                  <a:lnTo>
                    <a:pt x="1050" y="754"/>
                  </a:lnTo>
                  <a:lnTo>
                    <a:pt x="1007" y="754"/>
                  </a:lnTo>
                  <a:lnTo>
                    <a:pt x="1007" y="556"/>
                  </a:lnTo>
                  <a:close/>
                  <a:moveTo>
                    <a:pt x="903" y="556"/>
                  </a:moveTo>
                  <a:lnTo>
                    <a:pt x="903" y="556"/>
                  </a:lnTo>
                  <a:lnTo>
                    <a:pt x="946" y="556"/>
                  </a:lnTo>
                  <a:lnTo>
                    <a:pt x="946" y="754"/>
                  </a:lnTo>
                  <a:lnTo>
                    <a:pt x="903" y="754"/>
                  </a:lnTo>
                  <a:lnTo>
                    <a:pt x="903" y="556"/>
                  </a:lnTo>
                  <a:close/>
                  <a:moveTo>
                    <a:pt x="1001" y="674"/>
                  </a:moveTo>
                  <a:lnTo>
                    <a:pt x="1001" y="674"/>
                  </a:lnTo>
                  <a:lnTo>
                    <a:pt x="1001" y="741"/>
                  </a:lnTo>
                  <a:lnTo>
                    <a:pt x="952" y="641"/>
                  </a:lnTo>
                  <a:lnTo>
                    <a:pt x="952" y="572"/>
                  </a:lnTo>
                  <a:lnTo>
                    <a:pt x="1001" y="674"/>
                  </a:lnTo>
                  <a:close/>
                  <a:moveTo>
                    <a:pt x="822" y="516"/>
                  </a:moveTo>
                  <a:lnTo>
                    <a:pt x="822" y="516"/>
                  </a:lnTo>
                  <a:lnTo>
                    <a:pt x="860" y="516"/>
                  </a:lnTo>
                  <a:lnTo>
                    <a:pt x="822" y="546"/>
                  </a:lnTo>
                  <a:lnTo>
                    <a:pt x="795" y="546"/>
                  </a:lnTo>
                  <a:lnTo>
                    <a:pt x="757" y="516"/>
                  </a:lnTo>
                  <a:lnTo>
                    <a:pt x="795" y="516"/>
                  </a:lnTo>
                  <a:lnTo>
                    <a:pt x="808" y="529"/>
                  </a:lnTo>
                  <a:lnTo>
                    <a:pt x="822" y="516"/>
                  </a:lnTo>
                  <a:close/>
                  <a:moveTo>
                    <a:pt x="739" y="606"/>
                  </a:moveTo>
                  <a:lnTo>
                    <a:pt x="739" y="606"/>
                  </a:lnTo>
                  <a:lnTo>
                    <a:pt x="740" y="593"/>
                  </a:lnTo>
                  <a:lnTo>
                    <a:pt x="743" y="583"/>
                  </a:lnTo>
                  <a:lnTo>
                    <a:pt x="747" y="575"/>
                  </a:lnTo>
                  <a:lnTo>
                    <a:pt x="755" y="567"/>
                  </a:lnTo>
                  <a:lnTo>
                    <a:pt x="765" y="560"/>
                  </a:lnTo>
                  <a:lnTo>
                    <a:pt x="775" y="556"/>
                  </a:lnTo>
                  <a:lnTo>
                    <a:pt x="789" y="553"/>
                  </a:lnTo>
                  <a:lnTo>
                    <a:pt x="804" y="552"/>
                  </a:lnTo>
                  <a:lnTo>
                    <a:pt x="804" y="585"/>
                  </a:lnTo>
                  <a:lnTo>
                    <a:pt x="796" y="586"/>
                  </a:lnTo>
                  <a:lnTo>
                    <a:pt x="791" y="590"/>
                  </a:lnTo>
                  <a:lnTo>
                    <a:pt x="786" y="596"/>
                  </a:lnTo>
                  <a:lnTo>
                    <a:pt x="786" y="605"/>
                  </a:lnTo>
                  <a:lnTo>
                    <a:pt x="786" y="707"/>
                  </a:lnTo>
                  <a:lnTo>
                    <a:pt x="786" y="715"/>
                  </a:lnTo>
                  <a:lnTo>
                    <a:pt x="791" y="721"/>
                  </a:lnTo>
                  <a:lnTo>
                    <a:pt x="796" y="724"/>
                  </a:lnTo>
                  <a:lnTo>
                    <a:pt x="804" y="727"/>
                  </a:lnTo>
                  <a:lnTo>
                    <a:pt x="804" y="758"/>
                  </a:lnTo>
                  <a:lnTo>
                    <a:pt x="789" y="757"/>
                  </a:lnTo>
                  <a:lnTo>
                    <a:pt x="775" y="754"/>
                  </a:lnTo>
                  <a:lnTo>
                    <a:pt x="765" y="750"/>
                  </a:lnTo>
                  <a:lnTo>
                    <a:pt x="755" y="743"/>
                  </a:lnTo>
                  <a:lnTo>
                    <a:pt x="747" y="734"/>
                  </a:lnTo>
                  <a:lnTo>
                    <a:pt x="743" y="725"/>
                  </a:lnTo>
                  <a:lnTo>
                    <a:pt x="740" y="714"/>
                  </a:lnTo>
                  <a:lnTo>
                    <a:pt x="739" y="701"/>
                  </a:lnTo>
                  <a:lnTo>
                    <a:pt x="739" y="606"/>
                  </a:lnTo>
                  <a:close/>
                  <a:moveTo>
                    <a:pt x="814" y="727"/>
                  </a:moveTo>
                  <a:lnTo>
                    <a:pt x="814" y="727"/>
                  </a:lnTo>
                  <a:lnTo>
                    <a:pt x="822" y="725"/>
                  </a:lnTo>
                  <a:lnTo>
                    <a:pt x="828" y="721"/>
                  </a:lnTo>
                  <a:lnTo>
                    <a:pt x="831" y="718"/>
                  </a:lnTo>
                  <a:lnTo>
                    <a:pt x="832" y="715"/>
                  </a:lnTo>
                  <a:lnTo>
                    <a:pt x="832" y="711"/>
                  </a:lnTo>
                  <a:lnTo>
                    <a:pt x="834" y="707"/>
                  </a:lnTo>
                  <a:lnTo>
                    <a:pt x="834" y="681"/>
                  </a:lnTo>
                  <a:lnTo>
                    <a:pt x="880" y="681"/>
                  </a:lnTo>
                  <a:lnTo>
                    <a:pt x="880" y="701"/>
                  </a:lnTo>
                  <a:lnTo>
                    <a:pt x="880" y="714"/>
                  </a:lnTo>
                  <a:lnTo>
                    <a:pt x="876" y="725"/>
                  </a:lnTo>
                  <a:lnTo>
                    <a:pt x="871" y="735"/>
                  </a:lnTo>
                  <a:lnTo>
                    <a:pt x="864" y="744"/>
                  </a:lnTo>
                  <a:lnTo>
                    <a:pt x="854" y="750"/>
                  </a:lnTo>
                  <a:lnTo>
                    <a:pt x="842" y="754"/>
                  </a:lnTo>
                  <a:lnTo>
                    <a:pt x="829" y="757"/>
                  </a:lnTo>
                  <a:lnTo>
                    <a:pt x="814" y="758"/>
                  </a:lnTo>
                  <a:lnTo>
                    <a:pt x="814" y="727"/>
                  </a:lnTo>
                  <a:close/>
                  <a:moveTo>
                    <a:pt x="814" y="552"/>
                  </a:moveTo>
                  <a:lnTo>
                    <a:pt x="814" y="552"/>
                  </a:lnTo>
                  <a:lnTo>
                    <a:pt x="829" y="553"/>
                  </a:lnTo>
                  <a:lnTo>
                    <a:pt x="842" y="556"/>
                  </a:lnTo>
                  <a:lnTo>
                    <a:pt x="854" y="560"/>
                  </a:lnTo>
                  <a:lnTo>
                    <a:pt x="864" y="566"/>
                  </a:lnTo>
                  <a:lnTo>
                    <a:pt x="871" y="573"/>
                  </a:lnTo>
                  <a:lnTo>
                    <a:pt x="877" y="583"/>
                  </a:lnTo>
                  <a:lnTo>
                    <a:pt x="880" y="595"/>
                  </a:lnTo>
                  <a:lnTo>
                    <a:pt x="880" y="606"/>
                  </a:lnTo>
                  <a:lnTo>
                    <a:pt x="880" y="625"/>
                  </a:lnTo>
                  <a:lnTo>
                    <a:pt x="834" y="625"/>
                  </a:lnTo>
                  <a:lnTo>
                    <a:pt x="834" y="605"/>
                  </a:lnTo>
                  <a:lnTo>
                    <a:pt x="832" y="600"/>
                  </a:lnTo>
                  <a:lnTo>
                    <a:pt x="832" y="596"/>
                  </a:lnTo>
                  <a:lnTo>
                    <a:pt x="831" y="593"/>
                  </a:lnTo>
                  <a:lnTo>
                    <a:pt x="828" y="590"/>
                  </a:lnTo>
                  <a:lnTo>
                    <a:pt x="825" y="588"/>
                  </a:lnTo>
                  <a:lnTo>
                    <a:pt x="822" y="586"/>
                  </a:lnTo>
                  <a:lnTo>
                    <a:pt x="818" y="585"/>
                  </a:lnTo>
                  <a:lnTo>
                    <a:pt x="814" y="585"/>
                  </a:lnTo>
                  <a:lnTo>
                    <a:pt x="814" y="552"/>
                  </a:lnTo>
                  <a:close/>
                  <a:moveTo>
                    <a:pt x="608" y="556"/>
                  </a:moveTo>
                  <a:lnTo>
                    <a:pt x="608" y="556"/>
                  </a:lnTo>
                  <a:lnTo>
                    <a:pt x="654" y="556"/>
                  </a:lnTo>
                  <a:lnTo>
                    <a:pt x="654" y="754"/>
                  </a:lnTo>
                  <a:lnTo>
                    <a:pt x="608" y="754"/>
                  </a:lnTo>
                  <a:lnTo>
                    <a:pt x="608" y="556"/>
                  </a:lnTo>
                  <a:close/>
                  <a:moveTo>
                    <a:pt x="720" y="754"/>
                  </a:moveTo>
                  <a:lnTo>
                    <a:pt x="720" y="754"/>
                  </a:lnTo>
                  <a:lnTo>
                    <a:pt x="661" y="754"/>
                  </a:lnTo>
                  <a:lnTo>
                    <a:pt x="661" y="720"/>
                  </a:lnTo>
                  <a:lnTo>
                    <a:pt x="720" y="720"/>
                  </a:lnTo>
                  <a:lnTo>
                    <a:pt x="720" y="754"/>
                  </a:lnTo>
                  <a:close/>
                  <a:moveTo>
                    <a:pt x="661" y="556"/>
                  </a:moveTo>
                  <a:lnTo>
                    <a:pt x="661" y="556"/>
                  </a:lnTo>
                  <a:lnTo>
                    <a:pt x="720" y="556"/>
                  </a:lnTo>
                  <a:lnTo>
                    <a:pt x="720" y="589"/>
                  </a:lnTo>
                  <a:lnTo>
                    <a:pt x="661" y="589"/>
                  </a:lnTo>
                  <a:lnTo>
                    <a:pt x="661" y="556"/>
                  </a:lnTo>
                  <a:close/>
                  <a:moveTo>
                    <a:pt x="661" y="635"/>
                  </a:moveTo>
                  <a:lnTo>
                    <a:pt x="661" y="635"/>
                  </a:lnTo>
                  <a:lnTo>
                    <a:pt x="717" y="635"/>
                  </a:lnTo>
                  <a:lnTo>
                    <a:pt x="717" y="668"/>
                  </a:lnTo>
                  <a:lnTo>
                    <a:pt x="661" y="668"/>
                  </a:lnTo>
                  <a:lnTo>
                    <a:pt x="661" y="635"/>
                  </a:lnTo>
                  <a:close/>
                  <a:moveTo>
                    <a:pt x="523" y="636"/>
                  </a:moveTo>
                  <a:lnTo>
                    <a:pt x="523" y="636"/>
                  </a:lnTo>
                  <a:lnTo>
                    <a:pt x="529" y="636"/>
                  </a:lnTo>
                  <a:lnTo>
                    <a:pt x="533" y="635"/>
                  </a:lnTo>
                  <a:lnTo>
                    <a:pt x="536" y="633"/>
                  </a:lnTo>
                  <a:lnTo>
                    <a:pt x="539" y="631"/>
                  </a:lnTo>
                  <a:lnTo>
                    <a:pt x="541" y="628"/>
                  </a:lnTo>
                  <a:lnTo>
                    <a:pt x="543" y="623"/>
                  </a:lnTo>
                  <a:lnTo>
                    <a:pt x="544" y="618"/>
                  </a:lnTo>
                  <a:lnTo>
                    <a:pt x="544" y="613"/>
                  </a:lnTo>
                  <a:lnTo>
                    <a:pt x="544" y="608"/>
                  </a:lnTo>
                  <a:lnTo>
                    <a:pt x="543" y="602"/>
                  </a:lnTo>
                  <a:lnTo>
                    <a:pt x="541" y="599"/>
                  </a:lnTo>
                  <a:lnTo>
                    <a:pt x="539" y="595"/>
                  </a:lnTo>
                  <a:lnTo>
                    <a:pt x="536" y="593"/>
                  </a:lnTo>
                  <a:lnTo>
                    <a:pt x="533" y="590"/>
                  </a:lnTo>
                  <a:lnTo>
                    <a:pt x="529" y="590"/>
                  </a:lnTo>
                  <a:lnTo>
                    <a:pt x="523" y="589"/>
                  </a:lnTo>
                  <a:lnTo>
                    <a:pt x="507" y="589"/>
                  </a:lnTo>
                  <a:lnTo>
                    <a:pt x="507" y="556"/>
                  </a:lnTo>
                  <a:lnTo>
                    <a:pt x="521" y="556"/>
                  </a:lnTo>
                  <a:lnTo>
                    <a:pt x="539" y="557"/>
                  </a:lnTo>
                  <a:lnTo>
                    <a:pt x="552" y="560"/>
                  </a:lnTo>
                  <a:lnTo>
                    <a:pt x="565" y="563"/>
                  </a:lnTo>
                  <a:lnTo>
                    <a:pt x="575" y="569"/>
                  </a:lnTo>
                  <a:lnTo>
                    <a:pt x="582" y="577"/>
                  </a:lnTo>
                  <a:lnTo>
                    <a:pt x="588" y="586"/>
                  </a:lnTo>
                  <a:lnTo>
                    <a:pt x="590" y="596"/>
                  </a:lnTo>
                  <a:lnTo>
                    <a:pt x="592" y="609"/>
                  </a:lnTo>
                  <a:lnTo>
                    <a:pt x="590" y="623"/>
                  </a:lnTo>
                  <a:lnTo>
                    <a:pt x="588" y="636"/>
                  </a:lnTo>
                  <a:lnTo>
                    <a:pt x="582" y="646"/>
                  </a:lnTo>
                  <a:lnTo>
                    <a:pt x="575" y="655"/>
                  </a:lnTo>
                  <a:lnTo>
                    <a:pt x="565" y="661"/>
                  </a:lnTo>
                  <a:lnTo>
                    <a:pt x="553" y="667"/>
                  </a:lnTo>
                  <a:lnTo>
                    <a:pt x="539" y="669"/>
                  </a:lnTo>
                  <a:lnTo>
                    <a:pt x="523" y="669"/>
                  </a:lnTo>
                  <a:lnTo>
                    <a:pt x="507" y="669"/>
                  </a:lnTo>
                  <a:lnTo>
                    <a:pt x="507" y="636"/>
                  </a:lnTo>
                  <a:lnTo>
                    <a:pt x="523" y="636"/>
                  </a:lnTo>
                  <a:close/>
                  <a:moveTo>
                    <a:pt x="454" y="556"/>
                  </a:moveTo>
                  <a:lnTo>
                    <a:pt x="454" y="556"/>
                  </a:lnTo>
                  <a:lnTo>
                    <a:pt x="500" y="556"/>
                  </a:lnTo>
                  <a:lnTo>
                    <a:pt x="500" y="754"/>
                  </a:lnTo>
                  <a:lnTo>
                    <a:pt x="454" y="754"/>
                  </a:lnTo>
                  <a:lnTo>
                    <a:pt x="454" y="556"/>
                  </a:lnTo>
                  <a:close/>
                  <a:moveTo>
                    <a:pt x="357" y="712"/>
                  </a:moveTo>
                  <a:lnTo>
                    <a:pt x="357" y="712"/>
                  </a:lnTo>
                  <a:lnTo>
                    <a:pt x="307" y="712"/>
                  </a:lnTo>
                  <a:lnTo>
                    <a:pt x="377" y="598"/>
                  </a:lnTo>
                  <a:lnTo>
                    <a:pt x="428" y="598"/>
                  </a:lnTo>
                  <a:lnTo>
                    <a:pt x="357" y="712"/>
                  </a:lnTo>
                  <a:close/>
                  <a:moveTo>
                    <a:pt x="301" y="720"/>
                  </a:moveTo>
                  <a:lnTo>
                    <a:pt x="301" y="720"/>
                  </a:lnTo>
                  <a:lnTo>
                    <a:pt x="433" y="720"/>
                  </a:lnTo>
                  <a:lnTo>
                    <a:pt x="433" y="754"/>
                  </a:lnTo>
                  <a:lnTo>
                    <a:pt x="301" y="754"/>
                  </a:lnTo>
                  <a:lnTo>
                    <a:pt x="301" y="720"/>
                  </a:lnTo>
                  <a:close/>
                  <a:moveTo>
                    <a:pt x="308" y="556"/>
                  </a:moveTo>
                  <a:lnTo>
                    <a:pt x="308" y="556"/>
                  </a:lnTo>
                  <a:lnTo>
                    <a:pt x="433" y="556"/>
                  </a:lnTo>
                  <a:lnTo>
                    <a:pt x="433" y="592"/>
                  </a:lnTo>
                  <a:lnTo>
                    <a:pt x="308" y="592"/>
                  </a:lnTo>
                  <a:lnTo>
                    <a:pt x="308" y="556"/>
                  </a:lnTo>
                  <a:close/>
                  <a:moveTo>
                    <a:pt x="170" y="556"/>
                  </a:moveTo>
                  <a:lnTo>
                    <a:pt x="170" y="556"/>
                  </a:lnTo>
                  <a:lnTo>
                    <a:pt x="216" y="556"/>
                  </a:lnTo>
                  <a:lnTo>
                    <a:pt x="216" y="754"/>
                  </a:lnTo>
                  <a:lnTo>
                    <a:pt x="170" y="754"/>
                  </a:lnTo>
                  <a:lnTo>
                    <a:pt x="170" y="556"/>
                  </a:lnTo>
                  <a:close/>
                  <a:moveTo>
                    <a:pt x="282" y="754"/>
                  </a:moveTo>
                  <a:lnTo>
                    <a:pt x="282" y="754"/>
                  </a:lnTo>
                  <a:lnTo>
                    <a:pt x="223" y="754"/>
                  </a:lnTo>
                  <a:lnTo>
                    <a:pt x="223" y="720"/>
                  </a:lnTo>
                  <a:lnTo>
                    <a:pt x="282" y="720"/>
                  </a:lnTo>
                  <a:lnTo>
                    <a:pt x="282" y="754"/>
                  </a:lnTo>
                  <a:close/>
                  <a:moveTo>
                    <a:pt x="223" y="556"/>
                  </a:moveTo>
                  <a:lnTo>
                    <a:pt x="223" y="556"/>
                  </a:lnTo>
                  <a:lnTo>
                    <a:pt x="282" y="556"/>
                  </a:lnTo>
                  <a:lnTo>
                    <a:pt x="282" y="589"/>
                  </a:lnTo>
                  <a:lnTo>
                    <a:pt x="223" y="589"/>
                  </a:lnTo>
                  <a:lnTo>
                    <a:pt x="223" y="556"/>
                  </a:lnTo>
                  <a:close/>
                  <a:moveTo>
                    <a:pt x="223" y="635"/>
                  </a:moveTo>
                  <a:lnTo>
                    <a:pt x="223" y="635"/>
                  </a:lnTo>
                  <a:lnTo>
                    <a:pt x="279" y="635"/>
                  </a:lnTo>
                  <a:lnTo>
                    <a:pt x="279" y="668"/>
                  </a:lnTo>
                  <a:lnTo>
                    <a:pt x="223" y="668"/>
                  </a:lnTo>
                  <a:lnTo>
                    <a:pt x="223" y="635"/>
                  </a:lnTo>
                  <a:close/>
                  <a:moveTo>
                    <a:pt x="76" y="636"/>
                  </a:moveTo>
                  <a:lnTo>
                    <a:pt x="76" y="636"/>
                  </a:lnTo>
                  <a:lnTo>
                    <a:pt x="81" y="636"/>
                  </a:lnTo>
                  <a:lnTo>
                    <a:pt x="85" y="635"/>
                  </a:lnTo>
                  <a:lnTo>
                    <a:pt x="89" y="633"/>
                  </a:lnTo>
                  <a:lnTo>
                    <a:pt x="92" y="631"/>
                  </a:lnTo>
                  <a:lnTo>
                    <a:pt x="95" y="628"/>
                  </a:lnTo>
                  <a:lnTo>
                    <a:pt x="97" y="623"/>
                  </a:lnTo>
                  <a:lnTo>
                    <a:pt x="97" y="618"/>
                  </a:lnTo>
                  <a:lnTo>
                    <a:pt x="98" y="613"/>
                  </a:lnTo>
                  <a:lnTo>
                    <a:pt x="97" y="608"/>
                  </a:lnTo>
                  <a:lnTo>
                    <a:pt x="97" y="602"/>
                  </a:lnTo>
                  <a:lnTo>
                    <a:pt x="95" y="599"/>
                  </a:lnTo>
                  <a:lnTo>
                    <a:pt x="92" y="595"/>
                  </a:lnTo>
                  <a:lnTo>
                    <a:pt x="89" y="593"/>
                  </a:lnTo>
                  <a:lnTo>
                    <a:pt x="85" y="590"/>
                  </a:lnTo>
                  <a:lnTo>
                    <a:pt x="81" y="590"/>
                  </a:lnTo>
                  <a:lnTo>
                    <a:pt x="76" y="589"/>
                  </a:lnTo>
                  <a:lnTo>
                    <a:pt x="61" y="589"/>
                  </a:lnTo>
                  <a:lnTo>
                    <a:pt x="61" y="556"/>
                  </a:lnTo>
                  <a:lnTo>
                    <a:pt x="75" y="556"/>
                  </a:lnTo>
                  <a:lnTo>
                    <a:pt x="91" y="557"/>
                  </a:lnTo>
                  <a:lnTo>
                    <a:pt x="105" y="560"/>
                  </a:lnTo>
                  <a:lnTo>
                    <a:pt x="117" y="563"/>
                  </a:lnTo>
                  <a:lnTo>
                    <a:pt x="127" y="569"/>
                  </a:lnTo>
                  <a:lnTo>
                    <a:pt x="134" y="577"/>
                  </a:lnTo>
                  <a:lnTo>
                    <a:pt x="140" y="586"/>
                  </a:lnTo>
                  <a:lnTo>
                    <a:pt x="143" y="596"/>
                  </a:lnTo>
                  <a:lnTo>
                    <a:pt x="144" y="609"/>
                  </a:lnTo>
                  <a:lnTo>
                    <a:pt x="144" y="618"/>
                  </a:lnTo>
                  <a:lnTo>
                    <a:pt x="143" y="626"/>
                  </a:lnTo>
                  <a:lnTo>
                    <a:pt x="141" y="633"/>
                  </a:lnTo>
                  <a:lnTo>
                    <a:pt x="138" y="639"/>
                  </a:lnTo>
                  <a:lnTo>
                    <a:pt x="134" y="645"/>
                  </a:lnTo>
                  <a:lnTo>
                    <a:pt x="130" y="648"/>
                  </a:lnTo>
                  <a:lnTo>
                    <a:pt x="124" y="651"/>
                  </a:lnTo>
                  <a:lnTo>
                    <a:pt x="118" y="654"/>
                  </a:lnTo>
                  <a:lnTo>
                    <a:pt x="124" y="655"/>
                  </a:lnTo>
                  <a:lnTo>
                    <a:pt x="130" y="659"/>
                  </a:lnTo>
                  <a:lnTo>
                    <a:pt x="135" y="664"/>
                  </a:lnTo>
                  <a:lnTo>
                    <a:pt x="140" y="668"/>
                  </a:lnTo>
                  <a:lnTo>
                    <a:pt x="143" y="675"/>
                  </a:lnTo>
                  <a:lnTo>
                    <a:pt x="145" y="682"/>
                  </a:lnTo>
                  <a:lnTo>
                    <a:pt x="147" y="691"/>
                  </a:lnTo>
                  <a:lnTo>
                    <a:pt x="147" y="701"/>
                  </a:lnTo>
                  <a:lnTo>
                    <a:pt x="147" y="712"/>
                  </a:lnTo>
                  <a:lnTo>
                    <a:pt x="143" y="724"/>
                  </a:lnTo>
                  <a:lnTo>
                    <a:pt x="137" y="734"/>
                  </a:lnTo>
                  <a:lnTo>
                    <a:pt x="130" y="741"/>
                  </a:lnTo>
                  <a:lnTo>
                    <a:pt x="120" y="747"/>
                  </a:lnTo>
                  <a:lnTo>
                    <a:pt x="108" y="751"/>
                  </a:lnTo>
                  <a:lnTo>
                    <a:pt x="94" y="754"/>
                  </a:lnTo>
                  <a:lnTo>
                    <a:pt x="78" y="754"/>
                  </a:lnTo>
                  <a:lnTo>
                    <a:pt x="61" y="754"/>
                  </a:lnTo>
                  <a:lnTo>
                    <a:pt x="61" y="721"/>
                  </a:lnTo>
                  <a:lnTo>
                    <a:pt x="78" y="721"/>
                  </a:lnTo>
                  <a:lnTo>
                    <a:pt x="82" y="721"/>
                  </a:lnTo>
                  <a:lnTo>
                    <a:pt x="88" y="720"/>
                  </a:lnTo>
                  <a:lnTo>
                    <a:pt x="91" y="718"/>
                  </a:lnTo>
                  <a:lnTo>
                    <a:pt x="95" y="715"/>
                  </a:lnTo>
                  <a:lnTo>
                    <a:pt x="98" y="712"/>
                  </a:lnTo>
                  <a:lnTo>
                    <a:pt x="99" y="708"/>
                  </a:lnTo>
                  <a:lnTo>
                    <a:pt x="101" y="702"/>
                  </a:lnTo>
                  <a:lnTo>
                    <a:pt x="101" y="697"/>
                  </a:lnTo>
                  <a:lnTo>
                    <a:pt x="101" y="690"/>
                  </a:lnTo>
                  <a:lnTo>
                    <a:pt x="99" y="685"/>
                  </a:lnTo>
                  <a:lnTo>
                    <a:pt x="97" y="681"/>
                  </a:lnTo>
                  <a:lnTo>
                    <a:pt x="95" y="677"/>
                  </a:lnTo>
                  <a:lnTo>
                    <a:pt x="91" y="674"/>
                  </a:lnTo>
                  <a:lnTo>
                    <a:pt x="86" y="671"/>
                  </a:lnTo>
                  <a:lnTo>
                    <a:pt x="82" y="671"/>
                  </a:lnTo>
                  <a:lnTo>
                    <a:pt x="76" y="669"/>
                  </a:lnTo>
                  <a:lnTo>
                    <a:pt x="61" y="669"/>
                  </a:lnTo>
                  <a:lnTo>
                    <a:pt x="61" y="636"/>
                  </a:lnTo>
                  <a:lnTo>
                    <a:pt x="76" y="636"/>
                  </a:lnTo>
                  <a:close/>
                  <a:moveTo>
                    <a:pt x="7" y="556"/>
                  </a:moveTo>
                  <a:lnTo>
                    <a:pt x="7" y="556"/>
                  </a:lnTo>
                  <a:lnTo>
                    <a:pt x="52" y="556"/>
                  </a:lnTo>
                  <a:lnTo>
                    <a:pt x="52" y="754"/>
                  </a:lnTo>
                  <a:lnTo>
                    <a:pt x="7" y="754"/>
                  </a:lnTo>
                  <a:lnTo>
                    <a:pt x="7" y="5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4" name="Freeform 29">
              <a:extLst>
                <a:ext uri="{FF2B5EF4-FFF2-40B4-BE49-F238E27FC236}">
                  <a16:creationId xmlns:a16="http://schemas.microsoft.com/office/drawing/2014/main" id="{27E21B7F-47E2-3E15-2280-8081C73CD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3200" y="785813"/>
              <a:ext cx="506413" cy="536575"/>
            </a:xfrm>
            <a:custGeom>
              <a:avLst/>
              <a:gdLst>
                <a:gd name="T0" fmla="*/ 799 w 958"/>
                <a:gd name="T1" fmla="*/ 809 h 1013"/>
                <a:gd name="T2" fmla="*/ 829 w 958"/>
                <a:gd name="T3" fmla="*/ 561 h 1013"/>
                <a:gd name="T4" fmla="*/ 952 w 958"/>
                <a:gd name="T5" fmla="*/ 261 h 1013"/>
                <a:gd name="T6" fmla="*/ 876 w 958"/>
                <a:gd name="T7" fmla="*/ 347 h 1013"/>
                <a:gd name="T8" fmla="*/ 854 w 958"/>
                <a:gd name="T9" fmla="*/ 438 h 1013"/>
                <a:gd name="T10" fmla="*/ 804 w 958"/>
                <a:gd name="T11" fmla="*/ 468 h 1013"/>
                <a:gd name="T12" fmla="*/ 769 w 958"/>
                <a:gd name="T13" fmla="*/ 541 h 1013"/>
                <a:gd name="T14" fmla="*/ 685 w 958"/>
                <a:gd name="T15" fmla="*/ 501 h 1013"/>
                <a:gd name="T16" fmla="*/ 647 w 958"/>
                <a:gd name="T17" fmla="*/ 489 h 1013"/>
                <a:gd name="T18" fmla="*/ 622 w 958"/>
                <a:gd name="T19" fmla="*/ 481 h 1013"/>
                <a:gd name="T20" fmla="*/ 541 w 958"/>
                <a:gd name="T21" fmla="*/ 494 h 1013"/>
                <a:gd name="T22" fmla="*/ 487 w 958"/>
                <a:gd name="T23" fmla="*/ 473 h 1013"/>
                <a:gd name="T24" fmla="*/ 354 w 958"/>
                <a:gd name="T25" fmla="*/ 317 h 1013"/>
                <a:gd name="T26" fmla="*/ 311 w 958"/>
                <a:gd name="T27" fmla="*/ 120 h 1013"/>
                <a:gd name="T28" fmla="*/ 255 w 958"/>
                <a:gd name="T29" fmla="*/ 165 h 1013"/>
                <a:gd name="T30" fmla="*/ 271 w 958"/>
                <a:gd name="T31" fmla="*/ 277 h 1013"/>
                <a:gd name="T32" fmla="*/ 300 w 958"/>
                <a:gd name="T33" fmla="*/ 359 h 1013"/>
                <a:gd name="T34" fmla="*/ 374 w 958"/>
                <a:gd name="T35" fmla="*/ 455 h 1013"/>
                <a:gd name="T36" fmla="*/ 395 w 958"/>
                <a:gd name="T37" fmla="*/ 517 h 1013"/>
                <a:gd name="T38" fmla="*/ 393 w 958"/>
                <a:gd name="T39" fmla="*/ 584 h 1013"/>
                <a:gd name="T40" fmla="*/ 419 w 958"/>
                <a:gd name="T41" fmla="*/ 639 h 1013"/>
                <a:gd name="T42" fmla="*/ 570 w 958"/>
                <a:gd name="T43" fmla="*/ 666 h 1013"/>
                <a:gd name="T44" fmla="*/ 543 w 958"/>
                <a:gd name="T45" fmla="*/ 741 h 1013"/>
                <a:gd name="T46" fmla="*/ 439 w 958"/>
                <a:gd name="T47" fmla="*/ 751 h 1013"/>
                <a:gd name="T48" fmla="*/ 408 w 958"/>
                <a:gd name="T49" fmla="*/ 735 h 1013"/>
                <a:gd name="T50" fmla="*/ 318 w 958"/>
                <a:gd name="T51" fmla="*/ 769 h 1013"/>
                <a:gd name="T52" fmla="*/ 239 w 958"/>
                <a:gd name="T53" fmla="*/ 812 h 1013"/>
                <a:gd name="T54" fmla="*/ 380 w 958"/>
                <a:gd name="T55" fmla="*/ 947 h 1013"/>
                <a:gd name="T56" fmla="*/ 527 w 958"/>
                <a:gd name="T57" fmla="*/ 1003 h 1013"/>
                <a:gd name="T58" fmla="*/ 605 w 958"/>
                <a:gd name="T59" fmla="*/ 805 h 1013"/>
                <a:gd name="T60" fmla="*/ 618 w 958"/>
                <a:gd name="T61" fmla="*/ 748 h 1013"/>
                <a:gd name="T62" fmla="*/ 531 w 958"/>
                <a:gd name="T63" fmla="*/ 802 h 1013"/>
                <a:gd name="T64" fmla="*/ 220 w 958"/>
                <a:gd name="T65" fmla="*/ 731 h 1013"/>
                <a:gd name="T66" fmla="*/ 141 w 958"/>
                <a:gd name="T67" fmla="*/ 649 h 1013"/>
                <a:gd name="T68" fmla="*/ 39 w 958"/>
                <a:gd name="T69" fmla="*/ 604 h 1013"/>
                <a:gd name="T70" fmla="*/ 82 w 958"/>
                <a:gd name="T71" fmla="*/ 703 h 1013"/>
                <a:gd name="T72" fmla="*/ 212 w 958"/>
                <a:gd name="T73" fmla="*/ 797 h 1013"/>
                <a:gd name="T74" fmla="*/ 400 w 958"/>
                <a:gd name="T75" fmla="*/ 739 h 1013"/>
                <a:gd name="T76" fmla="*/ 399 w 958"/>
                <a:gd name="T77" fmla="*/ 718 h 1013"/>
                <a:gd name="T78" fmla="*/ 452 w 958"/>
                <a:gd name="T79" fmla="*/ 735 h 1013"/>
                <a:gd name="T80" fmla="*/ 435 w 958"/>
                <a:gd name="T81" fmla="*/ 621 h 1013"/>
                <a:gd name="T82" fmla="*/ 42 w 958"/>
                <a:gd name="T83" fmla="*/ 616 h 1013"/>
                <a:gd name="T84" fmla="*/ 793 w 958"/>
                <a:gd name="T85" fmla="*/ 564 h 1013"/>
                <a:gd name="T86" fmla="*/ 694 w 958"/>
                <a:gd name="T87" fmla="*/ 430 h 1013"/>
                <a:gd name="T88" fmla="*/ 755 w 958"/>
                <a:gd name="T89" fmla="*/ 93 h 1013"/>
                <a:gd name="T90" fmla="*/ 680 w 958"/>
                <a:gd name="T91" fmla="*/ 149 h 1013"/>
                <a:gd name="T92" fmla="*/ 664 w 958"/>
                <a:gd name="T93" fmla="*/ 278 h 1013"/>
                <a:gd name="T94" fmla="*/ 638 w 958"/>
                <a:gd name="T95" fmla="*/ 387 h 1013"/>
                <a:gd name="T96" fmla="*/ 644 w 958"/>
                <a:gd name="T97" fmla="*/ 462 h 1013"/>
                <a:gd name="T98" fmla="*/ 559 w 958"/>
                <a:gd name="T99" fmla="*/ 453 h 1013"/>
                <a:gd name="T100" fmla="*/ 559 w 958"/>
                <a:gd name="T101" fmla="*/ 291 h 1013"/>
                <a:gd name="T102" fmla="*/ 550 w 958"/>
                <a:gd name="T103" fmla="*/ 145 h 1013"/>
                <a:gd name="T104" fmla="*/ 485 w 958"/>
                <a:gd name="T105" fmla="*/ 8 h 1013"/>
                <a:gd name="T106" fmla="*/ 475 w 958"/>
                <a:gd name="T107" fmla="*/ 189 h 1013"/>
                <a:gd name="T108" fmla="*/ 485 w 958"/>
                <a:gd name="T109" fmla="*/ 251 h 1013"/>
                <a:gd name="T110" fmla="*/ 478 w 958"/>
                <a:gd name="T111" fmla="*/ 351 h 1013"/>
                <a:gd name="T112" fmla="*/ 850 w 958"/>
                <a:gd name="T113" fmla="*/ 389 h 1013"/>
                <a:gd name="T114" fmla="*/ 677 w 958"/>
                <a:gd name="T115" fmla="*/ 321 h 1013"/>
                <a:gd name="T116" fmla="*/ 275 w 958"/>
                <a:gd name="T117" fmla="*/ 140 h 1013"/>
                <a:gd name="T118" fmla="*/ 713 w 958"/>
                <a:gd name="T119" fmla="*/ 116 h 1013"/>
                <a:gd name="T120" fmla="*/ 710 w 958"/>
                <a:gd name="T121" fmla="*/ 93 h 1013"/>
                <a:gd name="T122" fmla="*/ 498 w 958"/>
                <a:gd name="T123" fmla="*/ 47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8" h="1013">
                  <a:moveTo>
                    <a:pt x="628" y="1013"/>
                  </a:moveTo>
                  <a:lnTo>
                    <a:pt x="647" y="1013"/>
                  </a:lnTo>
                  <a:lnTo>
                    <a:pt x="662" y="1011"/>
                  </a:lnTo>
                  <a:lnTo>
                    <a:pt x="664" y="1008"/>
                  </a:lnTo>
                  <a:lnTo>
                    <a:pt x="665" y="1006"/>
                  </a:lnTo>
                  <a:lnTo>
                    <a:pt x="678" y="1003"/>
                  </a:lnTo>
                  <a:lnTo>
                    <a:pt x="691" y="999"/>
                  </a:lnTo>
                  <a:lnTo>
                    <a:pt x="697" y="996"/>
                  </a:lnTo>
                  <a:lnTo>
                    <a:pt x="703" y="992"/>
                  </a:lnTo>
                  <a:lnTo>
                    <a:pt x="708" y="989"/>
                  </a:lnTo>
                  <a:lnTo>
                    <a:pt x="711" y="983"/>
                  </a:lnTo>
                  <a:lnTo>
                    <a:pt x="719" y="979"/>
                  </a:lnTo>
                  <a:lnTo>
                    <a:pt x="724" y="976"/>
                  </a:lnTo>
                  <a:lnTo>
                    <a:pt x="733" y="967"/>
                  </a:lnTo>
                  <a:lnTo>
                    <a:pt x="740" y="956"/>
                  </a:lnTo>
                  <a:lnTo>
                    <a:pt x="747" y="946"/>
                  </a:lnTo>
                  <a:lnTo>
                    <a:pt x="753" y="933"/>
                  </a:lnTo>
                  <a:lnTo>
                    <a:pt x="765" y="917"/>
                  </a:lnTo>
                  <a:lnTo>
                    <a:pt x="775" y="899"/>
                  </a:lnTo>
                  <a:lnTo>
                    <a:pt x="782" y="881"/>
                  </a:lnTo>
                  <a:lnTo>
                    <a:pt x="791" y="863"/>
                  </a:lnTo>
                  <a:lnTo>
                    <a:pt x="792" y="850"/>
                  </a:lnTo>
                  <a:lnTo>
                    <a:pt x="795" y="837"/>
                  </a:lnTo>
                  <a:lnTo>
                    <a:pt x="796" y="824"/>
                  </a:lnTo>
                  <a:lnTo>
                    <a:pt x="799" y="809"/>
                  </a:lnTo>
                  <a:lnTo>
                    <a:pt x="802" y="797"/>
                  </a:lnTo>
                  <a:lnTo>
                    <a:pt x="802" y="782"/>
                  </a:lnTo>
                  <a:lnTo>
                    <a:pt x="806" y="761"/>
                  </a:lnTo>
                  <a:lnTo>
                    <a:pt x="809" y="738"/>
                  </a:lnTo>
                  <a:lnTo>
                    <a:pt x="811" y="715"/>
                  </a:lnTo>
                  <a:lnTo>
                    <a:pt x="812" y="692"/>
                  </a:lnTo>
                  <a:lnTo>
                    <a:pt x="814" y="689"/>
                  </a:lnTo>
                  <a:lnTo>
                    <a:pt x="815" y="683"/>
                  </a:lnTo>
                  <a:lnTo>
                    <a:pt x="816" y="667"/>
                  </a:lnTo>
                  <a:lnTo>
                    <a:pt x="816" y="653"/>
                  </a:lnTo>
                  <a:lnTo>
                    <a:pt x="818" y="637"/>
                  </a:lnTo>
                  <a:lnTo>
                    <a:pt x="818" y="621"/>
                  </a:lnTo>
                  <a:lnTo>
                    <a:pt x="818" y="619"/>
                  </a:lnTo>
                  <a:lnTo>
                    <a:pt x="819" y="616"/>
                  </a:lnTo>
                  <a:lnTo>
                    <a:pt x="819" y="607"/>
                  </a:lnTo>
                  <a:lnTo>
                    <a:pt x="819" y="598"/>
                  </a:lnTo>
                  <a:lnTo>
                    <a:pt x="814" y="588"/>
                  </a:lnTo>
                  <a:lnTo>
                    <a:pt x="808" y="577"/>
                  </a:lnTo>
                  <a:lnTo>
                    <a:pt x="811" y="575"/>
                  </a:lnTo>
                  <a:lnTo>
                    <a:pt x="812" y="575"/>
                  </a:lnTo>
                  <a:lnTo>
                    <a:pt x="812" y="573"/>
                  </a:lnTo>
                  <a:lnTo>
                    <a:pt x="811" y="571"/>
                  </a:lnTo>
                  <a:lnTo>
                    <a:pt x="818" y="570"/>
                  </a:lnTo>
                  <a:lnTo>
                    <a:pt x="824" y="565"/>
                  </a:lnTo>
                  <a:lnTo>
                    <a:pt x="829" y="561"/>
                  </a:lnTo>
                  <a:lnTo>
                    <a:pt x="835" y="557"/>
                  </a:lnTo>
                  <a:lnTo>
                    <a:pt x="835" y="555"/>
                  </a:lnTo>
                  <a:lnTo>
                    <a:pt x="838" y="551"/>
                  </a:lnTo>
                  <a:lnTo>
                    <a:pt x="844" y="545"/>
                  </a:lnTo>
                  <a:lnTo>
                    <a:pt x="850" y="537"/>
                  </a:lnTo>
                  <a:lnTo>
                    <a:pt x="855" y="527"/>
                  </a:lnTo>
                  <a:lnTo>
                    <a:pt x="867" y="505"/>
                  </a:lnTo>
                  <a:lnTo>
                    <a:pt x="876" y="489"/>
                  </a:lnTo>
                  <a:lnTo>
                    <a:pt x="878" y="482"/>
                  </a:lnTo>
                  <a:lnTo>
                    <a:pt x="880" y="475"/>
                  </a:lnTo>
                  <a:lnTo>
                    <a:pt x="886" y="468"/>
                  </a:lnTo>
                  <a:lnTo>
                    <a:pt x="894" y="458"/>
                  </a:lnTo>
                  <a:lnTo>
                    <a:pt x="904" y="438"/>
                  </a:lnTo>
                  <a:lnTo>
                    <a:pt x="913" y="417"/>
                  </a:lnTo>
                  <a:lnTo>
                    <a:pt x="922" y="396"/>
                  </a:lnTo>
                  <a:lnTo>
                    <a:pt x="927" y="374"/>
                  </a:lnTo>
                  <a:lnTo>
                    <a:pt x="936" y="361"/>
                  </a:lnTo>
                  <a:lnTo>
                    <a:pt x="940" y="347"/>
                  </a:lnTo>
                  <a:lnTo>
                    <a:pt x="942" y="341"/>
                  </a:lnTo>
                  <a:lnTo>
                    <a:pt x="943" y="340"/>
                  </a:lnTo>
                  <a:lnTo>
                    <a:pt x="949" y="323"/>
                  </a:lnTo>
                  <a:lnTo>
                    <a:pt x="953" y="305"/>
                  </a:lnTo>
                  <a:lnTo>
                    <a:pt x="958" y="290"/>
                  </a:lnTo>
                  <a:lnTo>
                    <a:pt x="958" y="271"/>
                  </a:lnTo>
                  <a:lnTo>
                    <a:pt x="952" y="261"/>
                  </a:lnTo>
                  <a:lnTo>
                    <a:pt x="945" y="252"/>
                  </a:lnTo>
                  <a:lnTo>
                    <a:pt x="936" y="247"/>
                  </a:lnTo>
                  <a:lnTo>
                    <a:pt x="924" y="241"/>
                  </a:lnTo>
                  <a:lnTo>
                    <a:pt x="917" y="242"/>
                  </a:lnTo>
                  <a:lnTo>
                    <a:pt x="912" y="242"/>
                  </a:lnTo>
                  <a:lnTo>
                    <a:pt x="903" y="248"/>
                  </a:lnTo>
                  <a:lnTo>
                    <a:pt x="896" y="252"/>
                  </a:lnTo>
                  <a:lnTo>
                    <a:pt x="890" y="264"/>
                  </a:lnTo>
                  <a:lnTo>
                    <a:pt x="884" y="274"/>
                  </a:lnTo>
                  <a:lnTo>
                    <a:pt x="881" y="285"/>
                  </a:lnTo>
                  <a:lnTo>
                    <a:pt x="880" y="298"/>
                  </a:lnTo>
                  <a:lnTo>
                    <a:pt x="877" y="305"/>
                  </a:lnTo>
                  <a:lnTo>
                    <a:pt x="876" y="311"/>
                  </a:lnTo>
                  <a:lnTo>
                    <a:pt x="874" y="317"/>
                  </a:lnTo>
                  <a:lnTo>
                    <a:pt x="874" y="321"/>
                  </a:lnTo>
                  <a:lnTo>
                    <a:pt x="873" y="327"/>
                  </a:lnTo>
                  <a:lnTo>
                    <a:pt x="871" y="333"/>
                  </a:lnTo>
                  <a:lnTo>
                    <a:pt x="873" y="336"/>
                  </a:lnTo>
                  <a:lnTo>
                    <a:pt x="874" y="338"/>
                  </a:lnTo>
                  <a:lnTo>
                    <a:pt x="873" y="340"/>
                  </a:lnTo>
                  <a:lnTo>
                    <a:pt x="870" y="340"/>
                  </a:lnTo>
                  <a:lnTo>
                    <a:pt x="871" y="343"/>
                  </a:lnTo>
                  <a:lnTo>
                    <a:pt x="873" y="346"/>
                  </a:lnTo>
                  <a:lnTo>
                    <a:pt x="874" y="346"/>
                  </a:lnTo>
                  <a:lnTo>
                    <a:pt x="876" y="347"/>
                  </a:lnTo>
                  <a:lnTo>
                    <a:pt x="876" y="350"/>
                  </a:lnTo>
                  <a:lnTo>
                    <a:pt x="873" y="350"/>
                  </a:lnTo>
                  <a:lnTo>
                    <a:pt x="870" y="351"/>
                  </a:lnTo>
                  <a:lnTo>
                    <a:pt x="877" y="357"/>
                  </a:lnTo>
                  <a:lnTo>
                    <a:pt x="884" y="363"/>
                  </a:lnTo>
                  <a:lnTo>
                    <a:pt x="884" y="364"/>
                  </a:lnTo>
                  <a:lnTo>
                    <a:pt x="877" y="363"/>
                  </a:lnTo>
                  <a:lnTo>
                    <a:pt x="871" y="364"/>
                  </a:lnTo>
                  <a:lnTo>
                    <a:pt x="867" y="366"/>
                  </a:lnTo>
                  <a:lnTo>
                    <a:pt x="863" y="372"/>
                  </a:lnTo>
                  <a:lnTo>
                    <a:pt x="858" y="374"/>
                  </a:lnTo>
                  <a:lnTo>
                    <a:pt x="857" y="377"/>
                  </a:lnTo>
                  <a:lnTo>
                    <a:pt x="854" y="380"/>
                  </a:lnTo>
                  <a:lnTo>
                    <a:pt x="854" y="384"/>
                  </a:lnTo>
                  <a:lnTo>
                    <a:pt x="851" y="392"/>
                  </a:lnTo>
                  <a:lnTo>
                    <a:pt x="848" y="399"/>
                  </a:lnTo>
                  <a:lnTo>
                    <a:pt x="845" y="400"/>
                  </a:lnTo>
                  <a:lnTo>
                    <a:pt x="847" y="403"/>
                  </a:lnTo>
                  <a:lnTo>
                    <a:pt x="847" y="405"/>
                  </a:lnTo>
                  <a:lnTo>
                    <a:pt x="841" y="412"/>
                  </a:lnTo>
                  <a:lnTo>
                    <a:pt x="838" y="420"/>
                  </a:lnTo>
                  <a:lnTo>
                    <a:pt x="840" y="423"/>
                  </a:lnTo>
                  <a:lnTo>
                    <a:pt x="841" y="426"/>
                  </a:lnTo>
                  <a:lnTo>
                    <a:pt x="848" y="430"/>
                  </a:lnTo>
                  <a:lnTo>
                    <a:pt x="854" y="438"/>
                  </a:lnTo>
                  <a:lnTo>
                    <a:pt x="848" y="436"/>
                  </a:lnTo>
                  <a:lnTo>
                    <a:pt x="844" y="436"/>
                  </a:lnTo>
                  <a:lnTo>
                    <a:pt x="844" y="438"/>
                  </a:lnTo>
                  <a:lnTo>
                    <a:pt x="834" y="440"/>
                  </a:lnTo>
                  <a:lnTo>
                    <a:pt x="825" y="443"/>
                  </a:lnTo>
                  <a:lnTo>
                    <a:pt x="825" y="448"/>
                  </a:lnTo>
                  <a:lnTo>
                    <a:pt x="827" y="450"/>
                  </a:lnTo>
                  <a:lnTo>
                    <a:pt x="829" y="450"/>
                  </a:lnTo>
                  <a:lnTo>
                    <a:pt x="831" y="449"/>
                  </a:lnTo>
                  <a:lnTo>
                    <a:pt x="832" y="452"/>
                  </a:lnTo>
                  <a:lnTo>
                    <a:pt x="832" y="453"/>
                  </a:lnTo>
                  <a:lnTo>
                    <a:pt x="835" y="455"/>
                  </a:lnTo>
                  <a:lnTo>
                    <a:pt x="838" y="456"/>
                  </a:lnTo>
                  <a:lnTo>
                    <a:pt x="838" y="458"/>
                  </a:lnTo>
                  <a:lnTo>
                    <a:pt x="831" y="456"/>
                  </a:lnTo>
                  <a:lnTo>
                    <a:pt x="827" y="453"/>
                  </a:lnTo>
                  <a:lnTo>
                    <a:pt x="821" y="453"/>
                  </a:lnTo>
                  <a:lnTo>
                    <a:pt x="815" y="456"/>
                  </a:lnTo>
                  <a:lnTo>
                    <a:pt x="811" y="459"/>
                  </a:lnTo>
                  <a:lnTo>
                    <a:pt x="808" y="462"/>
                  </a:lnTo>
                  <a:lnTo>
                    <a:pt x="805" y="462"/>
                  </a:lnTo>
                  <a:lnTo>
                    <a:pt x="805" y="465"/>
                  </a:lnTo>
                  <a:lnTo>
                    <a:pt x="802" y="465"/>
                  </a:lnTo>
                  <a:lnTo>
                    <a:pt x="802" y="468"/>
                  </a:lnTo>
                  <a:lnTo>
                    <a:pt x="804" y="468"/>
                  </a:lnTo>
                  <a:lnTo>
                    <a:pt x="802" y="471"/>
                  </a:lnTo>
                  <a:lnTo>
                    <a:pt x="801" y="475"/>
                  </a:lnTo>
                  <a:lnTo>
                    <a:pt x="799" y="475"/>
                  </a:lnTo>
                  <a:lnTo>
                    <a:pt x="799" y="472"/>
                  </a:lnTo>
                  <a:lnTo>
                    <a:pt x="791" y="482"/>
                  </a:lnTo>
                  <a:lnTo>
                    <a:pt x="782" y="492"/>
                  </a:lnTo>
                  <a:lnTo>
                    <a:pt x="779" y="504"/>
                  </a:lnTo>
                  <a:lnTo>
                    <a:pt x="775" y="515"/>
                  </a:lnTo>
                  <a:lnTo>
                    <a:pt x="773" y="517"/>
                  </a:lnTo>
                  <a:lnTo>
                    <a:pt x="770" y="518"/>
                  </a:lnTo>
                  <a:lnTo>
                    <a:pt x="770" y="519"/>
                  </a:lnTo>
                  <a:lnTo>
                    <a:pt x="770" y="522"/>
                  </a:lnTo>
                  <a:lnTo>
                    <a:pt x="773" y="522"/>
                  </a:lnTo>
                  <a:lnTo>
                    <a:pt x="775" y="527"/>
                  </a:lnTo>
                  <a:lnTo>
                    <a:pt x="773" y="527"/>
                  </a:lnTo>
                  <a:lnTo>
                    <a:pt x="770" y="527"/>
                  </a:lnTo>
                  <a:lnTo>
                    <a:pt x="770" y="529"/>
                  </a:lnTo>
                  <a:lnTo>
                    <a:pt x="770" y="532"/>
                  </a:lnTo>
                  <a:lnTo>
                    <a:pt x="768" y="532"/>
                  </a:lnTo>
                  <a:lnTo>
                    <a:pt x="763" y="531"/>
                  </a:lnTo>
                  <a:lnTo>
                    <a:pt x="757" y="531"/>
                  </a:lnTo>
                  <a:lnTo>
                    <a:pt x="757" y="532"/>
                  </a:lnTo>
                  <a:lnTo>
                    <a:pt x="762" y="535"/>
                  </a:lnTo>
                  <a:lnTo>
                    <a:pt x="765" y="540"/>
                  </a:lnTo>
                  <a:lnTo>
                    <a:pt x="769" y="541"/>
                  </a:lnTo>
                  <a:lnTo>
                    <a:pt x="770" y="544"/>
                  </a:lnTo>
                  <a:lnTo>
                    <a:pt x="769" y="544"/>
                  </a:lnTo>
                  <a:lnTo>
                    <a:pt x="766" y="544"/>
                  </a:lnTo>
                  <a:lnTo>
                    <a:pt x="768" y="547"/>
                  </a:lnTo>
                  <a:lnTo>
                    <a:pt x="769" y="550"/>
                  </a:lnTo>
                  <a:lnTo>
                    <a:pt x="763" y="547"/>
                  </a:lnTo>
                  <a:lnTo>
                    <a:pt x="759" y="544"/>
                  </a:lnTo>
                  <a:lnTo>
                    <a:pt x="755" y="544"/>
                  </a:lnTo>
                  <a:lnTo>
                    <a:pt x="750" y="544"/>
                  </a:lnTo>
                  <a:lnTo>
                    <a:pt x="749" y="540"/>
                  </a:lnTo>
                  <a:lnTo>
                    <a:pt x="749" y="535"/>
                  </a:lnTo>
                  <a:lnTo>
                    <a:pt x="732" y="525"/>
                  </a:lnTo>
                  <a:lnTo>
                    <a:pt x="713" y="517"/>
                  </a:lnTo>
                  <a:lnTo>
                    <a:pt x="708" y="517"/>
                  </a:lnTo>
                  <a:lnTo>
                    <a:pt x="706" y="517"/>
                  </a:lnTo>
                  <a:lnTo>
                    <a:pt x="701" y="514"/>
                  </a:lnTo>
                  <a:lnTo>
                    <a:pt x="697" y="514"/>
                  </a:lnTo>
                  <a:lnTo>
                    <a:pt x="697" y="512"/>
                  </a:lnTo>
                  <a:lnTo>
                    <a:pt x="697" y="509"/>
                  </a:lnTo>
                  <a:lnTo>
                    <a:pt x="694" y="509"/>
                  </a:lnTo>
                  <a:lnTo>
                    <a:pt x="694" y="508"/>
                  </a:lnTo>
                  <a:lnTo>
                    <a:pt x="694" y="505"/>
                  </a:lnTo>
                  <a:lnTo>
                    <a:pt x="690" y="504"/>
                  </a:lnTo>
                  <a:lnTo>
                    <a:pt x="685" y="502"/>
                  </a:lnTo>
                  <a:lnTo>
                    <a:pt x="685" y="501"/>
                  </a:lnTo>
                  <a:lnTo>
                    <a:pt x="678" y="502"/>
                  </a:lnTo>
                  <a:lnTo>
                    <a:pt x="674" y="504"/>
                  </a:lnTo>
                  <a:lnTo>
                    <a:pt x="674" y="501"/>
                  </a:lnTo>
                  <a:lnTo>
                    <a:pt x="672" y="498"/>
                  </a:lnTo>
                  <a:lnTo>
                    <a:pt x="677" y="496"/>
                  </a:lnTo>
                  <a:lnTo>
                    <a:pt x="678" y="496"/>
                  </a:lnTo>
                  <a:lnTo>
                    <a:pt x="675" y="495"/>
                  </a:lnTo>
                  <a:lnTo>
                    <a:pt x="672" y="495"/>
                  </a:lnTo>
                  <a:lnTo>
                    <a:pt x="674" y="492"/>
                  </a:lnTo>
                  <a:lnTo>
                    <a:pt x="674" y="489"/>
                  </a:lnTo>
                  <a:lnTo>
                    <a:pt x="672" y="486"/>
                  </a:lnTo>
                  <a:lnTo>
                    <a:pt x="671" y="484"/>
                  </a:lnTo>
                  <a:lnTo>
                    <a:pt x="670" y="481"/>
                  </a:lnTo>
                  <a:lnTo>
                    <a:pt x="667" y="479"/>
                  </a:lnTo>
                  <a:lnTo>
                    <a:pt x="664" y="478"/>
                  </a:lnTo>
                  <a:lnTo>
                    <a:pt x="661" y="479"/>
                  </a:lnTo>
                  <a:lnTo>
                    <a:pt x="661" y="486"/>
                  </a:lnTo>
                  <a:lnTo>
                    <a:pt x="661" y="495"/>
                  </a:lnTo>
                  <a:lnTo>
                    <a:pt x="660" y="496"/>
                  </a:lnTo>
                  <a:lnTo>
                    <a:pt x="657" y="498"/>
                  </a:lnTo>
                  <a:lnTo>
                    <a:pt x="658" y="496"/>
                  </a:lnTo>
                  <a:lnTo>
                    <a:pt x="658" y="494"/>
                  </a:lnTo>
                  <a:lnTo>
                    <a:pt x="652" y="494"/>
                  </a:lnTo>
                  <a:lnTo>
                    <a:pt x="647" y="494"/>
                  </a:lnTo>
                  <a:lnTo>
                    <a:pt x="647" y="489"/>
                  </a:lnTo>
                  <a:lnTo>
                    <a:pt x="649" y="486"/>
                  </a:lnTo>
                  <a:lnTo>
                    <a:pt x="647" y="486"/>
                  </a:lnTo>
                  <a:lnTo>
                    <a:pt x="647" y="485"/>
                  </a:lnTo>
                  <a:lnTo>
                    <a:pt x="647" y="484"/>
                  </a:lnTo>
                  <a:lnTo>
                    <a:pt x="642" y="482"/>
                  </a:lnTo>
                  <a:lnTo>
                    <a:pt x="635" y="482"/>
                  </a:lnTo>
                  <a:lnTo>
                    <a:pt x="635" y="479"/>
                  </a:lnTo>
                  <a:lnTo>
                    <a:pt x="635" y="478"/>
                  </a:lnTo>
                  <a:lnTo>
                    <a:pt x="636" y="478"/>
                  </a:lnTo>
                  <a:lnTo>
                    <a:pt x="639" y="478"/>
                  </a:lnTo>
                  <a:lnTo>
                    <a:pt x="642" y="473"/>
                  </a:lnTo>
                  <a:lnTo>
                    <a:pt x="647" y="472"/>
                  </a:lnTo>
                  <a:lnTo>
                    <a:pt x="647" y="469"/>
                  </a:lnTo>
                  <a:lnTo>
                    <a:pt x="638" y="469"/>
                  </a:lnTo>
                  <a:lnTo>
                    <a:pt x="631" y="471"/>
                  </a:lnTo>
                  <a:lnTo>
                    <a:pt x="631" y="473"/>
                  </a:lnTo>
                  <a:lnTo>
                    <a:pt x="632" y="475"/>
                  </a:lnTo>
                  <a:lnTo>
                    <a:pt x="634" y="475"/>
                  </a:lnTo>
                  <a:lnTo>
                    <a:pt x="635" y="478"/>
                  </a:lnTo>
                  <a:lnTo>
                    <a:pt x="631" y="479"/>
                  </a:lnTo>
                  <a:lnTo>
                    <a:pt x="625" y="481"/>
                  </a:lnTo>
                  <a:lnTo>
                    <a:pt x="625" y="482"/>
                  </a:lnTo>
                  <a:lnTo>
                    <a:pt x="624" y="485"/>
                  </a:lnTo>
                  <a:lnTo>
                    <a:pt x="622" y="485"/>
                  </a:lnTo>
                  <a:lnTo>
                    <a:pt x="622" y="481"/>
                  </a:lnTo>
                  <a:lnTo>
                    <a:pt x="621" y="478"/>
                  </a:lnTo>
                  <a:lnTo>
                    <a:pt x="618" y="478"/>
                  </a:lnTo>
                  <a:lnTo>
                    <a:pt x="615" y="478"/>
                  </a:lnTo>
                  <a:lnTo>
                    <a:pt x="615" y="479"/>
                  </a:lnTo>
                  <a:lnTo>
                    <a:pt x="615" y="482"/>
                  </a:lnTo>
                  <a:lnTo>
                    <a:pt x="611" y="482"/>
                  </a:lnTo>
                  <a:lnTo>
                    <a:pt x="603" y="481"/>
                  </a:lnTo>
                  <a:lnTo>
                    <a:pt x="598" y="478"/>
                  </a:lnTo>
                  <a:lnTo>
                    <a:pt x="595" y="473"/>
                  </a:lnTo>
                  <a:lnTo>
                    <a:pt x="592" y="475"/>
                  </a:lnTo>
                  <a:lnTo>
                    <a:pt x="593" y="476"/>
                  </a:lnTo>
                  <a:lnTo>
                    <a:pt x="583" y="478"/>
                  </a:lnTo>
                  <a:lnTo>
                    <a:pt x="573" y="478"/>
                  </a:lnTo>
                  <a:lnTo>
                    <a:pt x="572" y="481"/>
                  </a:lnTo>
                  <a:lnTo>
                    <a:pt x="570" y="485"/>
                  </a:lnTo>
                  <a:lnTo>
                    <a:pt x="567" y="488"/>
                  </a:lnTo>
                  <a:lnTo>
                    <a:pt x="564" y="489"/>
                  </a:lnTo>
                  <a:lnTo>
                    <a:pt x="564" y="486"/>
                  </a:lnTo>
                  <a:lnTo>
                    <a:pt x="562" y="486"/>
                  </a:lnTo>
                  <a:lnTo>
                    <a:pt x="560" y="488"/>
                  </a:lnTo>
                  <a:lnTo>
                    <a:pt x="557" y="492"/>
                  </a:lnTo>
                  <a:lnTo>
                    <a:pt x="553" y="494"/>
                  </a:lnTo>
                  <a:lnTo>
                    <a:pt x="547" y="495"/>
                  </a:lnTo>
                  <a:lnTo>
                    <a:pt x="541" y="496"/>
                  </a:lnTo>
                  <a:lnTo>
                    <a:pt x="541" y="494"/>
                  </a:lnTo>
                  <a:lnTo>
                    <a:pt x="540" y="495"/>
                  </a:lnTo>
                  <a:lnTo>
                    <a:pt x="539" y="496"/>
                  </a:lnTo>
                  <a:lnTo>
                    <a:pt x="537" y="499"/>
                  </a:lnTo>
                  <a:lnTo>
                    <a:pt x="528" y="498"/>
                  </a:lnTo>
                  <a:lnTo>
                    <a:pt x="520" y="498"/>
                  </a:lnTo>
                  <a:lnTo>
                    <a:pt x="520" y="494"/>
                  </a:lnTo>
                  <a:lnTo>
                    <a:pt x="518" y="491"/>
                  </a:lnTo>
                  <a:lnTo>
                    <a:pt x="526" y="494"/>
                  </a:lnTo>
                  <a:lnTo>
                    <a:pt x="527" y="494"/>
                  </a:lnTo>
                  <a:lnTo>
                    <a:pt x="527" y="491"/>
                  </a:lnTo>
                  <a:lnTo>
                    <a:pt x="524" y="491"/>
                  </a:lnTo>
                  <a:lnTo>
                    <a:pt x="524" y="489"/>
                  </a:lnTo>
                  <a:lnTo>
                    <a:pt x="521" y="488"/>
                  </a:lnTo>
                  <a:lnTo>
                    <a:pt x="518" y="488"/>
                  </a:lnTo>
                  <a:lnTo>
                    <a:pt x="518" y="489"/>
                  </a:lnTo>
                  <a:lnTo>
                    <a:pt x="517" y="492"/>
                  </a:lnTo>
                  <a:lnTo>
                    <a:pt x="514" y="488"/>
                  </a:lnTo>
                  <a:lnTo>
                    <a:pt x="514" y="481"/>
                  </a:lnTo>
                  <a:lnTo>
                    <a:pt x="511" y="481"/>
                  </a:lnTo>
                  <a:lnTo>
                    <a:pt x="510" y="481"/>
                  </a:lnTo>
                  <a:lnTo>
                    <a:pt x="508" y="484"/>
                  </a:lnTo>
                  <a:lnTo>
                    <a:pt x="505" y="484"/>
                  </a:lnTo>
                  <a:lnTo>
                    <a:pt x="498" y="479"/>
                  </a:lnTo>
                  <a:lnTo>
                    <a:pt x="492" y="475"/>
                  </a:lnTo>
                  <a:lnTo>
                    <a:pt x="487" y="473"/>
                  </a:lnTo>
                  <a:lnTo>
                    <a:pt x="478" y="472"/>
                  </a:lnTo>
                  <a:lnTo>
                    <a:pt x="475" y="469"/>
                  </a:lnTo>
                  <a:lnTo>
                    <a:pt x="472" y="469"/>
                  </a:lnTo>
                  <a:lnTo>
                    <a:pt x="471" y="465"/>
                  </a:lnTo>
                  <a:lnTo>
                    <a:pt x="467" y="462"/>
                  </a:lnTo>
                  <a:lnTo>
                    <a:pt x="461" y="462"/>
                  </a:lnTo>
                  <a:lnTo>
                    <a:pt x="455" y="461"/>
                  </a:lnTo>
                  <a:lnTo>
                    <a:pt x="449" y="458"/>
                  </a:lnTo>
                  <a:lnTo>
                    <a:pt x="444" y="455"/>
                  </a:lnTo>
                  <a:lnTo>
                    <a:pt x="438" y="450"/>
                  </a:lnTo>
                  <a:lnTo>
                    <a:pt x="432" y="446"/>
                  </a:lnTo>
                  <a:lnTo>
                    <a:pt x="429" y="442"/>
                  </a:lnTo>
                  <a:lnTo>
                    <a:pt x="425" y="436"/>
                  </a:lnTo>
                  <a:lnTo>
                    <a:pt x="420" y="432"/>
                  </a:lnTo>
                  <a:lnTo>
                    <a:pt x="418" y="426"/>
                  </a:lnTo>
                  <a:lnTo>
                    <a:pt x="412" y="417"/>
                  </a:lnTo>
                  <a:lnTo>
                    <a:pt x="405" y="405"/>
                  </a:lnTo>
                  <a:lnTo>
                    <a:pt x="397" y="386"/>
                  </a:lnTo>
                  <a:lnTo>
                    <a:pt x="390" y="367"/>
                  </a:lnTo>
                  <a:lnTo>
                    <a:pt x="383" y="349"/>
                  </a:lnTo>
                  <a:lnTo>
                    <a:pt x="376" y="330"/>
                  </a:lnTo>
                  <a:lnTo>
                    <a:pt x="370" y="323"/>
                  </a:lnTo>
                  <a:lnTo>
                    <a:pt x="366" y="320"/>
                  </a:lnTo>
                  <a:lnTo>
                    <a:pt x="361" y="320"/>
                  </a:lnTo>
                  <a:lnTo>
                    <a:pt x="354" y="317"/>
                  </a:lnTo>
                  <a:lnTo>
                    <a:pt x="354" y="316"/>
                  </a:lnTo>
                  <a:lnTo>
                    <a:pt x="354" y="313"/>
                  </a:lnTo>
                  <a:lnTo>
                    <a:pt x="351" y="311"/>
                  </a:lnTo>
                  <a:lnTo>
                    <a:pt x="351" y="310"/>
                  </a:lnTo>
                  <a:lnTo>
                    <a:pt x="357" y="307"/>
                  </a:lnTo>
                  <a:lnTo>
                    <a:pt x="360" y="303"/>
                  </a:lnTo>
                  <a:lnTo>
                    <a:pt x="360" y="298"/>
                  </a:lnTo>
                  <a:lnTo>
                    <a:pt x="360" y="293"/>
                  </a:lnTo>
                  <a:lnTo>
                    <a:pt x="354" y="277"/>
                  </a:lnTo>
                  <a:lnTo>
                    <a:pt x="347" y="261"/>
                  </a:lnTo>
                  <a:lnTo>
                    <a:pt x="341" y="244"/>
                  </a:lnTo>
                  <a:lnTo>
                    <a:pt x="337" y="228"/>
                  </a:lnTo>
                  <a:lnTo>
                    <a:pt x="334" y="221"/>
                  </a:lnTo>
                  <a:lnTo>
                    <a:pt x="331" y="212"/>
                  </a:lnTo>
                  <a:lnTo>
                    <a:pt x="327" y="205"/>
                  </a:lnTo>
                  <a:lnTo>
                    <a:pt x="323" y="199"/>
                  </a:lnTo>
                  <a:lnTo>
                    <a:pt x="323" y="198"/>
                  </a:lnTo>
                  <a:lnTo>
                    <a:pt x="323" y="195"/>
                  </a:lnTo>
                  <a:lnTo>
                    <a:pt x="325" y="191"/>
                  </a:lnTo>
                  <a:lnTo>
                    <a:pt x="325" y="183"/>
                  </a:lnTo>
                  <a:lnTo>
                    <a:pt x="325" y="176"/>
                  </a:lnTo>
                  <a:lnTo>
                    <a:pt x="324" y="168"/>
                  </a:lnTo>
                  <a:lnTo>
                    <a:pt x="321" y="150"/>
                  </a:lnTo>
                  <a:lnTo>
                    <a:pt x="318" y="137"/>
                  </a:lnTo>
                  <a:lnTo>
                    <a:pt x="311" y="120"/>
                  </a:lnTo>
                  <a:lnTo>
                    <a:pt x="304" y="107"/>
                  </a:lnTo>
                  <a:lnTo>
                    <a:pt x="300" y="102"/>
                  </a:lnTo>
                  <a:lnTo>
                    <a:pt x="294" y="97"/>
                  </a:lnTo>
                  <a:lnTo>
                    <a:pt x="287" y="93"/>
                  </a:lnTo>
                  <a:lnTo>
                    <a:pt x="276" y="90"/>
                  </a:lnTo>
                  <a:lnTo>
                    <a:pt x="272" y="91"/>
                  </a:lnTo>
                  <a:lnTo>
                    <a:pt x="265" y="94"/>
                  </a:lnTo>
                  <a:lnTo>
                    <a:pt x="258" y="99"/>
                  </a:lnTo>
                  <a:lnTo>
                    <a:pt x="255" y="103"/>
                  </a:lnTo>
                  <a:lnTo>
                    <a:pt x="253" y="103"/>
                  </a:lnTo>
                  <a:lnTo>
                    <a:pt x="253" y="110"/>
                  </a:lnTo>
                  <a:lnTo>
                    <a:pt x="253" y="117"/>
                  </a:lnTo>
                  <a:lnTo>
                    <a:pt x="252" y="117"/>
                  </a:lnTo>
                  <a:lnTo>
                    <a:pt x="249" y="116"/>
                  </a:lnTo>
                  <a:lnTo>
                    <a:pt x="248" y="119"/>
                  </a:lnTo>
                  <a:lnTo>
                    <a:pt x="246" y="120"/>
                  </a:lnTo>
                  <a:lnTo>
                    <a:pt x="246" y="125"/>
                  </a:lnTo>
                  <a:lnTo>
                    <a:pt x="248" y="129"/>
                  </a:lnTo>
                  <a:lnTo>
                    <a:pt x="251" y="133"/>
                  </a:lnTo>
                  <a:lnTo>
                    <a:pt x="253" y="135"/>
                  </a:lnTo>
                  <a:lnTo>
                    <a:pt x="253" y="137"/>
                  </a:lnTo>
                  <a:lnTo>
                    <a:pt x="251" y="142"/>
                  </a:lnTo>
                  <a:lnTo>
                    <a:pt x="252" y="152"/>
                  </a:lnTo>
                  <a:lnTo>
                    <a:pt x="252" y="160"/>
                  </a:lnTo>
                  <a:lnTo>
                    <a:pt x="255" y="165"/>
                  </a:lnTo>
                  <a:lnTo>
                    <a:pt x="256" y="169"/>
                  </a:lnTo>
                  <a:lnTo>
                    <a:pt x="255" y="169"/>
                  </a:lnTo>
                  <a:lnTo>
                    <a:pt x="255" y="168"/>
                  </a:lnTo>
                  <a:lnTo>
                    <a:pt x="253" y="168"/>
                  </a:lnTo>
                  <a:lnTo>
                    <a:pt x="251" y="168"/>
                  </a:lnTo>
                  <a:lnTo>
                    <a:pt x="252" y="170"/>
                  </a:lnTo>
                  <a:lnTo>
                    <a:pt x="253" y="173"/>
                  </a:lnTo>
                  <a:lnTo>
                    <a:pt x="252" y="178"/>
                  </a:lnTo>
                  <a:lnTo>
                    <a:pt x="251" y="183"/>
                  </a:lnTo>
                  <a:lnTo>
                    <a:pt x="252" y="188"/>
                  </a:lnTo>
                  <a:lnTo>
                    <a:pt x="255" y="192"/>
                  </a:lnTo>
                  <a:lnTo>
                    <a:pt x="256" y="202"/>
                  </a:lnTo>
                  <a:lnTo>
                    <a:pt x="259" y="214"/>
                  </a:lnTo>
                  <a:lnTo>
                    <a:pt x="264" y="215"/>
                  </a:lnTo>
                  <a:lnTo>
                    <a:pt x="269" y="218"/>
                  </a:lnTo>
                  <a:lnTo>
                    <a:pt x="269" y="228"/>
                  </a:lnTo>
                  <a:lnTo>
                    <a:pt x="272" y="238"/>
                  </a:lnTo>
                  <a:lnTo>
                    <a:pt x="271" y="238"/>
                  </a:lnTo>
                  <a:lnTo>
                    <a:pt x="271" y="241"/>
                  </a:lnTo>
                  <a:lnTo>
                    <a:pt x="271" y="244"/>
                  </a:lnTo>
                  <a:lnTo>
                    <a:pt x="269" y="244"/>
                  </a:lnTo>
                  <a:lnTo>
                    <a:pt x="269" y="252"/>
                  </a:lnTo>
                  <a:lnTo>
                    <a:pt x="268" y="261"/>
                  </a:lnTo>
                  <a:lnTo>
                    <a:pt x="268" y="270"/>
                  </a:lnTo>
                  <a:lnTo>
                    <a:pt x="271" y="277"/>
                  </a:lnTo>
                  <a:lnTo>
                    <a:pt x="271" y="288"/>
                  </a:lnTo>
                  <a:lnTo>
                    <a:pt x="274" y="300"/>
                  </a:lnTo>
                  <a:lnTo>
                    <a:pt x="275" y="300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76" y="304"/>
                  </a:lnTo>
                  <a:lnTo>
                    <a:pt x="278" y="311"/>
                  </a:lnTo>
                  <a:lnTo>
                    <a:pt x="281" y="320"/>
                  </a:lnTo>
                  <a:lnTo>
                    <a:pt x="284" y="320"/>
                  </a:lnTo>
                  <a:lnTo>
                    <a:pt x="287" y="321"/>
                  </a:lnTo>
                  <a:lnTo>
                    <a:pt x="285" y="324"/>
                  </a:lnTo>
                  <a:lnTo>
                    <a:pt x="282" y="327"/>
                  </a:lnTo>
                  <a:lnTo>
                    <a:pt x="282" y="330"/>
                  </a:lnTo>
                  <a:lnTo>
                    <a:pt x="284" y="333"/>
                  </a:lnTo>
                  <a:lnTo>
                    <a:pt x="285" y="336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41"/>
                  </a:lnTo>
                  <a:lnTo>
                    <a:pt x="292" y="343"/>
                  </a:lnTo>
                  <a:lnTo>
                    <a:pt x="295" y="343"/>
                  </a:lnTo>
                  <a:lnTo>
                    <a:pt x="295" y="346"/>
                  </a:lnTo>
                  <a:lnTo>
                    <a:pt x="295" y="349"/>
                  </a:lnTo>
                  <a:lnTo>
                    <a:pt x="297" y="351"/>
                  </a:lnTo>
                  <a:lnTo>
                    <a:pt x="300" y="353"/>
                  </a:lnTo>
                  <a:lnTo>
                    <a:pt x="300" y="359"/>
                  </a:lnTo>
                  <a:lnTo>
                    <a:pt x="300" y="363"/>
                  </a:lnTo>
                  <a:lnTo>
                    <a:pt x="301" y="369"/>
                  </a:lnTo>
                  <a:lnTo>
                    <a:pt x="305" y="373"/>
                  </a:lnTo>
                  <a:lnTo>
                    <a:pt x="308" y="377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2" y="382"/>
                  </a:lnTo>
                  <a:lnTo>
                    <a:pt x="311" y="383"/>
                  </a:lnTo>
                  <a:lnTo>
                    <a:pt x="311" y="386"/>
                  </a:lnTo>
                  <a:lnTo>
                    <a:pt x="314" y="386"/>
                  </a:lnTo>
                  <a:lnTo>
                    <a:pt x="315" y="386"/>
                  </a:lnTo>
                  <a:lnTo>
                    <a:pt x="314" y="390"/>
                  </a:lnTo>
                  <a:lnTo>
                    <a:pt x="312" y="394"/>
                  </a:lnTo>
                  <a:lnTo>
                    <a:pt x="312" y="400"/>
                  </a:lnTo>
                  <a:lnTo>
                    <a:pt x="314" y="406"/>
                  </a:lnTo>
                  <a:lnTo>
                    <a:pt x="317" y="412"/>
                  </a:lnTo>
                  <a:lnTo>
                    <a:pt x="325" y="422"/>
                  </a:lnTo>
                  <a:lnTo>
                    <a:pt x="333" y="430"/>
                  </a:lnTo>
                  <a:lnTo>
                    <a:pt x="337" y="433"/>
                  </a:lnTo>
                  <a:lnTo>
                    <a:pt x="340" y="436"/>
                  </a:lnTo>
                  <a:lnTo>
                    <a:pt x="344" y="438"/>
                  </a:lnTo>
                  <a:lnTo>
                    <a:pt x="348" y="438"/>
                  </a:lnTo>
                  <a:lnTo>
                    <a:pt x="354" y="445"/>
                  </a:lnTo>
                  <a:lnTo>
                    <a:pt x="360" y="452"/>
                  </a:lnTo>
                  <a:lnTo>
                    <a:pt x="374" y="455"/>
                  </a:lnTo>
                  <a:lnTo>
                    <a:pt x="389" y="458"/>
                  </a:lnTo>
                  <a:lnTo>
                    <a:pt x="396" y="458"/>
                  </a:lnTo>
                  <a:lnTo>
                    <a:pt x="402" y="458"/>
                  </a:lnTo>
                  <a:lnTo>
                    <a:pt x="403" y="458"/>
                  </a:lnTo>
                  <a:lnTo>
                    <a:pt x="406" y="461"/>
                  </a:lnTo>
                  <a:lnTo>
                    <a:pt x="408" y="462"/>
                  </a:lnTo>
                  <a:lnTo>
                    <a:pt x="408" y="466"/>
                  </a:lnTo>
                  <a:lnTo>
                    <a:pt x="415" y="466"/>
                  </a:lnTo>
                  <a:lnTo>
                    <a:pt x="419" y="469"/>
                  </a:lnTo>
                  <a:lnTo>
                    <a:pt x="420" y="471"/>
                  </a:lnTo>
                  <a:lnTo>
                    <a:pt x="422" y="472"/>
                  </a:lnTo>
                  <a:lnTo>
                    <a:pt x="422" y="475"/>
                  </a:lnTo>
                  <a:lnTo>
                    <a:pt x="422" y="479"/>
                  </a:lnTo>
                  <a:lnTo>
                    <a:pt x="423" y="479"/>
                  </a:lnTo>
                  <a:lnTo>
                    <a:pt x="423" y="481"/>
                  </a:lnTo>
                  <a:lnTo>
                    <a:pt x="418" y="482"/>
                  </a:lnTo>
                  <a:lnTo>
                    <a:pt x="413" y="485"/>
                  </a:lnTo>
                  <a:lnTo>
                    <a:pt x="412" y="489"/>
                  </a:lnTo>
                  <a:lnTo>
                    <a:pt x="409" y="495"/>
                  </a:lnTo>
                  <a:lnTo>
                    <a:pt x="406" y="496"/>
                  </a:lnTo>
                  <a:lnTo>
                    <a:pt x="402" y="499"/>
                  </a:lnTo>
                  <a:lnTo>
                    <a:pt x="402" y="504"/>
                  </a:lnTo>
                  <a:lnTo>
                    <a:pt x="400" y="508"/>
                  </a:lnTo>
                  <a:lnTo>
                    <a:pt x="397" y="512"/>
                  </a:lnTo>
                  <a:lnTo>
                    <a:pt x="395" y="517"/>
                  </a:lnTo>
                  <a:lnTo>
                    <a:pt x="395" y="524"/>
                  </a:lnTo>
                  <a:lnTo>
                    <a:pt x="396" y="532"/>
                  </a:lnTo>
                  <a:lnTo>
                    <a:pt x="399" y="532"/>
                  </a:lnTo>
                  <a:lnTo>
                    <a:pt x="400" y="534"/>
                  </a:lnTo>
                  <a:lnTo>
                    <a:pt x="403" y="538"/>
                  </a:lnTo>
                  <a:lnTo>
                    <a:pt x="406" y="542"/>
                  </a:lnTo>
                  <a:lnTo>
                    <a:pt x="408" y="552"/>
                  </a:lnTo>
                  <a:lnTo>
                    <a:pt x="408" y="560"/>
                  </a:lnTo>
                  <a:lnTo>
                    <a:pt x="415" y="564"/>
                  </a:lnTo>
                  <a:lnTo>
                    <a:pt x="422" y="567"/>
                  </a:lnTo>
                  <a:lnTo>
                    <a:pt x="423" y="568"/>
                  </a:lnTo>
                  <a:lnTo>
                    <a:pt x="425" y="571"/>
                  </a:lnTo>
                  <a:lnTo>
                    <a:pt x="432" y="573"/>
                  </a:lnTo>
                  <a:lnTo>
                    <a:pt x="438" y="573"/>
                  </a:lnTo>
                  <a:lnTo>
                    <a:pt x="438" y="574"/>
                  </a:lnTo>
                  <a:lnTo>
                    <a:pt x="438" y="575"/>
                  </a:lnTo>
                  <a:lnTo>
                    <a:pt x="444" y="575"/>
                  </a:lnTo>
                  <a:lnTo>
                    <a:pt x="449" y="574"/>
                  </a:lnTo>
                  <a:lnTo>
                    <a:pt x="451" y="577"/>
                  </a:lnTo>
                  <a:lnTo>
                    <a:pt x="452" y="580"/>
                  </a:lnTo>
                  <a:lnTo>
                    <a:pt x="438" y="580"/>
                  </a:lnTo>
                  <a:lnTo>
                    <a:pt x="423" y="581"/>
                  </a:lnTo>
                  <a:lnTo>
                    <a:pt x="409" y="581"/>
                  </a:lnTo>
                  <a:lnTo>
                    <a:pt x="393" y="583"/>
                  </a:lnTo>
                  <a:lnTo>
                    <a:pt x="393" y="584"/>
                  </a:lnTo>
                  <a:lnTo>
                    <a:pt x="393" y="587"/>
                  </a:lnTo>
                  <a:lnTo>
                    <a:pt x="397" y="587"/>
                  </a:lnTo>
                  <a:lnTo>
                    <a:pt x="400" y="587"/>
                  </a:lnTo>
                  <a:lnTo>
                    <a:pt x="402" y="591"/>
                  </a:lnTo>
                  <a:lnTo>
                    <a:pt x="403" y="596"/>
                  </a:lnTo>
                  <a:lnTo>
                    <a:pt x="405" y="598"/>
                  </a:lnTo>
                  <a:lnTo>
                    <a:pt x="408" y="600"/>
                  </a:lnTo>
                  <a:lnTo>
                    <a:pt x="415" y="603"/>
                  </a:lnTo>
                  <a:lnTo>
                    <a:pt x="425" y="603"/>
                  </a:lnTo>
                  <a:lnTo>
                    <a:pt x="425" y="607"/>
                  </a:lnTo>
                  <a:lnTo>
                    <a:pt x="422" y="611"/>
                  </a:lnTo>
                  <a:lnTo>
                    <a:pt x="422" y="616"/>
                  </a:lnTo>
                  <a:lnTo>
                    <a:pt x="419" y="617"/>
                  </a:lnTo>
                  <a:lnTo>
                    <a:pt x="416" y="619"/>
                  </a:lnTo>
                  <a:lnTo>
                    <a:pt x="416" y="621"/>
                  </a:lnTo>
                  <a:lnTo>
                    <a:pt x="420" y="620"/>
                  </a:lnTo>
                  <a:lnTo>
                    <a:pt x="425" y="620"/>
                  </a:lnTo>
                  <a:lnTo>
                    <a:pt x="426" y="623"/>
                  </a:lnTo>
                  <a:lnTo>
                    <a:pt x="419" y="624"/>
                  </a:lnTo>
                  <a:lnTo>
                    <a:pt x="415" y="629"/>
                  </a:lnTo>
                  <a:lnTo>
                    <a:pt x="413" y="630"/>
                  </a:lnTo>
                  <a:lnTo>
                    <a:pt x="413" y="633"/>
                  </a:lnTo>
                  <a:lnTo>
                    <a:pt x="413" y="636"/>
                  </a:lnTo>
                  <a:lnTo>
                    <a:pt x="413" y="640"/>
                  </a:lnTo>
                  <a:lnTo>
                    <a:pt x="419" y="639"/>
                  </a:lnTo>
                  <a:lnTo>
                    <a:pt x="425" y="637"/>
                  </a:lnTo>
                  <a:lnTo>
                    <a:pt x="423" y="644"/>
                  </a:lnTo>
                  <a:lnTo>
                    <a:pt x="420" y="650"/>
                  </a:lnTo>
                  <a:lnTo>
                    <a:pt x="423" y="653"/>
                  </a:lnTo>
                  <a:lnTo>
                    <a:pt x="426" y="656"/>
                  </a:lnTo>
                  <a:lnTo>
                    <a:pt x="432" y="653"/>
                  </a:lnTo>
                  <a:lnTo>
                    <a:pt x="438" y="649"/>
                  </a:lnTo>
                  <a:lnTo>
                    <a:pt x="444" y="643"/>
                  </a:lnTo>
                  <a:lnTo>
                    <a:pt x="445" y="637"/>
                  </a:lnTo>
                  <a:lnTo>
                    <a:pt x="442" y="636"/>
                  </a:lnTo>
                  <a:lnTo>
                    <a:pt x="439" y="633"/>
                  </a:lnTo>
                  <a:lnTo>
                    <a:pt x="439" y="630"/>
                  </a:lnTo>
                  <a:lnTo>
                    <a:pt x="439" y="626"/>
                  </a:lnTo>
                  <a:lnTo>
                    <a:pt x="448" y="624"/>
                  </a:lnTo>
                  <a:lnTo>
                    <a:pt x="458" y="623"/>
                  </a:lnTo>
                  <a:lnTo>
                    <a:pt x="468" y="623"/>
                  </a:lnTo>
                  <a:lnTo>
                    <a:pt x="477" y="626"/>
                  </a:lnTo>
                  <a:lnTo>
                    <a:pt x="491" y="629"/>
                  </a:lnTo>
                  <a:lnTo>
                    <a:pt x="504" y="634"/>
                  </a:lnTo>
                  <a:lnTo>
                    <a:pt x="517" y="640"/>
                  </a:lnTo>
                  <a:lnTo>
                    <a:pt x="530" y="646"/>
                  </a:lnTo>
                  <a:lnTo>
                    <a:pt x="546" y="653"/>
                  </a:lnTo>
                  <a:lnTo>
                    <a:pt x="563" y="659"/>
                  </a:lnTo>
                  <a:lnTo>
                    <a:pt x="567" y="663"/>
                  </a:lnTo>
                  <a:lnTo>
                    <a:pt x="570" y="666"/>
                  </a:lnTo>
                  <a:lnTo>
                    <a:pt x="575" y="669"/>
                  </a:lnTo>
                  <a:lnTo>
                    <a:pt x="579" y="672"/>
                  </a:lnTo>
                  <a:lnTo>
                    <a:pt x="582" y="675"/>
                  </a:lnTo>
                  <a:lnTo>
                    <a:pt x="583" y="683"/>
                  </a:lnTo>
                  <a:lnTo>
                    <a:pt x="588" y="686"/>
                  </a:lnTo>
                  <a:lnTo>
                    <a:pt x="593" y="690"/>
                  </a:lnTo>
                  <a:lnTo>
                    <a:pt x="598" y="696"/>
                  </a:lnTo>
                  <a:lnTo>
                    <a:pt x="599" y="700"/>
                  </a:lnTo>
                  <a:lnTo>
                    <a:pt x="592" y="703"/>
                  </a:lnTo>
                  <a:lnTo>
                    <a:pt x="586" y="708"/>
                  </a:lnTo>
                  <a:lnTo>
                    <a:pt x="580" y="708"/>
                  </a:lnTo>
                  <a:lnTo>
                    <a:pt x="577" y="710"/>
                  </a:lnTo>
                  <a:lnTo>
                    <a:pt x="573" y="713"/>
                  </a:lnTo>
                  <a:lnTo>
                    <a:pt x="572" y="719"/>
                  </a:lnTo>
                  <a:lnTo>
                    <a:pt x="564" y="719"/>
                  </a:lnTo>
                  <a:lnTo>
                    <a:pt x="560" y="722"/>
                  </a:lnTo>
                  <a:lnTo>
                    <a:pt x="554" y="726"/>
                  </a:lnTo>
                  <a:lnTo>
                    <a:pt x="550" y="731"/>
                  </a:lnTo>
                  <a:lnTo>
                    <a:pt x="550" y="732"/>
                  </a:lnTo>
                  <a:lnTo>
                    <a:pt x="553" y="733"/>
                  </a:lnTo>
                  <a:lnTo>
                    <a:pt x="557" y="733"/>
                  </a:lnTo>
                  <a:lnTo>
                    <a:pt x="554" y="736"/>
                  </a:lnTo>
                  <a:lnTo>
                    <a:pt x="552" y="739"/>
                  </a:lnTo>
                  <a:lnTo>
                    <a:pt x="547" y="739"/>
                  </a:lnTo>
                  <a:lnTo>
                    <a:pt x="543" y="741"/>
                  </a:lnTo>
                  <a:lnTo>
                    <a:pt x="543" y="743"/>
                  </a:lnTo>
                  <a:lnTo>
                    <a:pt x="544" y="746"/>
                  </a:lnTo>
                  <a:lnTo>
                    <a:pt x="540" y="751"/>
                  </a:lnTo>
                  <a:lnTo>
                    <a:pt x="534" y="755"/>
                  </a:lnTo>
                  <a:lnTo>
                    <a:pt x="531" y="759"/>
                  </a:lnTo>
                  <a:lnTo>
                    <a:pt x="531" y="765"/>
                  </a:lnTo>
                  <a:lnTo>
                    <a:pt x="528" y="765"/>
                  </a:lnTo>
                  <a:lnTo>
                    <a:pt x="527" y="766"/>
                  </a:lnTo>
                  <a:lnTo>
                    <a:pt x="526" y="764"/>
                  </a:lnTo>
                  <a:lnTo>
                    <a:pt x="524" y="761"/>
                  </a:lnTo>
                  <a:lnTo>
                    <a:pt x="521" y="761"/>
                  </a:lnTo>
                  <a:lnTo>
                    <a:pt x="518" y="761"/>
                  </a:lnTo>
                  <a:lnTo>
                    <a:pt x="518" y="764"/>
                  </a:lnTo>
                  <a:lnTo>
                    <a:pt x="518" y="768"/>
                  </a:lnTo>
                  <a:lnTo>
                    <a:pt x="513" y="765"/>
                  </a:lnTo>
                  <a:lnTo>
                    <a:pt x="507" y="758"/>
                  </a:lnTo>
                  <a:lnTo>
                    <a:pt x="500" y="755"/>
                  </a:lnTo>
                  <a:lnTo>
                    <a:pt x="491" y="755"/>
                  </a:lnTo>
                  <a:lnTo>
                    <a:pt x="484" y="755"/>
                  </a:lnTo>
                  <a:lnTo>
                    <a:pt x="475" y="756"/>
                  </a:lnTo>
                  <a:lnTo>
                    <a:pt x="467" y="755"/>
                  </a:lnTo>
                  <a:lnTo>
                    <a:pt x="456" y="753"/>
                  </a:lnTo>
                  <a:lnTo>
                    <a:pt x="452" y="752"/>
                  </a:lnTo>
                  <a:lnTo>
                    <a:pt x="446" y="751"/>
                  </a:lnTo>
                  <a:lnTo>
                    <a:pt x="439" y="751"/>
                  </a:lnTo>
                  <a:lnTo>
                    <a:pt x="435" y="751"/>
                  </a:lnTo>
                  <a:lnTo>
                    <a:pt x="429" y="755"/>
                  </a:lnTo>
                  <a:lnTo>
                    <a:pt x="422" y="755"/>
                  </a:lnTo>
                  <a:lnTo>
                    <a:pt x="415" y="755"/>
                  </a:lnTo>
                  <a:lnTo>
                    <a:pt x="409" y="755"/>
                  </a:lnTo>
                  <a:lnTo>
                    <a:pt x="409" y="752"/>
                  </a:lnTo>
                  <a:lnTo>
                    <a:pt x="419" y="751"/>
                  </a:lnTo>
                  <a:lnTo>
                    <a:pt x="429" y="746"/>
                  </a:lnTo>
                  <a:lnTo>
                    <a:pt x="428" y="745"/>
                  </a:lnTo>
                  <a:lnTo>
                    <a:pt x="410" y="749"/>
                  </a:lnTo>
                  <a:lnTo>
                    <a:pt x="393" y="752"/>
                  </a:lnTo>
                  <a:lnTo>
                    <a:pt x="393" y="751"/>
                  </a:lnTo>
                  <a:lnTo>
                    <a:pt x="400" y="748"/>
                  </a:lnTo>
                  <a:lnTo>
                    <a:pt x="408" y="745"/>
                  </a:lnTo>
                  <a:lnTo>
                    <a:pt x="425" y="742"/>
                  </a:lnTo>
                  <a:lnTo>
                    <a:pt x="441" y="736"/>
                  </a:lnTo>
                  <a:lnTo>
                    <a:pt x="431" y="738"/>
                  </a:lnTo>
                  <a:lnTo>
                    <a:pt x="419" y="738"/>
                  </a:lnTo>
                  <a:lnTo>
                    <a:pt x="423" y="735"/>
                  </a:lnTo>
                  <a:lnTo>
                    <a:pt x="428" y="733"/>
                  </a:lnTo>
                  <a:lnTo>
                    <a:pt x="428" y="732"/>
                  </a:lnTo>
                  <a:lnTo>
                    <a:pt x="420" y="731"/>
                  </a:lnTo>
                  <a:lnTo>
                    <a:pt x="413" y="732"/>
                  </a:lnTo>
                  <a:lnTo>
                    <a:pt x="413" y="733"/>
                  </a:lnTo>
                  <a:lnTo>
                    <a:pt x="408" y="735"/>
                  </a:lnTo>
                  <a:lnTo>
                    <a:pt x="403" y="736"/>
                  </a:lnTo>
                  <a:lnTo>
                    <a:pt x="412" y="732"/>
                  </a:lnTo>
                  <a:lnTo>
                    <a:pt x="419" y="728"/>
                  </a:lnTo>
                  <a:lnTo>
                    <a:pt x="418" y="726"/>
                  </a:lnTo>
                  <a:lnTo>
                    <a:pt x="415" y="726"/>
                  </a:lnTo>
                  <a:lnTo>
                    <a:pt x="410" y="728"/>
                  </a:lnTo>
                  <a:lnTo>
                    <a:pt x="406" y="729"/>
                  </a:lnTo>
                  <a:lnTo>
                    <a:pt x="405" y="732"/>
                  </a:lnTo>
                  <a:lnTo>
                    <a:pt x="392" y="733"/>
                  </a:lnTo>
                  <a:lnTo>
                    <a:pt x="380" y="735"/>
                  </a:lnTo>
                  <a:lnTo>
                    <a:pt x="372" y="736"/>
                  </a:lnTo>
                  <a:lnTo>
                    <a:pt x="357" y="739"/>
                  </a:lnTo>
                  <a:lnTo>
                    <a:pt x="344" y="743"/>
                  </a:lnTo>
                  <a:lnTo>
                    <a:pt x="334" y="748"/>
                  </a:lnTo>
                  <a:lnTo>
                    <a:pt x="336" y="751"/>
                  </a:lnTo>
                  <a:lnTo>
                    <a:pt x="333" y="751"/>
                  </a:lnTo>
                  <a:lnTo>
                    <a:pt x="331" y="752"/>
                  </a:lnTo>
                  <a:lnTo>
                    <a:pt x="331" y="755"/>
                  </a:lnTo>
                  <a:lnTo>
                    <a:pt x="331" y="758"/>
                  </a:lnTo>
                  <a:lnTo>
                    <a:pt x="327" y="758"/>
                  </a:lnTo>
                  <a:lnTo>
                    <a:pt x="323" y="759"/>
                  </a:lnTo>
                  <a:lnTo>
                    <a:pt x="318" y="762"/>
                  </a:lnTo>
                  <a:lnTo>
                    <a:pt x="315" y="765"/>
                  </a:lnTo>
                  <a:lnTo>
                    <a:pt x="317" y="766"/>
                  </a:lnTo>
                  <a:lnTo>
                    <a:pt x="318" y="769"/>
                  </a:lnTo>
                  <a:lnTo>
                    <a:pt x="311" y="772"/>
                  </a:lnTo>
                  <a:lnTo>
                    <a:pt x="304" y="775"/>
                  </a:lnTo>
                  <a:lnTo>
                    <a:pt x="298" y="787"/>
                  </a:lnTo>
                  <a:lnTo>
                    <a:pt x="292" y="798"/>
                  </a:lnTo>
                  <a:lnTo>
                    <a:pt x="289" y="799"/>
                  </a:lnTo>
                  <a:lnTo>
                    <a:pt x="289" y="797"/>
                  </a:lnTo>
                  <a:lnTo>
                    <a:pt x="289" y="794"/>
                  </a:lnTo>
                  <a:lnTo>
                    <a:pt x="284" y="797"/>
                  </a:lnTo>
                  <a:lnTo>
                    <a:pt x="282" y="801"/>
                  </a:lnTo>
                  <a:lnTo>
                    <a:pt x="278" y="799"/>
                  </a:lnTo>
                  <a:lnTo>
                    <a:pt x="275" y="799"/>
                  </a:lnTo>
                  <a:lnTo>
                    <a:pt x="276" y="795"/>
                  </a:lnTo>
                  <a:lnTo>
                    <a:pt x="276" y="789"/>
                  </a:lnTo>
                  <a:lnTo>
                    <a:pt x="274" y="791"/>
                  </a:lnTo>
                  <a:lnTo>
                    <a:pt x="272" y="794"/>
                  </a:lnTo>
                  <a:lnTo>
                    <a:pt x="271" y="797"/>
                  </a:lnTo>
                  <a:lnTo>
                    <a:pt x="268" y="799"/>
                  </a:lnTo>
                  <a:lnTo>
                    <a:pt x="265" y="799"/>
                  </a:lnTo>
                  <a:lnTo>
                    <a:pt x="259" y="802"/>
                  </a:lnTo>
                  <a:lnTo>
                    <a:pt x="256" y="805"/>
                  </a:lnTo>
                  <a:lnTo>
                    <a:pt x="252" y="805"/>
                  </a:lnTo>
                  <a:lnTo>
                    <a:pt x="248" y="805"/>
                  </a:lnTo>
                  <a:lnTo>
                    <a:pt x="245" y="807"/>
                  </a:lnTo>
                  <a:lnTo>
                    <a:pt x="242" y="811"/>
                  </a:lnTo>
                  <a:lnTo>
                    <a:pt x="239" y="812"/>
                  </a:lnTo>
                  <a:lnTo>
                    <a:pt x="238" y="814"/>
                  </a:lnTo>
                  <a:lnTo>
                    <a:pt x="238" y="817"/>
                  </a:lnTo>
                  <a:lnTo>
                    <a:pt x="238" y="820"/>
                  </a:lnTo>
                  <a:lnTo>
                    <a:pt x="242" y="825"/>
                  </a:lnTo>
                  <a:lnTo>
                    <a:pt x="248" y="831"/>
                  </a:lnTo>
                  <a:lnTo>
                    <a:pt x="255" y="838"/>
                  </a:lnTo>
                  <a:lnTo>
                    <a:pt x="264" y="843"/>
                  </a:lnTo>
                  <a:lnTo>
                    <a:pt x="268" y="844"/>
                  </a:lnTo>
                  <a:lnTo>
                    <a:pt x="272" y="844"/>
                  </a:lnTo>
                  <a:lnTo>
                    <a:pt x="275" y="844"/>
                  </a:lnTo>
                  <a:lnTo>
                    <a:pt x="279" y="843"/>
                  </a:lnTo>
                  <a:lnTo>
                    <a:pt x="276" y="848"/>
                  </a:lnTo>
                  <a:lnTo>
                    <a:pt x="276" y="855"/>
                  </a:lnTo>
                  <a:lnTo>
                    <a:pt x="278" y="861"/>
                  </a:lnTo>
                  <a:lnTo>
                    <a:pt x="279" y="867"/>
                  </a:lnTo>
                  <a:lnTo>
                    <a:pt x="285" y="878"/>
                  </a:lnTo>
                  <a:lnTo>
                    <a:pt x="292" y="888"/>
                  </a:lnTo>
                  <a:lnTo>
                    <a:pt x="302" y="894"/>
                  </a:lnTo>
                  <a:lnTo>
                    <a:pt x="311" y="900"/>
                  </a:lnTo>
                  <a:lnTo>
                    <a:pt x="324" y="911"/>
                  </a:lnTo>
                  <a:lnTo>
                    <a:pt x="338" y="922"/>
                  </a:lnTo>
                  <a:lnTo>
                    <a:pt x="353" y="933"/>
                  </a:lnTo>
                  <a:lnTo>
                    <a:pt x="369" y="940"/>
                  </a:lnTo>
                  <a:lnTo>
                    <a:pt x="373" y="944"/>
                  </a:lnTo>
                  <a:lnTo>
                    <a:pt x="380" y="947"/>
                  </a:lnTo>
                  <a:lnTo>
                    <a:pt x="387" y="949"/>
                  </a:lnTo>
                  <a:lnTo>
                    <a:pt x="393" y="949"/>
                  </a:lnTo>
                  <a:lnTo>
                    <a:pt x="400" y="955"/>
                  </a:lnTo>
                  <a:lnTo>
                    <a:pt x="410" y="956"/>
                  </a:lnTo>
                  <a:lnTo>
                    <a:pt x="419" y="957"/>
                  </a:lnTo>
                  <a:lnTo>
                    <a:pt x="429" y="959"/>
                  </a:lnTo>
                  <a:lnTo>
                    <a:pt x="433" y="965"/>
                  </a:lnTo>
                  <a:lnTo>
                    <a:pt x="441" y="967"/>
                  </a:lnTo>
                  <a:lnTo>
                    <a:pt x="442" y="970"/>
                  </a:lnTo>
                  <a:lnTo>
                    <a:pt x="442" y="972"/>
                  </a:lnTo>
                  <a:lnTo>
                    <a:pt x="454" y="972"/>
                  </a:lnTo>
                  <a:lnTo>
                    <a:pt x="465" y="969"/>
                  </a:lnTo>
                  <a:lnTo>
                    <a:pt x="472" y="975"/>
                  </a:lnTo>
                  <a:lnTo>
                    <a:pt x="481" y="978"/>
                  </a:lnTo>
                  <a:lnTo>
                    <a:pt x="490" y="982"/>
                  </a:lnTo>
                  <a:lnTo>
                    <a:pt x="495" y="986"/>
                  </a:lnTo>
                  <a:lnTo>
                    <a:pt x="503" y="988"/>
                  </a:lnTo>
                  <a:lnTo>
                    <a:pt x="513" y="988"/>
                  </a:lnTo>
                  <a:lnTo>
                    <a:pt x="511" y="990"/>
                  </a:lnTo>
                  <a:lnTo>
                    <a:pt x="511" y="993"/>
                  </a:lnTo>
                  <a:lnTo>
                    <a:pt x="511" y="995"/>
                  </a:lnTo>
                  <a:lnTo>
                    <a:pt x="513" y="996"/>
                  </a:lnTo>
                  <a:lnTo>
                    <a:pt x="517" y="998"/>
                  </a:lnTo>
                  <a:lnTo>
                    <a:pt x="523" y="999"/>
                  </a:lnTo>
                  <a:lnTo>
                    <a:pt x="527" y="1003"/>
                  </a:lnTo>
                  <a:lnTo>
                    <a:pt x="533" y="1006"/>
                  </a:lnTo>
                  <a:lnTo>
                    <a:pt x="549" y="1006"/>
                  </a:lnTo>
                  <a:lnTo>
                    <a:pt x="564" y="1008"/>
                  </a:lnTo>
                  <a:lnTo>
                    <a:pt x="580" y="1009"/>
                  </a:lnTo>
                  <a:lnTo>
                    <a:pt x="596" y="1009"/>
                  </a:lnTo>
                  <a:lnTo>
                    <a:pt x="603" y="1012"/>
                  </a:lnTo>
                  <a:lnTo>
                    <a:pt x="612" y="1013"/>
                  </a:lnTo>
                  <a:lnTo>
                    <a:pt x="619" y="1013"/>
                  </a:lnTo>
                  <a:lnTo>
                    <a:pt x="628" y="1013"/>
                  </a:lnTo>
                  <a:close/>
                  <a:moveTo>
                    <a:pt x="567" y="848"/>
                  </a:moveTo>
                  <a:lnTo>
                    <a:pt x="567" y="848"/>
                  </a:lnTo>
                  <a:lnTo>
                    <a:pt x="570" y="844"/>
                  </a:lnTo>
                  <a:lnTo>
                    <a:pt x="572" y="838"/>
                  </a:lnTo>
                  <a:lnTo>
                    <a:pt x="569" y="838"/>
                  </a:lnTo>
                  <a:lnTo>
                    <a:pt x="567" y="841"/>
                  </a:lnTo>
                  <a:lnTo>
                    <a:pt x="566" y="844"/>
                  </a:lnTo>
                  <a:lnTo>
                    <a:pt x="566" y="848"/>
                  </a:lnTo>
                  <a:lnTo>
                    <a:pt x="567" y="848"/>
                  </a:lnTo>
                  <a:close/>
                  <a:moveTo>
                    <a:pt x="575" y="834"/>
                  </a:moveTo>
                  <a:lnTo>
                    <a:pt x="575" y="834"/>
                  </a:lnTo>
                  <a:lnTo>
                    <a:pt x="575" y="831"/>
                  </a:lnTo>
                  <a:lnTo>
                    <a:pt x="585" y="825"/>
                  </a:lnTo>
                  <a:lnTo>
                    <a:pt x="596" y="815"/>
                  </a:lnTo>
                  <a:lnTo>
                    <a:pt x="600" y="809"/>
                  </a:lnTo>
                  <a:lnTo>
                    <a:pt x="605" y="805"/>
                  </a:lnTo>
                  <a:lnTo>
                    <a:pt x="605" y="802"/>
                  </a:lnTo>
                  <a:lnTo>
                    <a:pt x="605" y="799"/>
                  </a:lnTo>
                  <a:lnTo>
                    <a:pt x="605" y="797"/>
                  </a:lnTo>
                  <a:lnTo>
                    <a:pt x="603" y="794"/>
                  </a:lnTo>
                  <a:lnTo>
                    <a:pt x="606" y="791"/>
                  </a:lnTo>
                  <a:lnTo>
                    <a:pt x="611" y="789"/>
                  </a:lnTo>
                  <a:lnTo>
                    <a:pt x="618" y="775"/>
                  </a:lnTo>
                  <a:lnTo>
                    <a:pt x="626" y="761"/>
                  </a:lnTo>
                  <a:lnTo>
                    <a:pt x="631" y="755"/>
                  </a:lnTo>
                  <a:lnTo>
                    <a:pt x="636" y="748"/>
                  </a:lnTo>
                  <a:lnTo>
                    <a:pt x="642" y="743"/>
                  </a:lnTo>
                  <a:lnTo>
                    <a:pt x="649" y="738"/>
                  </a:lnTo>
                  <a:lnTo>
                    <a:pt x="652" y="726"/>
                  </a:lnTo>
                  <a:lnTo>
                    <a:pt x="655" y="715"/>
                  </a:lnTo>
                  <a:lnTo>
                    <a:pt x="661" y="705"/>
                  </a:lnTo>
                  <a:lnTo>
                    <a:pt x="668" y="695"/>
                  </a:lnTo>
                  <a:lnTo>
                    <a:pt x="670" y="690"/>
                  </a:lnTo>
                  <a:lnTo>
                    <a:pt x="670" y="689"/>
                  </a:lnTo>
                  <a:lnTo>
                    <a:pt x="655" y="706"/>
                  </a:lnTo>
                  <a:lnTo>
                    <a:pt x="644" y="722"/>
                  </a:lnTo>
                  <a:lnTo>
                    <a:pt x="636" y="723"/>
                  </a:lnTo>
                  <a:lnTo>
                    <a:pt x="632" y="726"/>
                  </a:lnTo>
                  <a:lnTo>
                    <a:pt x="629" y="731"/>
                  </a:lnTo>
                  <a:lnTo>
                    <a:pt x="626" y="739"/>
                  </a:lnTo>
                  <a:lnTo>
                    <a:pt x="618" y="748"/>
                  </a:lnTo>
                  <a:lnTo>
                    <a:pt x="611" y="758"/>
                  </a:lnTo>
                  <a:lnTo>
                    <a:pt x="606" y="766"/>
                  </a:lnTo>
                  <a:lnTo>
                    <a:pt x="599" y="772"/>
                  </a:lnTo>
                  <a:lnTo>
                    <a:pt x="598" y="776"/>
                  </a:lnTo>
                  <a:lnTo>
                    <a:pt x="596" y="779"/>
                  </a:lnTo>
                  <a:lnTo>
                    <a:pt x="593" y="781"/>
                  </a:lnTo>
                  <a:lnTo>
                    <a:pt x="589" y="782"/>
                  </a:lnTo>
                  <a:lnTo>
                    <a:pt x="589" y="785"/>
                  </a:lnTo>
                  <a:lnTo>
                    <a:pt x="592" y="788"/>
                  </a:lnTo>
                  <a:lnTo>
                    <a:pt x="593" y="792"/>
                  </a:lnTo>
                  <a:lnTo>
                    <a:pt x="592" y="797"/>
                  </a:lnTo>
                  <a:lnTo>
                    <a:pt x="590" y="802"/>
                  </a:lnTo>
                  <a:lnTo>
                    <a:pt x="585" y="808"/>
                  </a:lnTo>
                  <a:lnTo>
                    <a:pt x="579" y="818"/>
                  </a:lnTo>
                  <a:lnTo>
                    <a:pt x="573" y="827"/>
                  </a:lnTo>
                  <a:lnTo>
                    <a:pt x="572" y="834"/>
                  </a:lnTo>
                  <a:lnTo>
                    <a:pt x="575" y="834"/>
                  </a:lnTo>
                  <a:close/>
                  <a:moveTo>
                    <a:pt x="531" y="802"/>
                  </a:moveTo>
                  <a:lnTo>
                    <a:pt x="531" y="802"/>
                  </a:lnTo>
                  <a:lnTo>
                    <a:pt x="531" y="801"/>
                  </a:lnTo>
                  <a:lnTo>
                    <a:pt x="531" y="799"/>
                  </a:lnTo>
                  <a:lnTo>
                    <a:pt x="531" y="799"/>
                  </a:lnTo>
                  <a:lnTo>
                    <a:pt x="528" y="799"/>
                  </a:lnTo>
                  <a:lnTo>
                    <a:pt x="530" y="801"/>
                  </a:lnTo>
                  <a:lnTo>
                    <a:pt x="531" y="802"/>
                  </a:lnTo>
                  <a:close/>
                  <a:moveTo>
                    <a:pt x="229" y="808"/>
                  </a:moveTo>
                  <a:lnTo>
                    <a:pt x="229" y="808"/>
                  </a:lnTo>
                  <a:lnTo>
                    <a:pt x="233" y="804"/>
                  </a:lnTo>
                  <a:lnTo>
                    <a:pt x="233" y="797"/>
                  </a:lnTo>
                  <a:lnTo>
                    <a:pt x="236" y="795"/>
                  </a:lnTo>
                  <a:lnTo>
                    <a:pt x="236" y="788"/>
                  </a:lnTo>
                  <a:lnTo>
                    <a:pt x="235" y="782"/>
                  </a:lnTo>
                  <a:lnTo>
                    <a:pt x="238" y="779"/>
                  </a:lnTo>
                  <a:lnTo>
                    <a:pt x="239" y="775"/>
                  </a:lnTo>
                  <a:lnTo>
                    <a:pt x="238" y="772"/>
                  </a:lnTo>
                  <a:lnTo>
                    <a:pt x="238" y="768"/>
                  </a:lnTo>
                  <a:lnTo>
                    <a:pt x="240" y="764"/>
                  </a:lnTo>
                  <a:lnTo>
                    <a:pt x="240" y="759"/>
                  </a:lnTo>
                  <a:lnTo>
                    <a:pt x="235" y="756"/>
                  </a:lnTo>
                  <a:lnTo>
                    <a:pt x="230" y="753"/>
                  </a:lnTo>
                  <a:lnTo>
                    <a:pt x="233" y="752"/>
                  </a:lnTo>
                  <a:lnTo>
                    <a:pt x="230" y="749"/>
                  </a:lnTo>
                  <a:lnTo>
                    <a:pt x="220" y="743"/>
                  </a:lnTo>
                  <a:lnTo>
                    <a:pt x="220" y="742"/>
                  </a:lnTo>
                  <a:lnTo>
                    <a:pt x="219" y="739"/>
                  </a:lnTo>
                  <a:lnTo>
                    <a:pt x="222" y="738"/>
                  </a:lnTo>
                  <a:lnTo>
                    <a:pt x="223" y="736"/>
                  </a:lnTo>
                  <a:lnTo>
                    <a:pt x="223" y="735"/>
                  </a:lnTo>
                  <a:lnTo>
                    <a:pt x="220" y="732"/>
                  </a:lnTo>
                  <a:lnTo>
                    <a:pt x="220" y="731"/>
                  </a:lnTo>
                  <a:lnTo>
                    <a:pt x="219" y="729"/>
                  </a:lnTo>
                  <a:lnTo>
                    <a:pt x="222" y="728"/>
                  </a:lnTo>
                  <a:lnTo>
                    <a:pt x="222" y="725"/>
                  </a:lnTo>
                  <a:lnTo>
                    <a:pt x="219" y="722"/>
                  </a:lnTo>
                  <a:lnTo>
                    <a:pt x="217" y="719"/>
                  </a:lnTo>
                  <a:lnTo>
                    <a:pt x="212" y="715"/>
                  </a:lnTo>
                  <a:lnTo>
                    <a:pt x="207" y="710"/>
                  </a:lnTo>
                  <a:lnTo>
                    <a:pt x="207" y="706"/>
                  </a:lnTo>
                  <a:lnTo>
                    <a:pt x="206" y="702"/>
                  </a:lnTo>
                  <a:lnTo>
                    <a:pt x="203" y="699"/>
                  </a:lnTo>
                  <a:lnTo>
                    <a:pt x="199" y="697"/>
                  </a:lnTo>
                  <a:lnTo>
                    <a:pt x="194" y="693"/>
                  </a:lnTo>
                  <a:lnTo>
                    <a:pt x="181" y="683"/>
                  </a:lnTo>
                  <a:lnTo>
                    <a:pt x="179" y="683"/>
                  </a:lnTo>
                  <a:lnTo>
                    <a:pt x="174" y="685"/>
                  </a:lnTo>
                  <a:lnTo>
                    <a:pt x="164" y="680"/>
                  </a:lnTo>
                  <a:lnTo>
                    <a:pt x="156" y="676"/>
                  </a:lnTo>
                  <a:lnTo>
                    <a:pt x="153" y="675"/>
                  </a:lnTo>
                  <a:lnTo>
                    <a:pt x="150" y="676"/>
                  </a:lnTo>
                  <a:lnTo>
                    <a:pt x="150" y="669"/>
                  </a:lnTo>
                  <a:lnTo>
                    <a:pt x="151" y="660"/>
                  </a:lnTo>
                  <a:lnTo>
                    <a:pt x="145" y="660"/>
                  </a:lnTo>
                  <a:lnTo>
                    <a:pt x="141" y="657"/>
                  </a:lnTo>
                  <a:lnTo>
                    <a:pt x="141" y="653"/>
                  </a:lnTo>
                  <a:lnTo>
                    <a:pt x="141" y="649"/>
                  </a:lnTo>
                  <a:lnTo>
                    <a:pt x="132" y="640"/>
                  </a:lnTo>
                  <a:lnTo>
                    <a:pt x="130" y="637"/>
                  </a:lnTo>
                  <a:lnTo>
                    <a:pt x="120" y="637"/>
                  </a:lnTo>
                  <a:lnTo>
                    <a:pt x="111" y="636"/>
                  </a:lnTo>
                  <a:lnTo>
                    <a:pt x="111" y="633"/>
                  </a:lnTo>
                  <a:lnTo>
                    <a:pt x="111" y="630"/>
                  </a:lnTo>
                  <a:lnTo>
                    <a:pt x="109" y="630"/>
                  </a:lnTo>
                  <a:lnTo>
                    <a:pt x="107" y="630"/>
                  </a:lnTo>
                  <a:lnTo>
                    <a:pt x="107" y="633"/>
                  </a:lnTo>
                  <a:lnTo>
                    <a:pt x="104" y="633"/>
                  </a:lnTo>
                  <a:lnTo>
                    <a:pt x="104" y="630"/>
                  </a:lnTo>
                  <a:lnTo>
                    <a:pt x="104" y="629"/>
                  </a:lnTo>
                  <a:lnTo>
                    <a:pt x="94" y="624"/>
                  </a:lnTo>
                  <a:lnTo>
                    <a:pt x="82" y="621"/>
                  </a:lnTo>
                  <a:lnTo>
                    <a:pt x="81" y="623"/>
                  </a:lnTo>
                  <a:lnTo>
                    <a:pt x="76" y="616"/>
                  </a:lnTo>
                  <a:lnTo>
                    <a:pt x="73" y="610"/>
                  </a:lnTo>
                  <a:lnTo>
                    <a:pt x="71" y="610"/>
                  </a:lnTo>
                  <a:lnTo>
                    <a:pt x="68" y="607"/>
                  </a:lnTo>
                  <a:lnTo>
                    <a:pt x="65" y="606"/>
                  </a:lnTo>
                  <a:lnTo>
                    <a:pt x="62" y="604"/>
                  </a:lnTo>
                  <a:lnTo>
                    <a:pt x="58" y="603"/>
                  </a:lnTo>
                  <a:lnTo>
                    <a:pt x="50" y="601"/>
                  </a:lnTo>
                  <a:lnTo>
                    <a:pt x="43" y="601"/>
                  </a:lnTo>
                  <a:lnTo>
                    <a:pt x="39" y="604"/>
                  </a:lnTo>
                  <a:lnTo>
                    <a:pt x="33" y="604"/>
                  </a:lnTo>
                  <a:lnTo>
                    <a:pt x="27" y="604"/>
                  </a:lnTo>
                  <a:lnTo>
                    <a:pt x="23" y="604"/>
                  </a:lnTo>
                  <a:lnTo>
                    <a:pt x="22" y="608"/>
                  </a:lnTo>
                  <a:lnTo>
                    <a:pt x="20" y="613"/>
                  </a:lnTo>
                  <a:lnTo>
                    <a:pt x="17" y="611"/>
                  </a:lnTo>
                  <a:lnTo>
                    <a:pt x="14" y="611"/>
                  </a:lnTo>
                  <a:lnTo>
                    <a:pt x="16" y="614"/>
                  </a:lnTo>
                  <a:lnTo>
                    <a:pt x="17" y="616"/>
                  </a:lnTo>
                  <a:lnTo>
                    <a:pt x="14" y="617"/>
                  </a:lnTo>
                  <a:lnTo>
                    <a:pt x="14" y="619"/>
                  </a:lnTo>
                  <a:lnTo>
                    <a:pt x="14" y="621"/>
                  </a:lnTo>
                  <a:lnTo>
                    <a:pt x="7" y="621"/>
                  </a:lnTo>
                  <a:lnTo>
                    <a:pt x="0" y="621"/>
                  </a:lnTo>
                  <a:lnTo>
                    <a:pt x="0" y="624"/>
                  </a:lnTo>
                  <a:lnTo>
                    <a:pt x="0" y="627"/>
                  </a:lnTo>
                  <a:lnTo>
                    <a:pt x="1" y="630"/>
                  </a:lnTo>
                  <a:lnTo>
                    <a:pt x="4" y="634"/>
                  </a:lnTo>
                  <a:lnTo>
                    <a:pt x="9" y="640"/>
                  </a:lnTo>
                  <a:lnTo>
                    <a:pt x="16" y="647"/>
                  </a:lnTo>
                  <a:lnTo>
                    <a:pt x="32" y="660"/>
                  </a:lnTo>
                  <a:lnTo>
                    <a:pt x="40" y="670"/>
                  </a:lnTo>
                  <a:lnTo>
                    <a:pt x="55" y="680"/>
                  </a:lnTo>
                  <a:lnTo>
                    <a:pt x="68" y="692"/>
                  </a:lnTo>
                  <a:lnTo>
                    <a:pt x="82" y="703"/>
                  </a:lnTo>
                  <a:lnTo>
                    <a:pt x="95" y="715"/>
                  </a:lnTo>
                  <a:lnTo>
                    <a:pt x="99" y="715"/>
                  </a:lnTo>
                  <a:lnTo>
                    <a:pt x="104" y="718"/>
                  </a:lnTo>
                  <a:lnTo>
                    <a:pt x="107" y="719"/>
                  </a:lnTo>
                  <a:lnTo>
                    <a:pt x="109" y="723"/>
                  </a:lnTo>
                  <a:lnTo>
                    <a:pt x="122" y="732"/>
                  </a:lnTo>
                  <a:lnTo>
                    <a:pt x="134" y="741"/>
                  </a:lnTo>
                  <a:lnTo>
                    <a:pt x="153" y="751"/>
                  </a:lnTo>
                  <a:lnTo>
                    <a:pt x="171" y="762"/>
                  </a:lnTo>
                  <a:lnTo>
                    <a:pt x="180" y="768"/>
                  </a:lnTo>
                  <a:lnTo>
                    <a:pt x="189" y="774"/>
                  </a:lnTo>
                  <a:lnTo>
                    <a:pt x="193" y="774"/>
                  </a:lnTo>
                  <a:lnTo>
                    <a:pt x="197" y="774"/>
                  </a:lnTo>
                  <a:lnTo>
                    <a:pt x="199" y="776"/>
                  </a:lnTo>
                  <a:lnTo>
                    <a:pt x="202" y="781"/>
                  </a:lnTo>
                  <a:lnTo>
                    <a:pt x="206" y="782"/>
                  </a:lnTo>
                  <a:lnTo>
                    <a:pt x="210" y="785"/>
                  </a:lnTo>
                  <a:lnTo>
                    <a:pt x="209" y="787"/>
                  </a:lnTo>
                  <a:lnTo>
                    <a:pt x="207" y="785"/>
                  </a:lnTo>
                  <a:lnTo>
                    <a:pt x="203" y="785"/>
                  </a:lnTo>
                  <a:lnTo>
                    <a:pt x="203" y="788"/>
                  </a:lnTo>
                  <a:lnTo>
                    <a:pt x="206" y="788"/>
                  </a:lnTo>
                  <a:lnTo>
                    <a:pt x="207" y="789"/>
                  </a:lnTo>
                  <a:lnTo>
                    <a:pt x="210" y="789"/>
                  </a:lnTo>
                  <a:lnTo>
                    <a:pt x="212" y="797"/>
                  </a:lnTo>
                  <a:lnTo>
                    <a:pt x="217" y="801"/>
                  </a:lnTo>
                  <a:lnTo>
                    <a:pt x="223" y="805"/>
                  </a:lnTo>
                  <a:lnTo>
                    <a:pt x="229" y="808"/>
                  </a:lnTo>
                  <a:close/>
                  <a:moveTo>
                    <a:pt x="245" y="792"/>
                  </a:moveTo>
                  <a:lnTo>
                    <a:pt x="245" y="792"/>
                  </a:lnTo>
                  <a:lnTo>
                    <a:pt x="245" y="789"/>
                  </a:lnTo>
                  <a:lnTo>
                    <a:pt x="242" y="789"/>
                  </a:lnTo>
                  <a:lnTo>
                    <a:pt x="240" y="791"/>
                  </a:lnTo>
                  <a:lnTo>
                    <a:pt x="242" y="791"/>
                  </a:lnTo>
                  <a:lnTo>
                    <a:pt x="245" y="792"/>
                  </a:lnTo>
                  <a:close/>
                  <a:moveTo>
                    <a:pt x="276" y="788"/>
                  </a:moveTo>
                  <a:lnTo>
                    <a:pt x="276" y="788"/>
                  </a:lnTo>
                  <a:lnTo>
                    <a:pt x="276" y="787"/>
                  </a:lnTo>
                  <a:lnTo>
                    <a:pt x="276" y="785"/>
                  </a:lnTo>
                  <a:lnTo>
                    <a:pt x="272" y="784"/>
                  </a:lnTo>
                  <a:lnTo>
                    <a:pt x="269" y="784"/>
                  </a:lnTo>
                  <a:lnTo>
                    <a:pt x="269" y="785"/>
                  </a:lnTo>
                  <a:lnTo>
                    <a:pt x="272" y="787"/>
                  </a:lnTo>
                  <a:lnTo>
                    <a:pt x="276" y="788"/>
                  </a:lnTo>
                  <a:close/>
                  <a:moveTo>
                    <a:pt x="374" y="748"/>
                  </a:moveTo>
                  <a:lnTo>
                    <a:pt x="374" y="748"/>
                  </a:lnTo>
                  <a:lnTo>
                    <a:pt x="374" y="746"/>
                  </a:lnTo>
                  <a:lnTo>
                    <a:pt x="376" y="743"/>
                  </a:lnTo>
                  <a:lnTo>
                    <a:pt x="387" y="741"/>
                  </a:lnTo>
                  <a:lnTo>
                    <a:pt x="400" y="739"/>
                  </a:lnTo>
                  <a:lnTo>
                    <a:pt x="400" y="736"/>
                  </a:lnTo>
                  <a:lnTo>
                    <a:pt x="389" y="738"/>
                  </a:lnTo>
                  <a:lnTo>
                    <a:pt x="377" y="739"/>
                  </a:lnTo>
                  <a:lnTo>
                    <a:pt x="366" y="742"/>
                  </a:lnTo>
                  <a:lnTo>
                    <a:pt x="354" y="745"/>
                  </a:lnTo>
                  <a:lnTo>
                    <a:pt x="354" y="746"/>
                  </a:lnTo>
                  <a:lnTo>
                    <a:pt x="364" y="746"/>
                  </a:lnTo>
                  <a:lnTo>
                    <a:pt x="374" y="748"/>
                  </a:lnTo>
                  <a:close/>
                  <a:moveTo>
                    <a:pt x="405" y="742"/>
                  </a:moveTo>
                  <a:lnTo>
                    <a:pt x="405" y="742"/>
                  </a:lnTo>
                  <a:lnTo>
                    <a:pt x="405" y="741"/>
                  </a:lnTo>
                  <a:lnTo>
                    <a:pt x="402" y="739"/>
                  </a:lnTo>
                  <a:lnTo>
                    <a:pt x="402" y="742"/>
                  </a:lnTo>
                  <a:lnTo>
                    <a:pt x="405" y="742"/>
                  </a:lnTo>
                  <a:close/>
                  <a:moveTo>
                    <a:pt x="334" y="741"/>
                  </a:moveTo>
                  <a:lnTo>
                    <a:pt x="334" y="741"/>
                  </a:lnTo>
                  <a:lnTo>
                    <a:pt x="338" y="739"/>
                  </a:lnTo>
                  <a:lnTo>
                    <a:pt x="350" y="738"/>
                  </a:lnTo>
                  <a:lnTo>
                    <a:pt x="364" y="733"/>
                  </a:lnTo>
                  <a:lnTo>
                    <a:pt x="379" y="729"/>
                  </a:lnTo>
                  <a:lnTo>
                    <a:pt x="393" y="726"/>
                  </a:lnTo>
                  <a:lnTo>
                    <a:pt x="408" y="720"/>
                  </a:lnTo>
                  <a:lnTo>
                    <a:pt x="403" y="720"/>
                  </a:lnTo>
                  <a:lnTo>
                    <a:pt x="400" y="720"/>
                  </a:lnTo>
                  <a:lnTo>
                    <a:pt x="399" y="718"/>
                  </a:lnTo>
                  <a:lnTo>
                    <a:pt x="403" y="716"/>
                  </a:lnTo>
                  <a:lnTo>
                    <a:pt x="406" y="715"/>
                  </a:lnTo>
                  <a:lnTo>
                    <a:pt x="408" y="713"/>
                  </a:lnTo>
                  <a:lnTo>
                    <a:pt x="402" y="713"/>
                  </a:lnTo>
                  <a:lnTo>
                    <a:pt x="396" y="715"/>
                  </a:lnTo>
                  <a:lnTo>
                    <a:pt x="399" y="710"/>
                  </a:lnTo>
                  <a:lnTo>
                    <a:pt x="403" y="706"/>
                  </a:lnTo>
                  <a:lnTo>
                    <a:pt x="402" y="703"/>
                  </a:lnTo>
                  <a:lnTo>
                    <a:pt x="399" y="703"/>
                  </a:lnTo>
                  <a:lnTo>
                    <a:pt x="396" y="703"/>
                  </a:lnTo>
                  <a:lnTo>
                    <a:pt x="393" y="705"/>
                  </a:lnTo>
                  <a:lnTo>
                    <a:pt x="390" y="706"/>
                  </a:lnTo>
                  <a:lnTo>
                    <a:pt x="382" y="709"/>
                  </a:lnTo>
                  <a:lnTo>
                    <a:pt x="372" y="710"/>
                  </a:lnTo>
                  <a:lnTo>
                    <a:pt x="363" y="715"/>
                  </a:lnTo>
                  <a:lnTo>
                    <a:pt x="356" y="720"/>
                  </a:lnTo>
                  <a:lnTo>
                    <a:pt x="347" y="728"/>
                  </a:lnTo>
                  <a:lnTo>
                    <a:pt x="338" y="733"/>
                  </a:lnTo>
                  <a:lnTo>
                    <a:pt x="334" y="738"/>
                  </a:lnTo>
                  <a:lnTo>
                    <a:pt x="331" y="741"/>
                  </a:lnTo>
                  <a:lnTo>
                    <a:pt x="333" y="741"/>
                  </a:lnTo>
                  <a:lnTo>
                    <a:pt x="334" y="741"/>
                  </a:lnTo>
                  <a:close/>
                  <a:moveTo>
                    <a:pt x="449" y="735"/>
                  </a:moveTo>
                  <a:lnTo>
                    <a:pt x="449" y="735"/>
                  </a:lnTo>
                  <a:lnTo>
                    <a:pt x="452" y="735"/>
                  </a:lnTo>
                  <a:lnTo>
                    <a:pt x="455" y="735"/>
                  </a:lnTo>
                  <a:lnTo>
                    <a:pt x="454" y="733"/>
                  </a:lnTo>
                  <a:lnTo>
                    <a:pt x="451" y="733"/>
                  </a:lnTo>
                  <a:lnTo>
                    <a:pt x="446" y="733"/>
                  </a:lnTo>
                  <a:lnTo>
                    <a:pt x="446" y="735"/>
                  </a:lnTo>
                  <a:lnTo>
                    <a:pt x="449" y="735"/>
                  </a:lnTo>
                  <a:close/>
                  <a:moveTo>
                    <a:pt x="613" y="712"/>
                  </a:moveTo>
                  <a:lnTo>
                    <a:pt x="613" y="712"/>
                  </a:lnTo>
                  <a:lnTo>
                    <a:pt x="613" y="710"/>
                  </a:lnTo>
                  <a:lnTo>
                    <a:pt x="613" y="708"/>
                  </a:lnTo>
                  <a:lnTo>
                    <a:pt x="609" y="705"/>
                  </a:lnTo>
                  <a:lnTo>
                    <a:pt x="603" y="703"/>
                  </a:lnTo>
                  <a:lnTo>
                    <a:pt x="605" y="708"/>
                  </a:lnTo>
                  <a:lnTo>
                    <a:pt x="608" y="712"/>
                  </a:lnTo>
                  <a:lnTo>
                    <a:pt x="611" y="712"/>
                  </a:lnTo>
                  <a:lnTo>
                    <a:pt x="613" y="712"/>
                  </a:lnTo>
                  <a:close/>
                  <a:moveTo>
                    <a:pt x="425" y="660"/>
                  </a:moveTo>
                  <a:lnTo>
                    <a:pt x="425" y="660"/>
                  </a:lnTo>
                  <a:lnTo>
                    <a:pt x="423" y="657"/>
                  </a:lnTo>
                  <a:lnTo>
                    <a:pt x="422" y="657"/>
                  </a:lnTo>
                  <a:lnTo>
                    <a:pt x="420" y="660"/>
                  </a:lnTo>
                  <a:lnTo>
                    <a:pt x="423" y="660"/>
                  </a:lnTo>
                  <a:lnTo>
                    <a:pt x="425" y="660"/>
                  </a:lnTo>
                  <a:close/>
                  <a:moveTo>
                    <a:pt x="435" y="621"/>
                  </a:moveTo>
                  <a:lnTo>
                    <a:pt x="435" y="621"/>
                  </a:lnTo>
                  <a:lnTo>
                    <a:pt x="435" y="620"/>
                  </a:lnTo>
                  <a:lnTo>
                    <a:pt x="433" y="620"/>
                  </a:lnTo>
                  <a:lnTo>
                    <a:pt x="432" y="620"/>
                  </a:lnTo>
                  <a:lnTo>
                    <a:pt x="431" y="621"/>
                  </a:lnTo>
                  <a:lnTo>
                    <a:pt x="432" y="621"/>
                  </a:lnTo>
                  <a:lnTo>
                    <a:pt x="435" y="621"/>
                  </a:lnTo>
                  <a:close/>
                  <a:moveTo>
                    <a:pt x="62" y="621"/>
                  </a:moveTo>
                  <a:lnTo>
                    <a:pt x="62" y="621"/>
                  </a:lnTo>
                  <a:lnTo>
                    <a:pt x="65" y="619"/>
                  </a:lnTo>
                  <a:lnTo>
                    <a:pt x="68" y="617"/>
                  </a:lnTo>
                  <a:lnTo>
                    <a:pt x="66" y="614"/>
                  </a:lnTo>
                  <a:lnTo>
                    <a:pt x="62" y="614"/>
                  </a:lnTo>
                  <a:lnTo>
                    <a:pt x="58" y="616"/>
                  </a:lnTo>
                  <a:lnTo>
                    <a:pt x="58" y="617"/>
                  </a:lnTo>
                  <a:lnTo>
                    <a:pt x="59" y="620"/>
                  </a:lnTo>
                  <a:lnTo>
                    <a:pt x="60" y="620"/>
                  </a:lnTo>
                  <a:lnTo>
                    <a:pt x="62" y="621"/>
                  </a:lnTo>
                  <a:close/>
                  <a:moveTo>
                    <a:pt x="42" y="616"/>
                  </a:moveTo>
                  <a:lnTo>
                    <a:pt x="42" y="616"/>
                  </a:lnTo>
                  <a:lnTo>
                    <a:pt x="42" y="614"/>
                  </a:lnTo>
                  <a:lnTo>
                    <a:pt x="42" y="611"/>
                  </a:lnTo>
                  <a:lnTo>
                    <a:pt x="40" y="611"/>
                  </a:lnTo>
                  <a:lnTo>
                    <a:pt x="37" y="611"/>
                  </a:lnTo>
                  <a:lnTo>
                    <a:pt x="39" y="614"/>
                  </a:lnTo>
                  <a:lnTo>
                    <a:pt x="42" y="616"/>
                  </a:lnTo>
                  <a:close/>
                  <a:moveTo>
                    <a:pt x="53" y="611"/>
                  </a:moveTo>
                  <a:lnTo>
                    <a:pt x="53" y="611"/>
                  </a:lnTo>
                  <a:lnTo>
                    <a:pt x="56" y="610"/>
                  </a:lnTo>
                  <a:lnTo>
                    <a:pt x="56" y="608"/>
                  </a:lnTo>
                  <a:lnTo>
                    <a:pt x="55" y="607"/>
                  </a:lnTo>
                  <a:lnTo>
                    <a:pt x="53" y="606"/>
                  </a:lnTo>
                  <a:lnTo>
                    <a:pt x="50" y="607"/>
                  </a:lnTo>
                  <a:lnTo>
                    <a:pt x="50" y="610"/>
                  </a:lnTo>
                  <a:lnTo>
                    <a:pt x="50" y="611"/>
                  </a:lnTo>
                  <a:lnTo>
                    <a:pt x="52" y="611"/>
                  </a:lnTo>
                  <a:lnTo>
                    <a:pt x="53" y="611"/>
                  </a:lnTo>
                  <a:close/>
                  <a:moveTo>
                    <a:pt x="53" y="594"/>
                  </a:moveTo>
                  <a:lnTo>
                    <a:pt x="53" y="594"/>
                  </a:lnTo>
                  <a:lnTo>
                    <a:pt x="55" y="591"/>
                  </a:lnTo>
                  <a:lnTo>
                    <a:pt x="46" y="591"/>
                  </a:lnTo>
                  <a:lnTo>
                    <a:pt x="40" y="593"/>
                  </a:lnTo>
                  <a:lnTo>
                    <a:pt x="46" y="594"/>
                  </a:lnTo>
                  <a:lnTo>
                    <a:pt x="53" y="594"/>
                  </a:lnTo>
                  <a:close/>
                  <a:moveTo>
                    <a:pt x="793" y="564"/>
                  </a:moveTo>
                  <a:lnTo>
                    <a:pt x="793" y="564"/>
                  </a:lnTo>
                  <a:lnTo>
                    <a:pt x="793" y="563"/>
                  </a:lnTo>
                  <a:lnTo>
                    <a:pt x="789" y="563"/>
                  </a:lnTo>
                  <a:lnTo>
                    <a:pt x="789" y="564"/>
                  </a:lnTo>
                  <a:lnTo>
                    <a:pt x="791" y="564"/>
                  </a:lnTo>
                  <a:lnTo>
                    <a:pt x="793" y="564"/>
                  </a:lnTo>
                  <a:close/>
                  <a:moveTo>
                    <a:pt x="776" y="551"/>
                  </a:moveTo>
                  <a:lnTo>
                    <a:pt x="776" y="551"/>
                  </a:lnTo>
                  <a:lnTo>
                    <a:pt x="776" y="550"/>
                  </a:lnTo>
                  <a:lnTo>
                    <a:pt x="775" y="548"/>
                  </a:lnTo>
                  <a:lnTo>
                    <a:pt x="775" y="550"/>
                  </a:lnTo>
                  <a:lnTo>
                    <a:pt x="776" y="551"/>
                  </a:lnTo>
                  <a:close/>
                  <a:moveTo>
                    <a:pt x="670" y="473"/>
                  </a:moveTo>
                  <a:lnTo>
                    <a:pt x="670" y="473"/>
                  </a:lnTo>
                  <a:lnTo>
                    <a:pt x="670" y="471"/>
                  </a:lnTo>
                  <a:lnTo>
                    <a:pt x="668" y="471"/>
                  </a:lnTo>
                  <a:lnTo>
                    <a:pt x="665" y="471"/>
                  </a:lnTo>
                  <a:lnTo>
                    <a:pt x="665" y="472"/>
                  </a:lnTo>
                  <a:lnTo>
                    <a:pt x="668" y="472"/>
                  </a:lnTo>
                  <a:lnTo>
                    <a:pt x="670" y="473"/>
                  </a:lnTo>
                  <a:close/>
                  <a:moveTo>
                    <a:pt x="672" y="465"/>
                  </a:moveTo>
                  <a:lnTo>
                    <a:pt x="672" y="465"/>
                  </a:lnTo>
                  <a:lnTo>
                    <a:pt x="674" y="463"/>
                  </a:lnTo>
                  <a:lnTo>
                    <a:pt x="677" y="462"/>
                  </a:lnTo>
                  <a:lnTo>
                    <a:pt x="677" y="461"/>
                  </a:lnTo>
                  <a:lnTo>
                    <a:pt x="675" y="458"/>
                  </a:lnTo>
                  <a:lnTo>
                    <a:pt x="680" y="453"/>
                  </a:lnTo>
                  <a:lnTo>
                    <a:pt x="683" y="450"/>
                  </a:lnTo>
                  <a:lnTo>
                    <a:pt x="684" y="445"/>
                  </a:lnTo>
                  <a:lnTo>
                    <a:pt x="685" y="440"/>
                  </a:lnTo>
                  <a:lnTo>
                    <a:pt x="694" y="430"/>
                  </a:lnTo>
                  <a:lnTo>
                    <a:pt x="700" y="420"/>
                  </a:lnTo>
                  <a:lnTo>
                    <a:pt x="706" y="410"/>
                  </a:lnTo>
                  <a:lnTo>
                    <a:pt x="711" y="399"/>
                  </a:lnTo>
                  <a:lnTo>
                    <a:pt x="720" y="376"/>
                  </a:lnTo>
                  <a:lnTo>
                    <a:pt x="727" y="353"/>
                  </a:lnTo>
                  <a:lnTo>
                    <a:pt x="726" y="344"/>
                  </a:lnTo>
                  <a:lnTo>
                    <a:pt x="727" y="336"/>
                  </a:lnTo>
                  <a:lnTo>
                    <a:pt x="727" y="327"/>
                  </a:lnTo>
                  <a:lnTo>
                    <a:pt x="727" y="321"/>
                  </a:lnTo>
                  <a:lnTo>
                    <a:pt x="727" y="314"/>
                  </a:lnTo>
                  <a:lnTo>
                    <a:pt x="732" y="307"/>
                  </a:lnTo>
                  <a:lnTo>
                    <a:pt x="734" y="281"/>
                  </a:lnTo>
                  <a:lnTo>
                    <a:pt x="739" y="255"/>
                  </a:lnTo>
                  <a:lnTo>
                    <a:pt x="743" y="228"/>
                  </a:lnTo>
                  <a:lnTo>
                    <a:pt x="744" y="202"/>
                  </a:lnTo>
                  <a:lnTo>
                    <a:pt x="746" y="196"/>
                  </a:lnTo>
                  <a:lnTo>
                    <a:pt x="746" y="192"/>
                  </a:lnTo>
                  <a:lnTo>
                    <a:pt x="744" y="186"/>
                  </a:lnTo>
                  <a:lnTo>
                    <a:pt x="742" y="182"/>
                  </a:lnTo>
                  <a:lnTo>
                    <a:pt x="744" y="179"/>
                  </a:lnTo>
                  <a:lnTo>
                    <a:pt x="746" y="178"/>
                  </a:lnTo>
                  <a:lnTo>
                    <a:pt x="750" y="156"/>
                  </a:lnTo>
                  <a:lnTo>
                    <a:pt x="752" y="135"/>
                  </a:lnTo>
                  <a:lnTo>
                    <a:pt x="753" y="113"/>
                  </a:lnTo>
                  <a:lnTo>
                    <a:pt x="755" y="93"/>
                  </a:lnTo>
                  <a:lnTo>
                    <a:pt x="753" y="77"/>
                  </a:lnTo>
                  <a:lnTo>
                    <a:pt x="749" y="63"/>
                  </a:lnTo>
                  <a:lnTo>
                    <a:pt x="746" y="57"/>
                  </a:lnTo>
                  <a:lnTo>
                    <a:pt x="740" y="53"/>
                  </a:lnTo>
                  <a:lnTo>
                    <a:pt x="734" y="48"/>
                  </a:lnTo>
                  <a:lnTo>
                    <a:pt x="726" y="46"/>
                  </a:lnTo>
                  <a:lnTo>
                    <a:pt x="714" y="46"/>
                  </a:lnTo>
                  <a:lnTo>
                    <a:pt x="704" y="46"/>
                  </a:lnTo>
                  <a:lnTo>
                    <a:pt x="698" y="48"/>
                  </a:lnTo>
                  <a:lnTo>
                    <a:pt x="693" y="54"/>
                  </a:lnTo>
                  <a:lnTo>
                    <a:pt x="690" y="60"/>
                  </a:lnTo>
                  <a:lnTo>
                    <a:pt x="685" y="66"/>
                  </a:lnTo>
                  <a:lnTo>
                    <a:pt x="684" y="80"/>
                  </a:lnTo>
                  <a:lnTo>
                    <a:pt x="683" y="83"/>
                  </a:lnTo>
                  <a:lnTo>
                    <a:pt x="683" y="90"/>
                  </a:lnTo>
                  <a:lnTo>
                    <a:pt x="684" y="100"/>
                  </a:lnTo>
                  <a:lnTo>
                    <a:pt x="683" y="109"/>
                  </a:lnTo>
                  <a:lnTo>
                    <a:pt x="681" y="116"/>
                  </a:lnTo>
                  <a:lnTo>
                    <a:pt x="683" y="119"/>
                  </a:lnTo>
                  <a:lnTo>
                    <a:pt x="683" y="123"/>
                  </a:lnTo>
                  <a:lnTo>
                    <a:pt x="681" y="127"/>
                  </a:lnTo>
                  <a:lnTo>
                    <a:pt x="681" y="133"/>
                  </a:lnTo>
                  <a:lnTo>
                    <a:pt x="681" y="137"/>
                  </a:lnTo>
                  <a:lnTo>
                    <a:pt x="683" y="143"/>
                  </a:lnTo>
                  <a:lnTo>
                    <a:pt x="680" y="149"/>
                  </a:lnTo>
                  <a:lnTo>
                    <a:pt x="680" y="158"/>
                  </a:lnTo>
                  <a:lnTo>
                    <a:pt x="680" y="166"/>
                  </a:lnTo>
                  <a:lnTo>
                    <a:pt x="681" y="170"/>
                  </a:lnTo>
                  <a:lnTo>
                    <a:pt x="696" y="173"/>
                  </a:lnTo>
                  <a:lnTo>
                    <a:pt x="708" y="175"/>
                  </a:lnTo>
                  <a:lnTo>
                    <a:pt x="710" y="176"/>
                  </a:lnTo>
                  <a:lnTo>
                    <a:pt x="710" y="179"/>
                  </a:lnTo>
                  <a:lnTo>
                    <a:pt x="701" y="179"/>
                  </a:lnTo>
                  <a:lnTo>
                    <a:pt x="696" y="179"/>
                  </a:lnTo>
                  <a:lnTo>
                    <a:pt x="688" y="179"/>
                  </a:lnTo>
                  <a:lnTo>
                    <a:pt x="681" y="183"/>
                  </a:lnTo>
                  <a:lnTo>
                    <a:pt x="678" y="188"/>
                  </a:lnTo>
                  <a:lnTo>
                    <a:pt x="674" y="196"/>
                  </a:lnTo>
                  <a:lnTo>
                    <a:pt x="674" y="202"/>
                  </a:lnTo>
                  <a:lnTo>
                    <a:pt x="674" y="209"/>
                  </a:lnTo>
                  <a:lnTo>
                    <a:pt x="674" y="216"/>
                  </a:lnTo>
                  <a:lnTo>
                    <a:pt x="671" y="222"/>
                  </a:lnTo>
                  <a:lnTo>
                    <a:pt x="671" y="232"/>
                  </a:lnTo>
                  <a:lnTo>
                    <a:pt x="670" y="244"/>
                  </a:lnTo>
                  <a:lnTo>
                    <a:pt x="668" y="244"/>
                  </a:lnTo>
                  <a:lnTo>
                    <a:pt x="668" y="248"/>
                  </a:lnTo>
                  <a:lnTo>
                    <a:pt x="668" y="255"/>
                  </a:lnTo>
                  <a:lnTo>
                    <a:pt x="665" y="257"/>
                  </a:lnTo>
                  <a:lnTo>
                    <a:pt x="664" y="267"/>
                  </a:lnTo>
                  <a:lnTo>
                    <a:pt x="664" y="278"/>
                  </a:lnTo>
                  <a:lnTo>
                    <a:pt x="661" y="278"/>
                  </a:lnTo>
                  <a:lnTo>
                    <a:pt x="662" y="280"/>
                  </a:lnTo>
                  <a:lnTo>
                    <a:pt x="662" y="282"/>
                  </a:lnTo>
                  <a:lnTo>
                    <a:pt x="665" y="284"/>
                  </a:lnTo>
                  <a:lnTo>
                    <a:pt x="667" y="287"/>
                  </a:lnTo>
                  <a:lnTo>
                    <a:pt x="664" y="290"/>
                  </a:lnTo>
                  <a:lnTo>
                    <a:pt x="662" y="294"/>
                  </a:lnTo>
                  <a:lnTo>
                    <a:pt x="660" y="300"/>
                  </a:lnTo>
                  <a:lnTo>
                    <a:pt x="660" y="304"/>
                  </a:lnTo>
                  <a:lnTo>
                    <a:pt x="661" y="304"/>
                  </a:lnTo>
                  <a:lnTo>
                    <a:pt x="664" y="305"/>
                  </a:lnTo>
                  <a:lnTo>
                    <a:pt x="662" y="307"/>
                  </a:lnTo>
                  <a:lnTo>
                    <a:pt x="660" y="310"/>
                  </a:lnTo>
                  <a:lnTo>
                    <a:pt x="661" y="311"/>
                  </a:lnTo>
                  <a:lnTo>
                    <a:pt x="664" y="316"/>
                  </a:lnTo>
                  <a:lnTo>
                    <a:pt x="662" y="316"/>
                  </a:lnTo>
                  <a:lnTo>
                    <a:pt x="658" y="318"/>
                  </a:lnTo>
                  <a:lnTo>
                    <a:pt x="655" y="324"/>
                  </a:lnTo>
                  <a:lnTo>
                    <a:pt x="651" y="328"/>
                  </a:lnTo>
                  <a:lnTo>
                    <a:pt x="648" y="337"/>
                  </a:lnTo>
                  <a:lnTo>
                    <a:pt x="644" y="343"/>
                  </a:lnTo>
                  <a:lnTo>
                    <a:pt x="644" y="354"/>
                  </a:lnTo>
                  <a:lnTo>
                    <a:pt x="641" y="364"/>
                  </a:lnTo>
                  <a:lnTo>
                    <a:pt x="639" y="376"/>
                  </a:lnTo>
                  <a:lnTo>
                    <a:pt x="638" y="387"/>
                  </a:lnTo>
                  <a:lnTo>
                    <a:pt x="638" y="397"/>
                  </a:lnTo>
                  <a:lnTo>
                    <a:pt x="638" y="407"/>
                  </a:lnTo>
                  <a:lnTo>
                    <a:pt x="636" y="419"/>
                  </a:lnTo>
                  <a:lnTo>
                    <a:pt x="638" y="426"/>
                  </a:lnTo>
                  <a:lnTo>
                    <a:pt x="639" y="429"/>
                  </a:lnTo>
                  <a:lnTo>
                    <a:pt x="641" y="432"/>
                  </a:lnTo>
                  <a:lnTo>
                    <a:pt x="645" y="433"/>
                  </a:lnTo>
                  <a:lnTo>
                    <a:pt x="651" y="435"/>
                  </a:lnTo>
                  <a:lnTo>
                    <a:pt x="649" y="436"/>
                  </a:lnTo>
                  <a:lnTo>
                    <a:pt x="647" y="438"/>
                  </a:lnTo>
                  <a:lnTo>
                    <a:pt x="642" y="438"/>
                  </a:lnTo>
                  <a:lnTo>
                    <a:pt x="638" y="436"/>
                  </a:lnTo>
                  <a:lnTo>
                    <a:pt x="638" y="439"/>
                  </a:lnTo>
                  <a:lnTo>
                    <a:pt x="636" y="442"/>
                  </a:lnTo>
                  <a:lnTo>
                    <a:pt x="636" y="443"/>
                  </a:lnTo>
                  <a:lnTo>
                    <a:pt x="638" y="446"/>
                  </a:lnTo>
                  <a:lnTo>
                    <a:pt x="635" y="449"/>
                  </a:lnTo>
                  <a:lnTo>
                    <a:pt x="634" y="452"/>
                  </a:lnTo>
                  <a:lnTo>
                    <a:pt x="635" y="455"/>
                  </a:lnTo>
                  <a:lnTo>
                    <a:pt x="635" y="459"/>
                  </a:lnTo>
                  <a:lnTo>
                    <a:pt x="636" y="459"/>
                  </a:lnTo>
                  <a:lnTo>
                    <a:pt x="639" y="459"/>
                  </a:lnTo>
                  <a:lnTo>
                    <a:pt x="639" y="461"/>
                  </a:lnTo>
                  <a:lnTo>
                    <a:pt x="639" y="462"/>
                  </a:lnTo>
                  <a:lnTo>
                    <a:pt x="644" y="462"/>
                  </a:lnTo>
                  <a:lnTo>
                    <a:pt x="649" y="462"/>
                  </a:lnTo>
                  <a:lnTo>
                    <a:pt x="654" y="462"/>
                  </a:lnTo>
                  <a:lnTo>
                    <a:pt x="657" y="465"/>
                  </a:lnTo>
                  <a:lnTo>
                    <a:pt x="660" y="465"/>
                  </a:lnTo>
                  <a:lnTo>
                    <a:pt x="661" y="463"/>
                  </a:lnTo>
                  <a:lnTo>
                    <a:pt x="667" y="465"/>
                  </a:lnTo>
                  <a:lnTo>
                    <a:pt x="672" y="465"/>
                  </a:lnTo>
                  <a:close/>
                  <a:moveTo>
                    <a:pt x="661" y="462"/>
                  </a:moveTo>
                  <a:lnTo>
                    <a:pt x="661" y="462"/>
                  </a:lnTo>
                  <a:lnTo>
                    <a:pt x="665" y="461"/>
                  </a:lnTo>
                  <a:lnTo>
                    <a:pt x="667" y="459"/>
                  </a:lnTo>
                  <a:lnTo>
                    <a:pt x="662" y="458"/>
                  </a:lnTo>
                  <a:lnTo>
                    <a:pt x="657" y="459"/>
                  </a:lnTo>
                  <a:lnTo>
                    <a:pt x="660" y="461"/>
                  </a:lnTo>
                  <a:lnTo>
                    <a:pt x="661" y="462"/>
                  </a:lnTo>
                  <a:close/>
                  <a:moveTo>
                    <a:pt x="566" y="461"/>
                  </a:moveTo>
                  <a:lnTo>
                    <a:pt x="566" y="461"/>
                  </a:lnTo>
                  <a:lnTo>
                    <a:pt x="569" y="456"/>
                  </a:lnTo>
                  <a:lnTo>
                    <a:pt x="572" y="452"/>
                  </a:lnTo>
                  <a:lnTo>
                    <a:pt x="570" y="448"/>
                  </a:lnTo>
                  <a:lnTo>
                    <a:pt x="567" y="446"/>
                  </a:lnTo>
                  <a:lnTo>
                    <a:pt x="564" y="445"/>
                  </a:lnTo>
                  <a:lnTo>
                    <a:pt x="562" y="445"/>
                  </a:lnTo>
                  <a:lnTo>
                    <a:pt x="559" y="449"/>
                  </a:lnTo>
                  <a:lnTo>
                    <a:pt x="559" y="453"/>
                  </a:lnTo>
                  <a:lnTo>
                    <a:pt x="562" y="458"/>
                  </a:lnTo>
                  <a:lnTo>
                    <a:pt x="566" y="461"/>
                  </a:lnTo>
                  <a:close/>
                  <a:moveTo>
                    <a:pt x="559" y="430"/>
                  </a:moveTo>
                  <a:lnTo>
                    <a:pt x="559" y="430"/>
                  </a:lnTo>
                  <a:lnTo>
                    <a:pt x="559" y="428"/>
                  </a:lnTo>
                  <a:lnTo>
                    <a:pt x="550" y="428"/>
                  </a:lnTo>
                  <a:lnTo>
                    <a:pt x="550" y="430"/>
                  </a:lnTo>
                  <a:lnTo>
                    <a:pt x="554" y="430"/>
                  </a:lnTo>
                  <a:lnTo>
                    <a:pt x="559" y="430"/>
                  </a:lnTo>
                  <a:close/>
                  <a:moveTo>
                    <a:pt x="556" y="423"/>
                  </a:moveTo>
                  <a:lnTo>
                    <a:pt x="556" y="423"/>
                  </a:lnTo>
                  <a:lnTo>
                    <a:pt x="559" y="422"/>
                  </a:lnTo>
                  <a:lnTo>
                    <a:pt x="559" y="415"/>
                  </a:lnTo>
                  <a:lnTo>
                    <a:pt x="559" y="409"/>
                  </a:lnTo>
                  <a:lnTo>
                    <a:pt x="556" y="407"/>
                  </a:lnTo>
                  <a:lnTo>
                    <a:pt x="557" y="403"/>
                  </a:lnTo>
                  <a:lnTo>
                    <a:pt x="559" y="397"/>
                  </a:lnTo>
                  <a:lnTo>
                    <a:pt x="559" y="382"/>
                  </a:lnTo>
                  <a:lnTo>
                    <a:pt x="560" y="367"/>
                  </a:lnTo>
                  <a:lnTo>
                    <a:pt x="562" y="351"/>
                  </a:lnTo>
                  <a:lnTo>
                    <a:pt x="563" y="336"/>
                  </a:lnTo>
                  <a:lnTo>
                    <a:pt x="562" y="323"/>
                  </a:lnTo>
                  <a:lnTo>
                    <a:pt x="562" y="307"/>
                  </a:lnTo>
                  <a:lnTo>
                    <a:pt x="560" y="298"/>
                  </a:lnTo>
                  <a:lnTo>
                    <a:pt x="559" y="291"/>
                  </a:lnTo>
                  <a:lnTo>
                    <a:pt x="556" y="284"/>
                  </a:lnTo>
                  <a:lnTo>
                    <a:pt x="552" y="280"/>
                  </a:lnTo>
                  <a:lnTo>
                    <a:pt x="550" y="278"/>
                  </a:lnTo>
                  <a:lnTo>
                    <a:pt x="547" y="277"/>
                  </a:lnTo>
                  <a:lnTo>
                    <a:pt x="546" y="278"/>
                  </a:lnTo>
                  <a:lnTo>
                    <a:pt x="541" y="275"/>
                  </a:lnTo>
                  <a:lnTo>
                    <a:pt x="540" y="274"/>
                  </a:lnTo>
                  <a:lnTo>
                    <a:pt x="541" y="272"/>
                  </a:lnTo>
                  <a:lnTo>
                    <a:pt x="549" y="270"/>
                  </a:lnTo>
                  <a:lnTo>
                    <a:pt x="547" y="267"/>
                  </a:lnTo>
                  <a:lnTo>
                    <a:pt x="546" y="264"/>
                  </a:lnTo>
                  <a:lnTo>
                    <a:pt x="549" y="260"/>
                  </a:lnTo>
                  <a:lnTo>
                    <a:pt x="549" y="255"/>
                  </a:lnTo>
                  <a:lnTo>
                    <a:pt x="546" y="252"/>
                  </a:lnTo>
                  <a:lnTo>
                    <a:pt x="543" y="248"/>
                  </a:lnTo>
                  <a:lnTo>
                    <a:pt x="547" y="247"/>
                  </a:lnTo>
                  <a:lnTo>
                    <a:pt x="550" y="245"/>
                  </a:lnTo>
                  <a:lnTo>
                    <a:pt x="550" y="239"/>
                  </a:lnTo>
                  <a:lnTo>
                    <a:pt x="552" y="234"/>
                  </a:lnTo>
                  <a:lnTo>
                    <a:pt x="552" y="209"/>
                  </a:lnTo>
                  <a:lnTo>
                    <a:pt x="552" y="193"/>
                  </a:lnTo>
                  <a:lnTo>
                    <a:pt x="553" y="182"/>
                  </a:lnTo>
                  <a:lnTo>
                    <a:pt x="553" y="169"/>
                  </a:lnTo>
                  <a:lnTo>
                    <a:pt x="552" y="156"/>
                  </a:lnTo>
                  <a:lnTo>
                    <a:pt x="550" y="145"/>
                  </a:lnTo>
                  <a:lnTo>
                    <a:pt x="549" y="132"/>
                  </a:lnTo>
                  <a:lnTo>
                    <a:pt x="546" y="120"/>
                  </a:lnTo>
                  <a:lnTo>
                    <a:pt x="544" y="119"/>
                  </a:lnTo>
                  <a:lnTo>
                    <a:pt x="544" y="116"/>
                  </a:lnTo>
                  <a:lnTo>
                    <a:pt x="547" y="113"/>
                  </a:lnTo>
                  <a:lnTo>
                    <a:pt x="549" y="110"/>
                  </a:lnTo>
                  <a:lnTo>
                    <a:pt x="549" y="89"/>
                  </a:lnTo>
                  <a:lnTo>
                    <a:pt x="547" y="67"/>
                  </a:lnTo>
                  <a:lnTo>
                    <a:pt x="547" y="46"/>
                  </a:lnTo>
                  <a:lnTo>
                    <a:pt x="544" y="24"/>
                  </a:lnTo>
                  <a:lnTo>
                    <a:pt x="543" y="21"/>
                  </a:lnTo>
                  <a:lnTo>
                    <a:pt x="541" y="18"/>
                  </a:lnTo>
                  <a:lnTo>
                    <a:pt x="537" y="17"/>
                  </a:lnTo>
                  <a:lnTo>
                    <a:pt x="536" y="15"/>
                  </a:lnTo>
                  <a:lnTo>
                    <a:pt x="534" y="13"/>
                  </a:lnTo>
                  <a:lnTo>
                    <a:pt x="533" y="8"/>
                  </a:lnTo>
                  <a:lnTo>
                    <a:pt x="531" y="8"/>
                  </a:lnTo>
                  <a:lnTo>
                    <a:pt x="530" y="8"/>
                  </a:lnTo>
                  <a:lnTo>
                    <a:pt x="530" y="5"/>
                  </a:lnTo>
                  <a:lnTo>
                    <a:pt x="518" y="1"/>
                  </a:lnTo>
                  <a:lnTo>
                    <a:pt x="508" y="0"/>
                  </a:lnTo>
                  <a:lnTo>
                    <a:pt x="503" y="0"/>
                  </a:lnTo>
                  <a:lnTo>
                    <a:pt x="497" y="1"/>
                  </a:lnTo>
                  <a:lnTo>
                    <a:pt x="488" y="7"/>
                  </a:lnTo>
                  <a:lnTo>
                    <a:pt x="485" y="8"/>
                  </a:lnTo>
                  <a:lnTo>
                    <a:pt x="484" y="14"/>
                  </a:lnTo>
                  <a:lnTo>
                    <a:pt x="482" y="18"/>
                  </a:lnTo>
                  <a:lnTo>
                    <a:pt x="482" y="38"/>
                  </a:lnTo>
                  <a:lnTo>
                    <a:pt x="484" y="57"/>
                  </a:lnTo>
                  <a:lnTo>
                    <a:pt x="481" y="60"/>
                  </a:lnTo>
                  <a:lnTo>
                    <a:pt x="480" y="66"/>
                  </a:lnTo>
                  <a:lnTo>
                    <a:pt x="477" y="66"/>
                  </a:lnTo>
                  <a:lnTo>
                    <a:pt x="478" y="69"/>
                  </a:lnTo>
                  <a:lnTo>
                    <a:pt x="478" y="70"/>
                  </a:lnTo>
                  <a:lnTo>
                    <a:pt x="475" y="79"/>
                  </a:lnTo>
                  <a:lnTo>
                    <a:pt x="475" y="89"/>
                  </a:lnTo>
                  <a:lnTo>
                    <a:pt x="474" y="100"/>
                  </a:lnTo>
                  <a:lnTo>
                    <a:pt x="474" y="114"/>
                  </a:lnTo>
                  <a:lnTo>
                    <a:pt x="477" y="117"/>
                  </a:lnTo>
                  <a:lnTo>
                    <a:pt x="477" y="122"/>
                  </a:lnTo>
                  <a:lnTo>
                    <a:pt x="484" y="123"/>
                  </a:lnTo>
                  <a:lnTo>
                    <a:pt x="490" y="126"/>
                  </a:lnTo>
                  <a:lnTo>
                    <a:pt x="484" y="129"/>
                  </a:lnTo>
                  <a:lnTo>
                    <a:pt x="480" y="133"/>
                  </a:lnTo>
                  <a:lnTo>
                    <a:pt x="477" y="139"/>
                  </a:lnTo>
                  <a:lnTo>
                    <a:pt x="475" y="146"/>
                  </a:lnTo>
                  <a:lnTo>
                    <a:pt x="474" y="162"/>
                  </a:lnTo>
                  <a:lnTo>
                    <a:pt x="474" y="175"/>
                  </a:lnTo>
                  <a:lnTo>
                    <a:pt x="474" y="182"/>
                  </a:lnTo>
                  <a:lnTo>
                    <a:pt x="475" y="189"/>
                  </a:lnTo>
                  <a:lnTo>
                    <a:pt x="474" y="202"/>
                  </a:lnTo>
                  <a:lnTo>
                    <a:pt x="475" y="216"/>
                  </a:lnTo>
                  <a:lnTo>
                    <a:pt x="474" y="218"/>
                  </a:lnTo>
                  <a:lnTo>
                    <a:pt x="474" y="222"/>
                  </a:lnTo>
                  <a:lnTo>
                    <a:pt x="475" y="226"/>
                  </a:lnTo>
                  <a:lnTo>
                    <a:pt x="474" y="229"/>
                  </a:lnTo>
                  <a:lnTo>
                    <a:pt x="474" y="235"/>
                  </a:lnTo>
                  <a:lnTo>
                    <a:pt x="475" y="241"/>
                  </a:lnTo>
                  <a:lnTo>
                    <a:pt x="475" y="245"/>
                  </a:lnTo>
                  <a:lnTo>
                    <a:pt x="485" y="245"/>
                  </a:lnTo>
                  <a:lnTo>
                    <a:pt x="494" y="244"/>
                  </a:lnTo>
                  <a:lnTo>
                    <a:pt x="495" y="242"/>
                  </a:lnTo>
                  <a:lnTo>
                    <a:pt x="498" y="241"/>
                  </a:lnTo>
                  <a:lnTo>
                    <a:pt x="500" y="242"/>
                  </a:lnTo>
                  <a:lnTo>
                    <a:pt x="501" y="245"/>
                  </a:lnTo>
                  <a:lnTo>
                    <a:pt x="497" y="247"/>
                  </a:lnTo>
                  <a:lnTo>
                    <a:pt x="495" y="249"/>
                  </a:lnTo>
                  <a:lnTo>
                    <a:pt x="500" y="249"/>
                  </a:lnTo>
                  <a:lnTo>
                    <a:pt x="505" y="251"/>
                  </a:lnTo>
                  <a:lnTo>
                    <a:pt x="500" y="254"/>
                  </a:lnTo>
                  <a:lnTo>
                    <a:pt x="495" y="254"/>
                  </a:lnTo>
                  <a:lnTo>
                    <a:pt x="494" y="252"/>
                  </a:lnTo>
                  <a:lnTo>
                    <a:pt x="491" y="251"/>
                  </a:lnTo>
                  <a:lnTo>
                    <a:pt x="488" y="251"/>
                  </a:lnTo>
                  <a:lnTo>
                    <a:pt x="485" y="251"/>
                  </a:lnTo>
                  <a:lnTo>
                    <a:pt x="481" y="257"/>
                  </a:lnTo>
                  <a:lnTo>
                    <a:pt x="480" y="261"/>
                  </a:lnTo>
                  <a:lnTo>
                    <a:pt x="480" y="264"/>
                  </a:lnTo>
                  <a:lnTo>
                    <a:pt x="481" y="265"/>
                  </a:lnTo>
                  <a:lnTo>
                    <a:pt x="488" y="264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7" y="268"/>
                  </a:lnTo>
                  <a:lnTo>
                    <a:pt x="491" y="268"/>
                  </a:lnTo>
                  <a:lnTo>
                    <a:pt x="487" y="271"/>
                  </a:lnTo>
                  <a:lnTo>
                    <a:pt x="484" y="272"/>
                  </a:lnTo>
                  <a:lnTo>
                    <a:pt x="484" y="274"/>
                  </a:lnTo>
                  <a:lnTo>
                    <a:pt x="484" y="275"/>
                  </a:lnTo>
                  <a:lnTo>
                    <a:pt x="485" y="278"/>
                  </a:lnTo>
                  <a:lnTo>
                    <a:pt x="491" y="280"/>
                  </a:lnTo>
                  <a:lnTo>
                    <a:pt x="492" y="281"/>
                  </a:lnTo>
                  <a:lnTo>
                    <a:pt x="488" y="282"/>
                  </a:lnTo>
                  <a:lnTo>
                    <a:pt x="485" y="285"/>
                  </a:lnTo>
                  <a:lnTo>
                    <a:pt x="482" y="293"/>
                  </a:lnTo>
                  <a:lnTo>
                    <a:pt x="480" y="303"/>
                  </a:lnTo>
                  <a:lnTo>
                    <a:pt x="478" y="313"/>
                  </a:lnTo>
                  <a:lnTo>
                    <a:pt x="477" y="323"/>
                  </a:lnTo>
                  <a:lnTo>
                    <a:pt x="477" y="333"/>
                  </a:lnTo>
                  <a:lnTo>
                    <a:pt x="478" y="343"/>
                  </a:lnTo>
                  <a:lnTo>
                    <a:pt x="478" y="351"/>
                  </a:lnTo>
                  <a:lnTo>
                    <a:pt x="481" y="360"/>
                  </a:lnTo>
                  <a:lnTo>
                    <a:pt x="487" y="363"/>
                  </a:lnTo>
                  <a:lnTo>
                    <a:pt x="488" y="366"/>
                  </a:lnTo>
                  <a:lnTo>
                    <a:pt x="490" y="370"/>
                  </a:lnTo>
                  <a:lnTo>
                    <a:pt x="491" y="377"/>
                  </a:lnTo>
                  <a:lnTo>
                    <a:pt x="497" y="386"/>
                  </a:lnTo>
                  <a:lnTo>
                    <a:pt x="503" y="394"/>
                  </a:lnTo>
                  <a:lnTo>
                    <a:pt x="511" y="399"/>
                  </a:lnTo>
                  <a:lnTo>
                    <a:pt x="518" y="405"/>
                  </a:lnTo>
                  <a:lnTo>
                    <a:pt x="521" y="412"/>
                  </a:lnTo>
                  <a:lnTo>
                    <a:pt x="524" y="417"/>
                  </a:lnTo>
                  <a:lnTo>
                    <a:pt x="531" y="420"/>
                  </a:lnTo>
                  <a:lnTo>
                    <a:pt x="540" y="422"/>
                  </a:lnTo>
                  <a:lnTo>
                    <a:pt x="549" y="423"/>
                  </a:lnTo>
                  <a:lnTo>
                    <a:pt x="556" y="423"/>
                  </a:lnTo>
                  <a:close/>
                  <a:moveTo>
                    <a:pt x="865" y="394"/>
                  </a:moveTo>
                  <a:lnTo>
                    <a:pt x="865" y="394"/>
                  </a:lnTo>
                  <a:lnTo>
                    <a:pt x="867" y="393"/>
                  </a:lnTo>
                  <a:lnTo>
                    <a:pt x="868" y="390"/>
                  </a:lnTo>
                  <a:lnTo>
                    <a:pt x="865" y="392"/>
                  </a:lnTo>
                  <a:lnTo>
                    <a:pt x="865" y="393"/>
                  </a:lnTo>
                  <a:lnTo>
                    <a:pt x="865" y="394"/>
                  </a:lnTo>
                  <a:close/>
                  <a:moveTo>
                    <a:pt x="850" y="390"/>
                  </a:moveTo>
                  <a:lnTo>
                    <a:pt x="850" y="390"/>
                  </a:lnTo>
                  <a:lnTo>
                    <a:pt x="850" y="389"/>
                  </a:lnTo>
                  <a:lnTo>
                    <a:pt x="850" y="386"/>
                  </a:lnTo>
                  <a:lnTo>
                    <a:pt x="847" y="387"/>
                  </a:lnTo>
                  <a:lnTo>
                    <a:pt x="847" y="389"/>
                  </a:lnTo>
                  <a:lnTo>
                    <a:pt x="847" y="390"/>
                  </a:lnTo>
                  <a:lnTo>
                    <a:pt x="850" y="390"/>
                  </a:lnTo>
                  <a:close/>
                  <a:moveTo>
                    <a:pt x="687" y="323"/>
                  </a:moveTo>
                  <a:lnTo>
                    <a:pt x="687" y="323"/>
                  </a:lnTo>
                  <a:lnTo>
                    <a:pt x="688" y="320"/>
                  </a:lnTo>
                  <a:lnTo>
                    <a:pt x="688" y="318"/>
                  </a:lnTo>
                  <a:lnTo>
                    <a:pt x="687" y="316"/>
                  </a:lnTo>
                  <a:lnTo>
                    <a:pt x="685" y="313"/>
                  </a:lnTo>
                  <a:lnTo>
                    <a:pt x="687" y="313"/>
                  </a:lnTo>
                  <a:lnTo>
                    <a:pt x="690" y="311"/>
                  </a:lnTo>
                  <a:lnTo>
                    <a:pt x="690" y="310"/>
                  </a:lnTo>
                  <a:lnTo>
                    <a:pt x="694" y="308"/>
                  </a:lnTo>
                  <a:lnTo>
                    <a:pt x="694" y="305"/>
                  </a:lnTo>
                  <a:lnTo>
                    <a:pt x="690" y="303"/>
                  </a:lnTo>
                  <a:lnTo>
                    <a:pt x="685" y="301"/>
                  </a:lnTo>
                  <a:lnTo>
                    <a:pt x="683" y="303"/>
                  </a:lnTo>
                  <a:lnTo>
                    <a:pt x="678" y="304"/>
                  </a:lnTo>
                  <a:lnTo>
                    <a:pt x="680" y="308"/>
                  </a:lnTo>
                  <a:lnTo>
                    <a:pt x="680" y="311"/>
                  </a:lnTo>
                  <a:lnTo>
                    <a:pt x="675" y="316"/>
                  </a:lnTo>
                  <a:lnTo>
                    <a:pt x="670" y="317"/>
                  </a:lnTo>
                  <a:lnTo>
                    <a:pt x="677" y="321"/>
                  </a:lnTo>
                  <a:lnTo>
                    <a:pt x="687" y="323"/>
                  </a:lnTo>
                  <a:close/>
                  <a:moveTo>
                    <a:pt x="357" y="314"/>
                  </a:moveTo>
                  <a:lnTo>
                    <a:pt x="357" y="314"/>
                  </a:lnTo>
                  <a:lnTo>
                    <a:pt x="359" y="311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4"/>
                  </a:lnTo>
                  <a:lnTo>
                    <a:pt x="357" y="314"/>
                  </a:lnTo>
                  <a:close/>
                  <a:moveTo>
                    <a:pt x="537" y="284"/>
                  </a:moveTo>
                  <a:lnTo>
                    <a:pt x="537" y="284"/>
                  </a:lnTo>
                  <a:lnTo>
                    <a:pt x="539" y="281"/>
                  </a:lnTo>
                  <a:lnTo>
                    <a:pt x="539" y="280"/>
                  </a:lnTo>
                  <a:lnTo>
                    <a:pt x="536" y="277"/>
                  </a:lnTo>
                  <a:lnTo>
                    <a:pt x="531" y="277"/>
                  </a:lnTo>
                  <a:lnTo>
                    <a:pt x="533" y="280"/>
                  </a:lnTo>
                  <a:lnTo>
                    <a:pt x="536" y="284"/>
                  </a:lnTo>
                  <a:lnTo>
                    <a:pt x="537" y="284"/>
                  </a:lnTo>
                  <a:close/>
                  <a:moveTo>
                    <a:pt x="701" y="129"/>
                  </a:moveTo>
                  <a:lnTo>
                    <a:pt x="701" y="129"/>
                  </a:lnTo>
                  <a:lnTo>
                    <a:pt x="701" y="126"/>
                  </a:lnTo>
                  <a:lnTo>
                    <a:pt x="700" y="126"/>
                  </a:lnTo>
                  <a:lnTo>
                    <a:pt x="698" y="126"/>
                  </a:lnTo>
                  <a:lnTo>
                    <a:pt x="700" y="129"/>
                  </a:lnTo>
                  <a:lnTo>
                    <a:pt x="701" y="129"/>
                  </a:lnTo>
                  <a:close/>
                  <a:moveTo>
                    <a:pt x="275" y="140"/>
                  </a:moveTo>
                  <a:lnTo>
                    <a:pt x="275" y="140"/>
                  </a:lnTo>
                  <a:lnTo>
                    <a:pt x="276" y="139"/>
                  </a:lnTo>
                  <a:lnTo>
                    <a:pt x="281" y="137"/>
                  </a:lnTo>
                  <a:lnTo>
                    <a:pt x="281" y="136"/>
                  </a:lnTo>
                  <a:lnTo>
                    <a:pt x="278" y="136"/>
                  </a:lnTo>
                  <a:lnTo>
                    <a:pt x="275" y="133"/>
                  </a:lnTo>
                  <a:lnTo>
                    <a:pt x="274" y="130"/>
                  </a:lnTo>
                  <a:lnTo>
                    <a:pt x="275" y="126"/>
                  </a:lnTo>
                  <a:lnTo>
                    <a:pt x="275" y="122"/>
                  </a:lnTo>
                  <a:lnTo>
                    <a:pt x="272" y="119"/>
                  </a:lnTo>
                  <a:lnTo>
                    <a:pt x="268" y="119"/>
                  </a:lnTo>
                  <a:lnTo>
                    <a:pt x="268" y="122"/>
                  </a:lnTo>
                  <a:lnTo>
                    <a:pt x="271" y="123"/>
                  </a:lnTo>
                  <a:lnTo>
                    <a:pt x="269" y="125"/>
                  </a:lnTo>
                  <a:lnTo>
                    <a:pt x="266" y="126"/>
                  </a:lnTo>
                  <a:lnTo>
                    <a:pt x="264" y="123"/>
                  </a:lnTo>
                  <a:lnTo>
                    <a:pt x="261" y="122"/>
                  </a:lnTo>
                  <a:lnTo>
                    <a:pt x="261" y="125"/>
                  </a:lnTo>
                  <a:lnTo>
                    <a:pt x="262" y="130"/>
                  </a:lnTo>
                  <a:lnTo>
                    <a:pt x="268" y="136"/>
                  </a:lnTo>
                  <a:lnTo>
                    <a:pt x="275" y="140"/>
                  </a:lnTo>
                  <a:close/>
                  <a:moveTo>
                    <a:pt x="714" y="119"/>
                  </a:moveTo>
                  <a:lnTo>
                    <a:pt x="714" y="119"/>
                  </a:lnTo>
                  <a:lnTo>
                    <a:pt x="716" y="117"/>
                  </a:lnTo>
                  <a:lnTo>
                    <a:pt x="713" y="116"/>
                  </a:lnTo>
                  <a:lnTo>
                    <a:pt x="710" y="116"/>
                  </a:lnTo>
                  <a:lnTo>
                    <a:pt x="711" y="117"/>
                  </a:lnTo>
                  <a:lnTo>
                    <a:pt x="714" y="119"/>
                  </a:lnTo>
                  <a:close/>
                  <a:moveTo>
                    <a:pt x="719" y="106"/>
                  </a:moveTo>
                  <a:lnTo>
                    <a:pt x="719" y="106"/>
                  </a:lnTo>
                  <a:lnTo>
                    <a:pt x="719" y="104"/>
                  </a:lnTo>
                  <a:lnTo>
                    <a:pt x="719" y="102"/>
                  </a:lnTo>
                  <a:lnTo>
                    <a:pt x="713" y="99"/>
                  </a:lnTo>
                  <a:lnTo>
                    <a:pt x="710" y="99"/>
                  </a:lnTo>
                  <a:lnTo>
                    <a:pt x="711" y="103"/>
                  </a:lnTo>
                  <a:lnTo>
                    <a:pt x="713" y="104"/>
                  </a:lnTo>
                  <a:lnTo>
                    <a:pt x="716" y="106"/>
                  </a:lnTo>
                  <a:lnTo>
                    <a:pt x="719" y="106"/>
                  </a:lnTo>
                  <a:close/>
                  <a:moveTo>
                    <a:pt x="716" y="96"/>
                  </a:moveTo>
                  <a:lnTo>
                    <a:pt x="716" y="96"/>
                  </a:lnTo>
                  <a:lnTo>
                    <a:pt x="719" y="93"/>
                  </a:lnTo>
                  <a:lnTo>
                    <a:pt x="719" y="90"/>
                  </a:lnTo>
                  <a:lnTo>
                    <a:pt x="717" y="89"/>
                  </a:lnTo>
                  <a:lnTo>
                    <a:pt x="716" y="89"/>
                  </a:lnTo>
                  <a:lnTo>
                    <a:pt x="714" y="89"/>
                  </a:lnTo>
                  <a:lnTo>
                    <a:pt x="710" y="89"/>
                  </a:lnTo>
                  <a:lnTo>
                    <a:pt x="706" y="89"/>
                  </a:lnTo>
                  <a:lnTo>
                    <a:pt x="707" y="91"/>
                  </a:lnTo>
                  <a:lnTo>
                    <a:pt x="708" y="93"/>
                  </a:lnTo>
                  <a:lnTo>
                    <a:pt x="710" y="93"/>
                  </a:lnTo>
                  <a:lnTo>
                    <a:pt x="713" y="91"/>
                  </a:lnTo>
                  <a:lnTo>
                    <a:pt x="714" y="94"/>
                  </a:lnTo>
                  <a:lnTo>
                    <a:pt x="716" y="96"/>
                  </a:lnTo>
                  <a:close/>
                  <a:moveTo>
                    <a:pt x="732" y="93"/>
                  </a:moveTo>
                  <a:lnTo>
                    <a:pt x="732" y="93"/>
                  </a:lnTo>
                  <a:lnTo>
                    <a:pt x="733" y="91"/>
                  </a:lnTo>
                  <a:lnTo>
                    <a:pt x="730" y="89"/>
                  </a:lnTo>
                  <a:lnTo>
                    <a:pt x="730" y="86"/>
                  </a:lnTo>
                  <a:lnTo>
                    <a:pt x="733" y="83"/>
                  </a:lnTo>
                  <a:lnTo>
                    <a:pt x="733" y="81"/>
                  </a:lnTo>
                  <a:lnTo>
                    <a:pt x="733" y="79"/>
                  </a:lnTo>
                  <a:lnTo>
                    <a:pt x="730" y="79"/>
                  </a:lnTo>
                  <a:lnTo>
                    <a:pt x="727" y="81"/>
                  </a:lnTo>
                  <a:lnTo>
                    <a:pt x="727" y="84"/>
                  </a:lnTo>
                  <a:lnTo>
                    <a:pt x="727" y="87"/>
                  </a:lnTo>
                  <a:lnTo>
                    <a:pt x="727" y="91"/>
                  </a:lnTo>
                  <a:lnTo>
                    <a:pt x="729" y="93"/>
                  </a:lnTo>
                  <a:lnTo>
                    <a:pt x="732" y="93"/>
                  </a:lnTo>
                  <a:close/>
                  <a:moveTo>
                    <a:pt x="503" y="51"/>
                  </a:moveTo>
                  <a:lnTo>
                    <a:pt x="503" y="51"/>
                  </a:lnTo>
                  <a:lnTo>
                    <a:pt x="504" y="50"/>
                  </a:lnTo>
                  <a:lnTo>
                    <a:pt x="505" y="48"/>
                  </a:lnTo>
                  <a:lnTo>
                    <a:pt x="505" y="46"/>
                  </a:lnTo>
                  <a:lnTo>
                    <a:pt x="501" y="46"/>
                  </a:lnTo>
                  <a:lnTo>
                    <a:pt x="498" y="47"/>
                  </a:lnTo>
                  <a:lnTo>
                    <a:pt x="495" y="47"/>
                  </a:lnTo>
                  <a:lnTo>
                    <a:pt x="495" y="50"/>
                  </a:lnTo>
                  <a:lnTo>
                    <a:pt x="498" y="50"/>
                  </a:lnTo>
                  <a:lnTo>
                    <a:pt x="501" y="51"/>
                  </a:lnTo>
                  <a:lnTo>
                    <a:pt x="503" y="51"/>
                  </a:lnTo>
                  <a:close/>
                  <a:moveTo>
                    <a:pt x="514" y="37"/>
                  </a:moveTo>
                  <a:lnTo>
                    <a:pt x="514" y="37"/>
                  </a:lnTo>
                  <a:lnTo>
                    <a:pt x="517" y="31"/>
                  </a:lnTo>
                  <a:lnTo>
                    <a:pt x="520" y="24"/>
                  </a:lnTo>
                  <a:lnTo>
                    <a:pt x="516" y="25"/>
                  </a:lnTo>
                  <a:lnTo>
                    <a:pt x="511" y="27"/>
                  </a:lnTo>
                  <a:lnTo>
                    <a:pt x="508" y="28"/>
                  </a:lnTo>
                  <a:lnTo>
                    <a:pt x="505" y="33"/>
                  </a:lnTo>
                  <a:lnTo>
                    <a:pt x="508" y="33"/>
                  </a:lnTo>
                  <a:lnTo>
                    <a:pt x="508" y="31"/>
                  </a:lnTo>
                  <a:lnTo>
                    <a:pt x="510" y="34"/>
                  </a:lnTo>
                  <a:lnTo>
                    <a:pt x="510" y="35"/>
                  </a:lnTo>
                  <a:lnTo>
                    <a:pt x="511" y="35"/>
                  </a:lnTo>
                  <a:lnTo>
                    <a:pt x="514" y="37"/>
                  </a:lnTo>
                  <a:close/>
                </a:path>
              </a:pathLst>
            </a:custGeom>
            <a:solidFill>
              <a:srgbClr val="E20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3" name="Skupina 1062">
            <a:extLst>
              <a:ext uri="{FF2B5EF4-FFF2-40B4-BE49-F238E27FC236}">
                <a16:creationId xmlns:a16="http://schemas.microsoft.com/office/drawing/2014/main" id="{079B90BA-CFA5-A43D-6458-6EA70F80BE97}"/>
              </a:ext>
            </a:extLst>
          </p:cNvPr>
          <p:cNvGrpSpPr/>
          <p:nvPr/>
        </p:nvGrpSpPr>
        <p:grpSpPr>
          <a:xfrm>
            <a:off x="10287000" y="3894138"/>
            <a:ext cx="1524000" cy="495300"/>
            <a:chOff x="10287000" y="3894138"/>
            <a:chExt cx="1524000" cy="495300"/>
          </a:xfrm>
        </p:grpSpPr>
        <p:sp>
          <p:nvSpPr>
            <p:cNvPr id="1025" name="Freeform 30">
              <a:extLst>
                <a:ext uri="{FF2B5EF4-FFF2-40B4-BE49-F238E27FC236}">
                  <a16:creationId xmlns:a16="http://schemas.microsoft.com/office/drawing/2014/main" id="{CA5EF41B-5CD4-389F-71EA-B31CDBA49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2525" y="4003675"/>
              <a:ext cx="61913" cy="92075"/>
            </a:xfrm>
            <a:custGeom>
              <a:avLst/>
              <a:gdLst>
                <a:gd name="T0" fmla="*/ 115 w 117"/>
                <a:gd name="T1" fmla="*/ 133 h 173"/>
                <a:gd name="T2" fmla="*/ 107 w 117"/>
                <a:gd name="T3" fmla="*/ 153 h 173"/>
                <a:gd name="T4" fmla="*/ 92 w 117"/>
                <a:gd name="T5" fmla="*/ 166 h 173"/>
                <a:gd name="T6" fmla="*/ 72 w 117"/>
                <a:gd name="T7" fmla="*/ 173 h 173"/>
                <a:gd name="T8" fmla="*/ 46 w 117"/>
                <a:gd name="T9" fmla="*/ 172 h 173"/>
                <a:gd name="T10" fmla="*/ 29 w 117"/>
                <a:gd name="T11" fmla="*/ 166 h 173"/>
                <a:gd name="T12" fmla="*/ 19 w 117"/>
                <a:gd name="T13" fmla="*/ 159 h 173"/>
                <a:gd name="T14" fmla="*/ 9 w 117"/>
                <a:gd name="T15" fmla="*/ 145 h 173"/>
                <a:gd name="T16" fmla="*/ 2 w 117"/>
                <a:gd name="T17" fmla="*/ 119 h 173"/>
                <a:gd name="T18" fmla="*/ 2 w 117"/>
                <a:gd name="T19" fmla="*/ 89 h 173"/>
                <a:gd name="T20" fmla="*/ 10 w 117"/>
                <a:gd name="T21" fmla="*/ 63 h 173"/>
                <a:gd name="T22" fmla="*/ 26 w 117"/>
                <a:gd name="T23" fmla="*/ 46 h 173"/>
                <a:gd name="T24" fmla="*/ 48 w 117"/>
                <a:gd name="T25" fmla="*/ 36 h 173"/>
                <a:gd name="T26" fmla="*/ 72 w 117"/>
                <a:gd name="T27" fmla="*/ 36 h 173"/>
                <a:gd name="T28" fmla="*/ 92 w 117"/>
                <a:gd name="T29" fmla="*/ 41 h 173"/>
                <a:gd name="T30" fmla="*/ 107 w 117"/>
                <a:gd name="T31" fmla="*/ 54 h 173"/>
                <a:gd name="T32" fmla="*/ 115 w 117"/>
                <a:gd name="T33" fmla="*/ 74 h 173"/>
                <a:gd name="T34" fmla="*/ 81 w 117"/>
                <a:gd name="T35" fmla="*/ 87 h 173"/>
                <a:gd name="T36" fmla="*/ 75 w 117"/>
                <a:gd name="T37" fmla="*/ 67 h 173"/>
                <a:gd name="T38" fmla="*/ 69 w 117"/>
                <a:gd name="T39" fmla="*/ 63 h 173"/>
                <a:gd name="T40" fmla="*/ 61 w 117"/>
                <a:gd name="T41" fmla="*/ 60 h 173"/>
                <a:gd name="T42" fmla="*/ 51 w 117"/>
                <a:gd name="T43" fmla="*/ 64 h 173"/>
                <a:gd name="T44" fmla="*/ 43 w 117"/>
                <a:gd name="T45" fmla="*/ 73 h 173"/>
                <a:gd name="T46" fmla="*/ 39 w 117"/>
                <a:gd name="T47" fmla="*/ 87 h 173"/>
                <a:gd name="T48" fmla="*/ 38 w 117"/>
                <a:gd name="T49" fmla="*/ 104 h 173"/>
                <a:gd name="T50" fmla="*/ 39 w 117"/>
                <a:gd name="T51" fmla="*/ 122 h 173"/>
                <a:gd name="T52" fmla="*/ 43 w 117"/>
                <a:gd name="T53" fmla="*/ 135 h 173"/>
                <a:gd name="T54" fmla="*/ 51 w 117"/>
                <a:gd name="T55" fmla="*/ 143 h 173"/>
                <a:gd name="T56" fmla="*/ 61 w 117"/>
                <a:gd name="T57" fmla="*/ 148 h 173"/>
                <a:gd name="T58" fmla="*/ 69 w 117"/>
                <a:gd name="T59" fmla="*/ 146 h 173"/>
                <a:gd name="T60" fmla="*/ 75 w 117"/>
                <a:gd name="T61" fmla="*/ 140 h 173"/>
                <a:gd name="T62" fmla="*/ 81 w 117"/>
                <a:gd name="T63" fmla="*/ 122 h 173"/>
                <a:gd name="T64" fmla="*/ 77 w 117"/>
                <a:gd name="T65" fmla="*/ 27 h 173"/>
                <a:gd name="T66" fmla="*/ 42 w 117"/>
                <a:gd name="T67" fmla="*/ 27 h 173"/>
                <a:gd name="T68" fmla="*/ 43 w 117"/>
                <a:gd name="T69" fmla="*/ 0 h 173"/>
                <a:gd name="T70" fmla="*/ 75 w 117"/>
                <a:gd name="T71" fmla="*/ 0 h 173"/>
                <a:gd name="T72" fmla="*/ 77 w 117"/>
                <a:gd name="T73" fmla="*/ 2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7" h="173">
                  <a:moveTo>
                    <a:pt x="117" y="122"/>
                  </a:moveTo>
                  <a:lnTo>
                    <a:pt x="115" y="133"/>
                  </a:lnTo>
                  <a:lnTo>
                    <a:pt x="113" y="145"/>
                  </a:lnTo>
                  <a:lnTo>
                    <a:pt x="107" y="153"/>
                  </a:lnTo>
                  <a:lnTo>
                    <a:pt x="101" y="160"/>
                  </a:lnTo>
                  <a:lnTo>
                    <a:pt x="92" y="166"/>
                  </a:lnTo>
                  <a:lnTo>
                    <a:pt x="84" y="171"/>
                  </a:lnTo>
                  <a:lnTo>
                    <a:pt x="72" y="173"/>
                  </a:lnTo>
                  <a:lnTo>
                    <a:pt x="61" y="173"/>
                  </a:lnTo>
                  <a:lnTo>
                    <a:pt x="46" y="172"/>
                  </a:lnTo>
                  <a:lnTo>
                    <a:pt x="33" y="169"/>
                  </a:lnTo>
                  <a:lnTo>
                    <a:pt x="29" y="166"/>
                  </a:lnTo>
                  <a:lnTo>
                    <a:pt x="23" y="163"/>
                  </a:lnTo>
                  <a:lnTo>
                    <a:pt x="19" y="159"/>
                  </a:lnTo>
                  <a:lnTo>
                    <a:pt x="15" y="155"/>
                  </a:lnTo>
                  <a:lnTo>
                    <a:pt x="9" y="145"/>
                  </a:lnTo>
                  <a:lnTo>
                    <a:pt x="5" y="133"/>
                  </a:lnTo>
                  <a:lnTo>
                    <a:pt x="2" y="119"/>
                  </a:lnTo>
                  <a:lnTo>
                    <a:pt x="0" y="104"/>
                  </a:lnTo>
                  <a:lnTo>
                    <a:pt x="2" y="89"/>
                  </a:lnTo>
                  <a:lnTo>
                    <a:pt x="5" y="76"/>
                  </a:lnTo>
                  <a:lnTo>
                    <a:pt x="10" y="63"/>
                  </a:lnTo>
                  <a:lnTo>
                    <a:pt x="18" y="53"/>
                  </a:lnTo>
                  <a:lnTo>
                    <a:pt x="26" y="46"/>
                  </a:lnTo>
                  <a:lnTo>
                    <a:pt x="36" y="38"/>
                  </a:lnTo>
                  <a:lnTo>
                    <a:pt x="48" y="36"/>
                  </a:lnTo>
                  <a:lnTo>
                    <a:pt x="61" y="34"/>
                  </a:lnTo>
                  <a:lnTo>
                    <a:pt x="72" y="36"/>
                  </a:lnTo>
                  <a:lnTo>
                    <a:pt x="84" y="37"/>
                  </a:lnTo>
                  <a:lnTo>
                    <a:pt x="92" y="41"/>
                  </a:lnTo>
                  <a:lnTo>
                    <a:pt x="101" y="47"/>
                  </a:lnTo>
                  <a:lnTo>
                    <a:pt x="107" y="54"/>
                  </a:lnTo>
                  <a:lnTo>
                    <a:pt x="113" y="63"/>
                  </a:lnTo>
                  <a:lnTo>
                    <a:pt x="115" y="74"/>
                  </a:lnTo>
                  <a:lnTo>
                    <a:pt x="117" y="87"/>
                  </a:lnTo>
                  <a:lnTo>
                    <a:pt x="81" y="87"/>
                  </a:lnTo>
                  <a:lnTo>
                    <a:pt x="79" y="76"/>
                  </a:lnTo>
                  <a:lnTo>
                    <a:pt x="75" y="67"/>
                  </a:lnTo>
                  <a:lnTo>
                    <a:pt x="74" y="64"/>
                  </a:lnTo>
                  <a:lnTo>
                    <a:pt x="69" y="63"/>
                  </a:lnTo>
                  <a:lnTo>
                    <a:pt x="65" y="61"/>
                  </a:lnTo>
                  <a:lnTo>
                    <a:pt x="61" y="60"/>
                  </a:lnTo>
                  <a:lnTo>
                    <a:pt x="55" y="61"/>
                  </a:lnTo>
                  <a:lnTo>
                    <a:pt x="51" y="64"/>
                  </a:lnTo>
                  <a:lnTo>
                    <a:pt x="46" y="67"/>
                  </a:lnTo>
                  <a:lnTo>
                    <a:pt x="43" y="73"/>
                  </a:lnTo>
                  <a:lnTo>
                    <a:pt x="41" y="80"/>
                  </a:lnTo>
                  <a:lnTo>
                    <a:pt x="39" y="87"/>
                  </a:lnTo>
                  <a:lnTo>
                    <a:pt x="39" y="94"/>
                  </a:lnTo>
                  <a:lnTo>
                    <a:pt x="38" y="104"/>
                  </a:lnTo>
                  <a:lnTo>
                    <a:pt x="39" y="113"/>
                  </a:lnTo>
                  <a:lnTo>
                    <a:pt x="39" y="122"/>
                  </a:lnTo>
                  <a:lnTo>
                    <a:pt x="41" y="129"/>
                  </a:lnTo>
                  <a:lnTo>
                    <a:pt x="43" y="135"/>
                  </a:lnTo>
                  <a:lnTo>
                    <a:pt x="46" y="140"/>
                  </a:lnTo>
                  <a:lnTo>
                    <a:pt x="51" y="143"/>
                  </a:lnTo>
                  <a:lnTo>
                    <a:pt x="55" y="146"/>
                  </a:lnTo>
                  <a:lnTo>
                    <a:pt x="61" y="148"/>
                  </a:lnTo>
                  <a:lnTo>
                    <a:pt x="65" y="146"/>
                  </a:lnTo>
                  <a:lnTo>
                    <a:pt x="69" y="146"/>
                  </a:lnTo>
                  <a:lnTo>
                    <a:pt x="74" y="143"/>
                  </a:lnTo>
                  <a:lnTo>
                    <a:pt x="75" y="140"/>
                  </a:lnTo>
                  <a:lnTo>
                    <a:pt x="79" y="132"/>
                  </a:lnTo>
                  <a:lnTo>
                    <a:pt x="81" y="122"/>
                  </a:lnTo>
                  <a:lnTo>
                    <a:pt x="117" y="122"/>
                  </a:lnTo>
                  <a:close/>
                  <a:moveTo>
                    <a:pt x="77" y="27"/>
                  </a:moveTo>
                  <a:lnTo>
                    <a:pt x="77" y="27"/>
                  </a:lnTo>
                  <a:lnTo>
                    <a:pt x="42" y="27"/>
                  </a:lnTo>
                  <a:lnTo>
                    <a:pt x="13" y="0"/>
                  </a:lnTo>
                  <a:lnTo>
                    <a:pt x="43" y="0"/>
                  </a:lnTo>
                  <a:lnTo>
                    <a:pt x="59" y="10"/>
                  </a:lnTo>
                  <a:lnTo>
                    <a:pt x="75" y="0"/>
                  </a:lnTo>
                  <a:lnTo>
                    <a:pt x="105" y="0"/>
                  </a:lnTo>
                  <a:lnTo>
                    <a:pt x="77" y="2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6" name="Freeform 31">
              <a:extLst>
                <a:ext uri="{FF2B5EF4-FFF2-40B4-BE49-F238E27FC236}">
                  <a16:creationId xmlns:a16="http://schemas.microsoft.com/office/drawing/2014/main" id="{B40120F3-4B08-96B3-F8C8-643C9C473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82375" y="4038600"/>
              <a:ext cx="49213" cy="57150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5 w 95"/>
                <a:gd name="T13" fmla="*/ 105 h 106"/>
                <a:gd name="T14" fmla="*/ 58 w 95"/>
                <a:gd name="T15" fmla="*/ 106 h 106"/>
                <a:gd name="T16" fmla="*/ 48 w 95"/>
                <a:gd name="T17" fmla="*/ 106 h 106"/>
                <a:gd name="T18" fmla="*/ 36 w 95"/>
                <a:gd name="T19" fmla="*/ 106 h 106"/>
                <a:gd name="T20" fmla="*/ 28 w 95"/>
                <a:gd name="T21" fmla="*/ 104 h 106"/>
                <a:gd name="T22" fmla="*/ 19 w 95"/>
                <a:gd name="T23" fmla="*/ 99 h 106"/>
                <a:gd name="T24" fmla="*/ 12 w 95"/>
                <a:gd name="T25" fmla="*/ 92 h 106"/>
                <a:gd name="T26" fmla="*/ 6 w 95"/>
                <a:gd name="T27" fmla="*/ 85 h 106"/>
                <a:gd name="T28" fmla="*/ 3 w 95"/>
                <a:gd name="T29" fmla="*/ 76 h 106"/>
                <a:gd name="T30" fmla="*/ 0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2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3 h 106"/>
                <a:gd name="T54" fmla="*/ 77 w 95"/>
                <a:gd name="T55" fmla="*/ 7 h 106"/>
                <a:gd name="T56" fmla="*/ 84 w 95"/>
                <a:gd name="T57" fmla="*/ 14 h 106"/>
                <a:gd name="T58" fmla="*/ 88 w 95"/>
                <a:gd name="T59" fmla="*/ 22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0 h 106"/>
                <a:gd name="T66" fmla="*/ 33 w 95"/>
                <a:gd name="T67" fmla="*/ 60 h 106"/>
                <a:gd name="T68" fmla="*/ 35 w 95"/>
                <a:gd name="T69" fmla="*/ 72 h 106"/>
                <a:gd name="T70" fmla="*/ 38 w 95"/>
                <a:gd name="T71" fmla="*/ 79 h 106"/>
                <a:gd name="T72" fmla="*/ 39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8 w 95"/>
                <a:gd name="T79" fmla="*/ 85 h 106"/>
                <a:gd name="T80" fmla="*/ 54 w 95"/>
                <a:gd name="T81" fmla="*/ 83 h 106"/>
                <a:gd name="T82" fmla="*/ 56 w 95"/>
                <a:gd name="T83" fmla="*/ 82 h 106"/>
                <a:gd name="T84" fmla="*/ 59 w 95"/>
                <a:gd name="T85" fmla="*/ 78 h 106"/>
                <a:gd name="T86" fmla="*/ 61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2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6"/>
                  </a:lnTo>
                  <a:lnTo>
                    <a:pt x="36" y="106"/>
                  </a:lnTo>
                  <a:lnTo>
                    <a:pt x="28" y="104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2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3"/>
                  </a:lnTo>
                  <a:lnTo>
                    <a:pt x="77" y="7"/>
                  </a:lnTo>
                  <a:lnTo>
                    <a:pt x="84" y="14"/>
                  </a:lnTo>
                  <a:lnTo>
                    <a:pt x="88" y="22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0"/>
                  </a:lnTo>
                  <a:lnTo>
                    <a:pt x="33" y="60"/>
                  </a:lnTo>
                  <a:lnTo>
                    <a:pt x="35" y="72"/>
                  </a:lnTo>
                  <a:lnTo>
                    <a:pt x="38" y="79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4" y="83"/>
                  </a:lnTo>
                  <a:lnTo>
                    <a:pt x="56" y="82"/>
                  </a:lnTo>
                  <a:lnTo>
                    <a:pt x="59" y="78"/>
                  </a:lnTo>
                  <a:lnTo>
                    <a:pt x="61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2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7" name="Freeform 32">
              <a:extLst>
                <a:ext uri="{FF2B5EF4-FFF2-40B4-BE49-F238E27FC236}">
                  <a16:creationId xmlns:a16="http://schemas.microsoft.com/office/drawing/2014/main" id="{43E86E30-0A21-D53E-137F-5A21380D0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525" y="4038600"/>
              <a:ext cx="47625" cy="57150"/>
            </a:xfrm>
            <a:custGeom>
              <a:avLst/>
              <a:gdLst>
                <a:gd name="T0" fmla="*/ 54 w 90"/>
                <a:gd name="T1" fmla="*/ 27 h 106"/>
                <a:gd name="T2" fmla="*/ 48 w 90"/>
                <a:gd name="T3" fmla="*/ 22 h 106"/>
                <a:gd name="T4" fmla="*/ 38 w 90"/>
                <a:gd name="T5" fmla="*/ 22 h 106"/>
                <a:gd name="T6" fmla="*/ 32 w 90"/>
                <a:gd name="T7" fmla="*/ 26 h 106"/>
                <a:gd name="T8" fmla="*/ 32 w 90"/>
                <a:gd name="T9" fmla="*/ 32 h 106"/>
                <a:gd name="T10" fmla="*/ 33 w 90"/>
                <a:gd name="T11" fmla="*/ 36 h 106"/>
                <a:gd name="T12" fmla="*/ 43 w 90"/>
                <a:gd name="T13" fmla="*/ 39 h 106"/>
                <a:gd name="T14" fmla="*/ 67 w 90"/>
                <a:gd name="T15" fmla="*/ 43 h 106"/>
                <a:gd name="T16" fmla="*/ 82 w 90"/>
                <a:gd name="T17" fmla="*/ 52 h 106"/>
                <a:gd name="T18" fmla="*/ 90 w 90"/>
                <a:gd name="T19" fmla="*/ 63 h 106"/>
                <a:gd name="T20" fmla="*/ 90 w 90"/>
                <a:gd name="T21" fmla="*/ 79 h 106"/>
                <a:gd name="T22" fmla="*/ 82 w 90"/>
                <a:gd name="T23" fmla="*/ 92 h 106"/>
                <a:gd name="T24" fmla="*/ 71 w 90"/>
                <a:gd name="T25" fmla="*/ 102 h 106"/>
                <a:gd name="T26" fmla="*/ 55 w 90"/>
                <a:gd name="T27" fmla="*/ 106 h 106"/>
                <a:gd name="T28" fmla="*/ 36 w 90"/>
                <a:gd name="T29" fmla="*/ 106 h 106"/>
                <a:gd name="T30" fmla="*/ 20 w 90"/>
                <a:gd name="T31" fmla="*/ 102 h 106"/>
                <a:gd name="T32" fmla="*/ 9 w 90"/>
                <a:gd name="T33" fmla="*/ 93 h 106"/>
                <a:gd name="T34" fmla="*/ 2 w 90"/>
                <a:gd name="T35" fmla="*/ 81 h 106"/>
                <a:gd name="T36" fmla="*/ 33 w 90"/>
                <a:gd name="T37" fmla="*/ 72 h 106"/>
                <a:gd name="T38" fmla="*/ 38 w 90"/>
                <a:gd name="T39" fmla="*/ 83 h 106"/>
                <a:gd name="T40" fmla="*/ 46 w 90"/>
                <a:gd name="T41" fmla="*/ 86 h 106"/>
                <a:gd name="T42" fmla="*/ 56 w 90"/>
                <a:gd name="T43" fmla="*/ 85 h 106"/>
                <a:gd name="T44" fmla="*/ 59 w 90"/>
                <a:gd name="T45" fmla="*/ 76 h 106"/>
                <a:gd name="T46" fmla="*/ 58 w 90"/>
                <a:gd name="T47" fmla="*/ 72 h 106"/>
                <a:gd name="T48" fmla="*/ 54 w 90"/>
                <a:gd name="T49" fmla="*/ 69 h 106"/>
                <a:gd name="T50" fmla="*/ 38 w 90"/>
                <a:gd name="T51" fmla="*/ 66 h 106"/>
                <a:gd name="T52" fmla="*/ 13 w 90"/>
                <a:gd name="T53" fmla="*/ 58 h 106"/>
                <a:gd name="T54" fmla="*/ 5 w 90"/>
                <a:gd name="T55" fmla="*/ 49 h 106"/>
                <a:gd name="T56" fmla="*/ 2 w 90"/>
                <a:gd name="T57" fmla="*/ 33 h 106"/>
                <a:gd name="T58" fmla="*/ 5 w 90"/>
                <a:gd name="T59" fmla="*/ 19 h 106"/>
                <a:gd name="T60" fmla="*/ 13 w 90"/>
                <a:gd name="T61" fmla="*/ 9 h 106"/>
                <a:gd name="T62" fmla="*/ 26 w 90"/>
                <a:gd name="T63" fmla="*/ 3 h 106"/>
                <a:gd name="T64" fmla="*/ 42 w 90"/>
                <a:gd name="T65" fmla="*/ 0 h 106"/>
                <a:gd name="T66" fmla="*/ 62 w 90"/>
                <a:gd name="T67" fmla="*/ 2 h 106"/>
                <a:gd name="T68" fmla="*/ 75 w 90"/>
                <a:gd name="T69" fmla="*/ 9 h 106"/>
                <a:gd name="T70" fmla="*/ 84 w 90"/>
                <a:gd name="T71" fmla="*/ 19 h 106"/>
                <a:gd name="T72" fmla="*/ 87 w 90"/>
                <a:gd name="T73" fmla="*/ 3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6">
                  <a:moveTo>
                    <a:pt x="55" y="32"/>
                  </a:moveTo>
                  <a:lnTo>
                    <a:pt x="54" y="27"/>
                  </a:lnTo>
                  <a:lnTo>
                    <a:pt x="51" y="23"/>
                  </a:lnTo>
                  <a:lnTo>
                    <a:pt x="48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5" y="23"/>
                  </a:lnTo>
                  <a:lnTo>
                    <a:pt x="32" y="26"/>
                  </a:lnTo>
                  <a:lnTo>
                    <a:pt x="31" y="29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3" y="39"/>
                  </a:lnTo>
                  <a:lnTo>
                    <a:pt x="52" y="40"/>
                  </a:lnTo>
                  <a:lnTo>
                    <a:pt x="67" y="43"/>
                  </a:lnTo>
                  <a:lnTo>
                    <a:pt x="78" y="47"/>
                  </a:lnTo>
                  <a:lnTo>
                    <a:pt x="82" y="52"/>
                  </a:lnTo>
                  <a:lnTo>
                    <a:pt x="87" y="58"/>
                  </a:lnTo>
                  <a:lnTo>
                    <a:pt x="90" y="63"/>
                  </a:lnTo>
                  <a:lnTo>
                    <a:pt x="90" y="72"/>
                  </a:lnTo>
                  <a:lnTo>
                    <a:pt x="90" y="79"/>
                  </a:lnTo>
                  <a:lnTo>
                    <a:pt x="87" y="86"/>
                  </a:lnTo>
                  <a:lnTo>
                    <a:pt x="82" y="92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6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20" y="102"/>
                  </a:lnTo>
                  <a:lnTo>
                    <a:pt x="13" y="98"/>
                  </a:lnTo>
                  <a:lnTo>
                    <a:pt x="9" y="93"/>
                  </a:lnTo>
                  <a:lnTo>
                    <a:pt x="5" y="88"/>
                  </a:lnTo>
                  <a:lnTo>
                    <a:pt x="2" y="81"/>
                  </a:lnTo>
                  <a:lnTo>
                    <a:pt x="0" y="72"/>
                  </a:lnTo>
                  <a:lnTo>
                    <a:pt x="33" y="72"/>
                  </a:lnTo>
                  <a:lnTo>
                    <a:pt x="35" y="79"/>
                  </a:lnTo>
                  <a:lnTo>
                    <a:pt x="38" y="83"/>
                  </a:lnTo>
                  <a:lnTo>
                    <a:pt x="42" y="85"/>
                  </a:lnTo>
                  <a:lnTo>
                    <a:pt x="46" y="86"/>
                  </a:lnTo>
                  <a:lnTo>
                    <a:pt x="52" y="86"/>
                  </a:lnTo>
                  <a:lnTo>
                    <a:pt x="56" y="85"/>
                  </a:lnTo>
                  <a:lnTo>
                    <a:pt x="59" y="82"/>
                  </a:lnTo>
                  <a:lnTo>
                    <a:pt x="59" y="76"/>
                  </a:lnTo>
                  <a:lnTo>
                    <a:pt x="59" y="75"/>
                  </a:lnTo>
                  <a:lnTo>
                    <a:pt x="58" y="72"/>
                  </a:lnTo>
                  <a:lnTo>
                    <a:pt x="56" y="70"/>
                  </a:lnTo>
                  <a:lnTo>
                    <a:pt x="54" y="69"/>
                  </a:lnTo>
                  <a:lnTo>
                    <a:pt x="46" y="68"/>
                  </a:lnTo>
                  <a:lnTo>
                    <a:pt x="38" y="66"/>
                  </a:lnTo>
                  <a:lnTo>
                    <a:pt x="25" y="63"/>
                  </a:lnTo>
                  <a:lnTo>
                    <a:pt x="13" y="58"/>
                  </a:lnTo>
                  <a:lnTo>
                    <a:pt x="7" y="53"/>
                  </a:lnTo>
                  <a:lnTo>
                    <a:pt x="5" y="49"/>
                  </a:lnTo>
                  <a:lnTo>
                    <a:pt x="2" y="42"/>
                  </a:lnTo>
                  <a:lnTo>
                    <a:pt x="2" y="33"/>
                  </a:lnTo>
                  <a:lnTo>
                    <a:pt x="2" y="26"/>
                  </a:lnTo>
                  <a:lnTo>
                    <a:pt x="5" y="19"/>
                  </a:lnTo>
                  <a:lnTo>
                    <a:pt x="9" y="13"/>
                  </a:lnTo>
                  <a:lnTo>
                    <a:pt x="13" y="9"/>
                  </a:lnTo>
                  <a:lnTo>
                    <a:pt x="19" y="4"/>
                  </a:lnTo>
                  <a:lnTo>
                    <a:pt x="26" y="3"/>
                  </a:lnTo>
                  <a:lnTo>
                    <a:pt x="35" y="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2" y="2"/>
                  </a:lnTo>
                  <a:lnTo>
                    <a:pt x="69" y="4"/>
                  </a:lnTo>
                  <a:lnTo>
                    <a:pt x="75" y="9"/>
                  </a:lnTo>
                  <a:lnTo>
                    <a:pt x="81" y="13"/>
                  </a:lnTo>
                  <a:lnTo>
                    <a:pt x="84" y="19"/>
                  </a:lnTo>
                  <a:lnTo>
                    <a:pt x="87" y="25"/>
                  </a:lnTo>
                  <a:lnTo>
                    <a:pt x="87" y="32"/>
                  </a:lnTo>
                  <a:lnTo>
                    <a:pt x="55" y="3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8" name="Freeform 33">
              <a:extLst>
                <a:ext uri="{FF2B5EF4-FFF2-40B4-BE49-F238E27FC236}">
                  <a16:creationId xmlns:a16="http://schemas.microsoft.com/office/drawing/2014/main" id="{68722D6A-4945-F661-E9EF-59BAD5C74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017963"/>
              <a:ext cx="50800" cy="76200"/>
            </a:xfrm>
            <a:custGeom>
              <a:avLst/>
              <a:gdLst>
                <a:gd name="T0" fmla="*/ 0 w 98"/>
                <a:gd name="T1" fmla="*/ 143 h 143"/>
                <a:gd name="T2" fmla="*/ 0 w 98"/>
                <a:gd name="T3" fmla="*/ 0 h 143"/>
                <a:gd name="T4" fmla="*/ 35 w 98"/>
                <a:gd name="T5" fmla="*/ 0 h 143"/>
                <a:gd name="T6" fmla="*/ 35 w 98"/>
                <a:gd name="T7" fmla="*/ 85 h 143"/>
                <a:gd name="T8" fmla="*/ 64 w 98"/>
                <a:gd name="T9" fmla="*/ 42 h 143"/>
                <a:gd name="T10" fmla="*/ 97 w 98"/>
                <a:gd name="T11" fmla="*/ 42 h 143"/>
                <a:gd name="T12" fmla="*/ 65 w 98"/>
                <a:gd name="T13" fmla="*/ 85 h 143"/>
                <a:gd name="T14" fmla="*/ 98 w 98"/>
                <a:gd name="T15" fmla="*/ 143 h 143"/>
                <a:gd name="T16" fmla="*/ 59 w 98"/>
                <a:gd name="T17" fmla="*/ 143 h 143"/>
                <a:gd name="T18" fmla="*/ 35 w 98"/>
                <a:gd name="T19" fmla="*/ 97 h 143"/>
                <a:gd name="T20" fmla="*/ 35 w 98"/>
                <a:gd name="T21" fmla="*/ 143 h 143"/>
                <a:gd name="T22" fmla="*/ 0 w 98"/>
                <a:gd name="T2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43">
                  <a:moveTo>
                    <a:pt x="0" y="143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35" y="85"/>
                  </a:lnTo>
                  <a:lnTo>
                    <a:pt x="64" y="42"/>
                  </a:lnTo>
                  <a:lnTo>
                    <a:pt x="97" y="42"/>
                  </a:lnTo>
                  <a:lnTo>
                    <a:pt x="65" y="85"/>
                  </a:lnTo>
                  <a:lnTo>
                    <a:pt x="98" y="143"/>
                  </a:lnTo>
                  <a:lnTo>
                    <a:pt x="59" y="143"/>
                  </a:lnTo>
                  <a:lnTo>
                    <a:pt x="35" y="97"/>
                  </a:lnTo>
                  <a:lnTo>
                    <a:pt x="35" y="143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9" name="Freeform 34">
              <a:extLst>
                <a:ext uri="{FF2B5EF4-FFF2-40B4-BE49-F238E27FC236}">
                  <a16:creationId xmlns:a16="http://schemas.microsoft.com/office/drawing/2014/main" id="{FC7F992F-BC20-D979-3CE0-30F57C50AC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2238" y="4017963"/>
              <a:ext cx="50800" cy="77788"/>
            </a:xfrm>
            <a:custGeom>
              <a:avLst/>
              <a:gdLst>
                <a:gd name="T0" fmla="*/ 60 w 95"/>
                <a:gd name="T1" fmla="*/ 135 h 146"/>
                <a:gd name="T2" fmla="*/ 46 w 95"/>
                <a:gd name="T3" fmla="*/ 144 h 146"/>
                <a:gd name="T4" fmla="*/ 30 w 95"/>
                <a:gd name="T5" fmla="*/ 146 h 146"/>
                <a:gd name="T6" fmla="*/ 17 w 95"/>
                <a:gd name="T7" fmla="*/ 145 h 146"/>
                <a:gd name="T8" fmla="*/ 7 w 95"/>
                <a:gd name="T9" fmla="*/ 139 h 146"/>
                <a:gd name="T10" fmla="*/ 3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1 w 95"/>
                <a:gd name="T17" fmla="*/ 95 h 146"/>
                <a:gd name="T18" fmla="*/ 27 w 95"/>
                <a:gd name="T19" fmla="*/ 89 h 146"/>
                <a:gd name="T20" fmla="*/ 49 w 95"/>
                <a:gd name="T21" fmla="*/ 86 h 146"/>
                <a:gd name="T22" fmla="*/ 60 w 95"/>
                <a:gd name="T23" fmla="*/ 86 h 146"/>
                <a:gd name="T24" fmla="*/ 60 w 95"/>
                <a:gd name="T25" fmla="*/ 70 h 146"/>
                <a:gd name="T26" fmla="*/ 53 w 95"/>
                <a:gd name="T27" fmla="*/ 63 h 146"/>
                <a:gd name="T28" fmla="*/ 43 w 95"/>
                <a:gd name="T29" fmla="*/ 63 h 146"/>
                <a:gd name="T30" fmla="*/ 36 w 95"/>
                <a:gd name="T31" fmla="*/ 70 h 146"/>
                <a:gd name="T32" fmla="*/ 3 w 95"/>
                <a:gd name="T33" fmla="*/ 77 h 146"/>
                <a:gd name="T34" fmla="*/ 7 w 95"/>
                <a:gd name="T35" fmla="*/ 60 h 146"/>
                <a:gd name="T36" fmla="*/ 16 w 95"/>
                <a:gd name="T37" fmla="*/ 49 h 146"/>
                <a:gd name="T38" fmla="*/ 30 w 95"/>
                <a:gd name="T39" fmla="*/ 43 h 146"/>
                <a:gd name="T40" fmla="*/ 49 w 95"/>
                <a:gd name="T41" fmla="*/ 40 h 146"/>
                <a:gd name="T42" fmla="*/ 63 w 95"/>
                <a:gd name="T43" fmla="*/ 42 h 146"/>
                <a:gd name="T44" fmla="*/ 79 w 95"/>
                <a:gd name="T45" fmla="*/ 46 h 146"/>
                <a:gd name="T46" fmla="*/ 91 w 95"/>
                <a:gd name="T47" fmla="*/ 56 h 146"/>
                <a:gd name="T48" fmla="*/ 95 w 95"/>
                <a:gd name="T49" fmla="*/ 73 h 146"/>
                <a:gd name="T50" fmla="*/ 60 w 95"/>
                <a:gd name="T51" fmla="*/ 144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0 w 95"/>
                <a:gd name="T59" fmla="*/ 103 h 146"/>
                <a:gd name="T60" fmla="*/ 50 w 95"/>
                <a:gd name="T61" fmla="*/ 103 h 146"/>
                <a:gd name="T62" fmla="*/ 40 w 95"/>
                <a:gd name="T63" fmla="*/ 105 h 146"/>
                <a:gd name="T64" fmla="*/ 36 w 95"/>
                <a:gd name="T65" fmla="*/ 109 h 146"/>
                <a:gd name="T66" fmla="*/ 34 w 95"/>
                <a:gd name="T67" fmla="*/ 115 h 146"/>
                <a:gd name="T68" fmla="*/ 37 w 95"/>
                <a:gd name="T69" fmla="*/ 122 h 146"/>
                <a:gd name="T70" fmla="*/ 46 w 95"/>
                <a:gd name="T71" fmla="*/ 123 h 146"/>
                <a:gd name="T72" fmla="*/ 60 w 95"/>
                <a:gd name="T73" fmla="*/ 11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0" y="144"/>
                  </a:moveTo>
                  <a:lnTo>
                    <a:pt x="60" y="135"/>
                  </a:lnTo>
                  <a:lnTo>
                    <a:pt x="53" y="141"/>
                  </a:lnTo>
                  <a:lnTo>
                    <a:pt x="46" y="144"/>
                  </a:lnTo>
                  <a:lnTo>
                    <a:pt x="39" y="146"/>
                  </a:lnTo>
                  <a:lnTo>
                    <a:pt x="30" y="146"/>
                  </a:lnTo>
                  <a:lnTo>
                    <a:pt x="23" y="146"/>
                  </a:lnTo>
                  <a:lnTo>
                    <a:pt x="17" y="145"/>
                  </a:lnTo>
                  <a:lnTo>
                    <a:pt x="11" y="142"/>
                  </a:lnTo>
                  <a:lnTo>
                    <a:pt x="7" y="139"/>
                  </a:lnTo>
                  <a:lnTo>
                    <a:pt x="4" y="135"/>
                  </a:lnTo>
                  <a:lnTo>
                    <a:pt x="3" y="131"/>
                  </a:lnTo>
                  <a:lnTo>
                    <a:pt x="1" y="125"/>
                  </a:lnTo>
                  <a:lnTo>
                    <a:pt x="0" y="119"/>
                  </a:lnTo>
                  <a:lnTo>
                    <a:pt x="1" y="112"/>
                  </a:lnTo>
                  <a:lnTo>
                    <a:pt x="3" y="106"/>
                  </a:lnTo>
                  <a:lnTo>
                    <a:pt x="7" y="100"/>
                  </a:lnTo>
                  <a:lnTo>
                    <a:pt x="11" y="95"/>
                  </a:lnTo>
                  <a:lnTo>
                    <a:pt x="19" y="92"/>
                  </a:lnTo>
                  <a:lnTo>
                    <a:pt x="27" y="89"/>
                  </a:lnTo>
                  <a:lnTo>
                    <a:pt x="37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0" y="86"/>
                  </a:lnTo>
                  <a:lnTo>
                    <a:pt x="60" y="77"/>
                  </a:lnTo>
                  <a:lnTo>
                    <a:pt x="60" y="70"/>
                  </a:lnTo>
                  <a:lnTo>
                    <a:pt x="57" y="66"/>
                  </a:lnTo>
                  <a:lnTo>
                    <a:pt x="53" y="63"/>
                  </a:lnTo>
                  <a:lnTo>
                    <a:pt x="49" y="62"/>
                  </a:lnTo>
                  <a:lnTo>
                    <a:pt x="43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4" y="77"/>
                  </a:lnTo>
                  <a:lnTo>
                    <a:pt x="3" y="77"/>
                  </a:lnTo>
                  <a:lnTo>
                    <a:pt x="4" y="69"/>
                  </a:lnTo>
                  <a:lnTo>
                    <a:pt x="7" y="60"/>
                  </a:lnTo>
                  <a:lnTo>
                    <a:pt x="11" y="54"/>
                  </a:lnTo>
                  <a:lnTo>
                    <a:pt x="16" y="49"/>
                  </a:lnTo>
                  <a:lnTo>
                    <a:pt x="23" y="44"/>
                  </a:lnTo>
                  <a:lnTo>
                    <a:pt x="30" y="43"/>
                  </a:lnTo>
                  <a:lnTo>
                    <a:pt x="39" y="40"/>
                  </a:lnTo>
                  <a:lnTo>
                    <a:pt x="49" y="40"/>
                  </a:lnTo>
                  <a:lnTo>
                    <a:pt x="56" y="40"/>
                  </a:lnTo>
                  <a:lnTo>
                    <a:pt x="63" y="42"/>
                  </a:lnTo>
                  <a:lnTo>
                    <a:pt x="72" y="43"/>
                  </a:lnTo>
                  <a:lnTo>
                    <a:pt x="79" y="46"/>
                  </a:lnTo>
                  <a:lnTo>
                    <a:pt x="85" y="50"/>
                  </a:lnTo>
                  <a:lnTo>
                    <a:pt x="91" y="56"/>
                  </a:lnTo>
                  <a:lnTo>
                    <a:pt x="93" y="65"/>
                  </a:lnTo>
                  <a:lnTo>
                    <a:pt x="95" y="73"/>
                  </a:lnTo>
                  <a:lnTo>
                    <a:pt x="95" y="144"/>
                  </a:lnTo>
                  <a:lnTo>
                    <a:pt x="60" y="144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6" y="0"/>
                  </a:lnTo>
                  <a:lnTo>
                    <a:pt x="85" y="0"/>
                  </a:lnTo>
                  <a:lnTo>
                    <a:pt x="53" y="31"/>
                  </a:lnTo>
                  <a:lnTo>
                    <a:pt x="26" y="31"/>
                  </a:lnTo>
                  <a:close/>
                  <a:moveTo>
                    <a:pt x="60" y="103"/>
                  </a:moveTo>
                  <a:lnTo>
                    <a:pt x="60" y="103"/>
                  </a:lnTo>
                  <a:lnTo>
                    <a:pt x="56" y="103"/>
                  </a:lnTo>
                  <a:lnTo>
                    <a:pt x="50" y="103"/>
                  </a:lnTo>
                  <a:lnTo>
                    <a:pt x="44" y="103"/>
                  </a:lnTo>
                  <a:lnTo>
                    <a:pt x="40" y="105"/>
                  </a:lnTo>
                  <a:lnTo>
                    <a:pt x="37" y="106"/>
                  </a:lnTo>
                  <a:lnTo>
                    <a:pt x="36" y="109"/>
                  </a:lnTo>
                  <a:lnTo>
                    <a:pt x="34" y="110"/>
                  </a:lnTo>
                  <a:lnTo>
                    <a:pt x="34" y="115"/>
                  </a:lnTo>
                  <a:lnTo>
                    <a:pt x="34" y="119"/>
                  </a:lnTo>
                  <a:lnTo>
                    <a:pt x="37" y="122"/>
                  </a:lnTo>
                  <a:lnTo>
                    <a:pt x="42" y="123"/>
                  </a:lnTo>
                  <a:lnTo>
                    <a:pt x="46" y="123"/>
                  </a:lnTo>
                  <a:lnTo>
                    <a:pt x="53" y="122"/>
                  </a:lnTo>
                  <a:lnTo>
                    <a:pt x="60" y="118"/>
                  </a:lnTo>
                  <a:lnTo>
                    <a:pt x="6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0" name="Freeform 35">
              <a:extLst>
                <a:ext uri="{FF2B5EF4-FFF2-40B4-BE49-F238E27FC236}">
                  <a16:creationId xmlns:a16="http://schemas.microsoft.com/office/drawing/2014/main" id="{B6C383B2-2B01-1A7E-F2FA-E673E8BD9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5700" y="4119563"/>
              <a:ext cx="52388" cy="74613"/>
            </a:xfrm>
            <a:custGeom>
              <a:avLst/>
              <a:gdLst>
                <a:gd name="T0" fmla="*/ 0 w 99"/>
                <a:gd name="T1" fmla="*/ 142 h 142"/>
                <a:gd name="T2" fmla="*/ 0 w 99"/>
                <a:gd name="T3" fmla="*/ 0 h 142"/>
                <a:gd name="T4" fmla="*/ 34 w 99"/>
                <a:gd name="T5" fmla="*/ 0 h 142"/>
                <a:gd name="T6" fmla="*/ 34 w 99"/>
                <a:gd name="T7" fmla="*/ 85 h 142"/>
                <a:gd name="T8" fmla="*/ 63 w 99"/>
                <a:gd name="T9" fmla="*/ 42 h 142"/>
                <a:gd name="T10" fmla="*/ 96 w 99"/>
                <a:gd name="T11" fmla="*/ 42 h 142"/>
                <a:gd name="T12" fmla="*/ 64 w 99"/>
                <a:gd name="T13" fmla="*/ 86 h 142"/>
                <a:gd name="T14" fmla="*/ 99 w 99"/>
                <a:gd name="T15" fmla="*/ 142 h 142"/>
                <a:gd name="T16" fmla="*/ 60 w 99"/>
                <a:gd name="T17" fmla="*/ 142 h 142"/>
                <a:gd name="T18" fmla="*/ 34 w 99"/>
                <a:gd name="T19" fmla="*/ 98 h 142"/>
                <a:gd name="T20" fmla="*/ 34 w 99"/>
                <a:gd name="T21" fmla="*/ 142 h 142"/>
                <a:gd name="T22" fmla="*/ 0 w 9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42">
                  <a:moveTo>
                    <a:pt x="0" y="142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34" y="85"/>
                  </a:lnTo>
                  <a:lnTo>
                    <a:pt x="63" y="42"/>
                  </a:lnTo>
                  <a:lnTo>
                    <a:pt x="96" y="42"/>
                  </a:lnTo>
                  <a:lnTo>
                    <a:pt x="64" y="86"/>
                  </a:lnTo>
                  <a:lnTo>
                    <a:pt x="99" y="142"/>
                  </a:lnTo>
                  <a:lnTo>
                    <a:pt x="60" y="142"/>
                  </a:lnTo>
                  <a:lnTo>
                    <a:pt x="34" y="98"/>
                  </a:lnTo>
                  <a:lnTo>
                    <a:pt x="34" y="14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2" name="Freeform 36">
              <a:extLst>
                <a:ext uri="{FF2B5EF4-FFF2-40B4-BE49-F238E27FC236}">
                  <a16:creationId xmlns:a16="http://schemas.microsoft.com/office/drawing/2014/main" id="{CC3F183E-6B61-E44A-DBDC-8BBFADA71E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2850" y="4140200"/>
              <a:ext cx="49213" cy="55563"/>
            </a:xfrm>
            <a:custGeom>
              <a:avLst/>
              <a:gdLst>
                <a:gd name="T0" fmla="*/ 59 w 93"/>
                <a:gd name="T1" fmla="*/ 95 h 106"/>
                <a:gd name="T2" fmla="*/ 44 w 93"/>
                <a:gd name="T3" fmla="*/ 103 h 106"/>
                <a:gd name="T4" fmla="*/ 30 w 93"/>
                <a:gd name="T5" fmla="*/ 106 h 106"/>
                <a:gd name="T6" fmla="*/ 15 w 93"/>
                <a:gd name="T7" fmla="*/ 105 h 106"/>
                <a:gd name="T8" fmla="*/ 7 w 93"/>
                <a:gd name="T9" fmla="*/ 99 h 106"/>
                <a:gd name="T10" fmla="*/ 1 w 93"/>
                <a:gd name="T11" fmla="*/ 91 h 106"/>
                <a:gd name="T12" fmla="*/ 0 w 93"/>
                <a:gd name="T13" fmla="*/ 79 h 106"/>
                <a:gd name="T14" fmla="*/ 1 w 93"/>
                <a:gd name="T15" fmla="*/ 66 h 106"/>
                <a:gd name="T16" fmla="*/ 10 w 93"/>
                <a:gd name="T17" fmla="*/ 56 h 106"/>
                <a:gd name="T18" fmla="*/ 25 w 93"/>
                <a:gd name="T19" fmla="*/ 49 h 106"/>
                <a:gd name="T20" fmla="*/ 47 w 93"/>
                <a:gd name="T21" fmla="*/ 46 h 106"/>
                <a:gd name="T22" fmla="*/ 59 w 93"/>
                <a:gd name="T23" fmla="*/ 46 h 106"/>
                <a:gd name="T24" fmla="*/ 59 w 93"/>
                <a:gd name="T25" fmla="*/ 30 h 106"/>
                <a:gd name="T26" fmla="*/ 53 w 93"/>
                <a:gd name="T27" fmla="*/ 23 h 106"/>
                <a:gd name="T28" fmla="*/ 41 w 93"/>
                <a:gd name="T29" fmla="*/ 23 h 106"/>
                <a:gd name="T30" fmla="*/ 34 w 93"/>
                <a:gd name="T31" fmla="*/ 30 h 106"/>
                <a:gd name="T32" fmla="*/ 1 w 93"/>
                <a:gd name="T33" fmla="*/ 37 h 106"/>
                <a:gd name="T34" fmla="*/ 5 w 93"/>
                <a:gd name="T35" fmla="*/ 20 h 106"/>
                <a:gd name="T36" fmla="*/ 15 w 93"/>
                <a:gd name="T37" fmla="*/ 9 h 106"/>
                <a:gd name="T38" fmla="*/ 30 w 93"/>
                <a:gd name="T39" fmla="*/ 3 h 106"/>
                <a:gd name="T40" fmla="*/ 47 w 93"/>
                <a:gd name="T41" fmla="*/ 0 h 106"/>
                <a:gd name="T42" fmla="*/ 63 w 93"/>
                <a:gd name="T43" fmla="*/ 2 h 106"/>
                <a:gd name="T44" fmla="*/ 77 w 93"/>
                <a:gd name="T45" fmla="*/ 7 h 106"/>
                <a:gd name="T46" fmla="*/ 89 w 93"/>
                <a:gd name="T47" fmla="*/ 17 h 106"/>
                <a:gd name="T48" fmla="*/ 93 w 93"/>
                <a:gd name="T49" fmla="*/ 33 h 106"/>
                <a:gd name="T50" fmla="*/ 59 w 93"/>
                <a:gd name="T51" fmla="*/ 103 h 106"/>
                <a:gd name="T52" fmla="*/ 59 w 93"/>
                <a:gd name="T53" fmla="*/ 63 h 106"/>
                <a:gd name="T54" fmla="*/ 50 w 93"/>
                <a:gd name="T55" fmla="*/ 63 h 106"/>
                <a:gd name="T56" fmla="*/ 38 w 93"/>
                <a:gd name="T57" fmla="*/ 65 h 106"/>
                <a:gd name="T58" fmla="*/ 34 w 93"/>
                <a:gd name="T59" fmla="*/ 69 h 106"/>
                <a:gd name="T60" fmla="*/ 33 w 93"/>
                <a:gd name="T61" fmla="*/ 75 h 106"/>
                <a:gd name="T62" fmla="*/ 37 w 93"/>
                <a:gd name="T63" fmla="*/ 82 h 106"/>
                <a:gd name="T64" fmla="*/ 44 w 93"/>
                <a:gd name="T65" fmla="*/ 85 h 106"/>
                <a:gd name="T66" fmla="*/ 59 w 93"/>
                <a:gd name="T67" fmla="*/ 7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3" h="106">
                  <a:moveTo>
                    <a:pt x="59" y="103"/>
                  </a:moveTo>
                  <a:lnTo>
                    <a:pt x="59" y="95"/>
                  </a:lnTo>
                  <a:lnTo>
                    <a:pt x="53" y="101"/>
                  </a:lnTo>
                  <a:lnTo>
                    <a:pt x="44" y="103"/>
                  </a:lnTo>
                  <a:lnTo>
                    <a:pt x="37" y="106"/>
                  </a:lnTo>
                  <a:lnTo>
                    <a:pt x="30" y="106"/>
                  </a:lnTo>
                  <a:lnTo>
                    <a:pt x="23" y="106"/>
                  </a:lnTo>
                  <a:lnTo>
                    <a:pt x="15" y="105"/>
                  </a:lnTo>
                  <a:lnTo>
                    <a:pt x="11" y="102"/>
                  </a:lnTo>
                  <a:lnTo>
                    <a:pt x="7" y="99"/>
                  </a:lnTo>
                  <a:lnTo>
                    <a:pt x="2" y="95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1" y="66"/>
                  </a:lnTo>
                  <a:lnTo>
                    <a:pt x="5" y="60"/>
                  </a:lnTo>
                  <a:lnTo>
                    <a:pt x="10" y="56"/>
                  </a:lnTo>
                  <a:lnTo>
                    <a:pt x="17" y="52"/>
                  </a:lnTo>
                  <a:lnTo>
                    <a:pt x="25" y="49"/>
                  </a:lnTo>
                  <a:lnTo>
                    <a:pt x="36" y="46"/>
                  </a:lnTo>
                  <a:lnTo>
                    <a:pt x="47" y="46"/>
                  </a:lnTo>
                  <a:lnTo>
                    <a:pt x="53" y="46"/>
                  </a:lnTo>
                  <a:lnTo>
                    <a:pt x="59" y="46"/>
                  </a:lnTo>
                  <a:lnTo>
                    <a:pt x="59" y="37"/>
                  </a:lnTo>
                  <a:lnTo>
                    <a:pt x="59" y="30"/>
                  </a:lnTo>
                  <a:lnTo>
                    <a:pt x="56" y="26"/>
                  </a:lnTo>
                  <a:lnTo>
                    <a:pt x="53" y="23"/>
                  </a:lnTo>
                  <a:lnTo>
                    <a:pt x="47" y="23"/>
                  </a:lnTo>
                  <a:lnTo>
                    <a:pt x="41" y="23"/>
                  </a:lnTo>
                  <a:lnTo>
                    <a:pt x="37" y="26"/>
                  </a:lnTo>
                  <a:lnTo>
                    <a:pt x="34" y="30"/>
                  </a:lnTo>
                  <a:lnTo>
                    <a:pt x="34" y="37"/>
                  </a:lnTo>
                  <a:lnTo>
                    <a:pt x="1" y="37"/>
                  </a:lnTo>
                  <a:lnTo>
                    <a:pt x="2" y="29"/>
                  </a:lnTo>
                  <a:lnTo>
                    <a:pt x="5" y="20"/>
                  </a:lnTo>
                  <a:lnTo>
                    <a:pt x="10" y="14"/>
                  </a:lnTo>
                  <a:lnTo>
                    <a:pt x="15" y="9"/>
                  </a:lnTo>
                  <a:lnTo>
                    <a:pt x="21" y="6"/>
                  </a:lnTo>
                  <a:lnTo>
                    <a:pt x="30" y="3"/>
                  </a:lnTo>
                  <a:lnTo>
                    <a:pt x="37" y="2"/>
                  </a:lnTo>
                  <a:lnTo>
                    <a:pt x="47" y="0"/>
                  </a:lnTo>
                  <a:lnTo>
                    <a:pt x="54" y="2"/>
                  </a:lnTo>
                  <a:lnTo>
                    <a:pt x="63" y="2"/>
                  </a:lnTo>
                  <a:lnTo>
                    <a:pt x="70" y="4"/>
                  </a:lnTo>
                  <a:lnTo>
                    <a:pt x="77" y="7"/>
                  </a:lnTo>
                  <a:lnTo>
                    <a:pt x="85" y="12"/>
                  </a:lnTo>
                  <a:lnTo>
                    <a:pt x="89" y="17"/>
                  </a:lnTo>
                  <a:lnTo>
                    <a:pt x="92" y="25"/>
                  </a:lnTo>
                  <a:lnTo>
                    <a:pt x="93" y="33"/>
                  </a:lnTo>
                  <a:lnTo>
                    <a:pt x="93" y="103"/>
                  </a:lnTo>
                  <a:lnTo>
                    <a:pt x="59" y="103"/>
                  </a:lnTo>
                  <a:close/>
                  <a:moveTo>
                    <a:pt x="59" y="63"/>
                  </a:moveTo>
                  <a:lnTo>
                    <a:pt x="59" y="63"/>
                  </a:lnTo>
                  <a:lnTo>
                    <a:pt x="54" y="63"/>
                  </a:lnTo>
                  <a:lnTo>
                    <a:pt x="50" y="63"/>
                  </a:lnTo>
                  <a:lnTo>
                    <a:pt x="44" y="63"/>
                  </a:lnTo>
                  <a:lnTo>
                    <a:pt x="38" y="65"/>
                  </a:lnTo>
                  <a:lnTo>
                    <a:pt x="36" y="68"/>
                  </a:lnTo>
                  <a:lnTo>
                    <a:pt x="34" y="69"/>
                  </a:lnTo>
                  <a:lnTo>
                    <a:pt x="33" y="72"/>
                  </a:lnTo>
                  <a:lnTo>
                    <a:pt x="33" y="75"/>
                  </a:lnTo>
                  <a:lnTo>
                    <a:pt x="34" y="79"/>
                  </a:lnTo>
                  <a:lnTo>
                    <a:pt x="37" y="82"/>
                  </a:lnTo>
                  <a:lnTo>
                    <a:pt x="40" y="83"/>
                  </a:lnTo>
                  <a:lnTo>
                    <a:pt x="44" y="85"/>
                  </a:lnTo>
                  <a:lnTo>
                    <a:pt x="51" y="83"/>
                  </a:lnTo>
                  <a:lnTo>
                    <a:pt x="59" y="79"/>
                  </a:lnTo>
                  <a:lnTo>
                    <a:pt x="59" y="6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3" name="Freeform 37">
              <a:extLst>
                <a:ext uri="{FF2B5EF4-FFF2-40B4-BE49-F238E27FC236}">
                  <a16:creationId xmlns:a16="http://schemas.microsoft.com/office/drawing/2014/main" id="{505F472A-5D5D-B6DC-3598-776C6E47E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3175" y="4140200"/>
              <a:ext cx="52388" cy="53975"/>
            </a:xfrm>
            <a:custGeom>
              <a:avLst/>
              <a:gdLst>
                <a:gd name="T0" fmla="*/ 0 w 98"/>
                <a:gd name="T1" fmla="*/ 103 h 103"/>
                <a:gd name="T2" fmla="*/ 0 w 98"/>
                <a:gd name="T3" fmla="*/ 3 h 103"/>
                <a:gd name="T4" fmla="*/ 35 w 98"/>
                <a:gd name="T5" fmla="*/ 3 h 103"/>
                <a:gd name="T6" fmla="*/ 35 w 98"/>
                <a:gd name="T7" fmla="*/ 17 h 103"/>
                <a:gd name="T8" fmla="*/ 43 w 98"/>
                <a:gd name="T9" fmla="*/ 10 h 103"/>
                <a:gd name="T10" fmla="*/ 52 w 98"/>
                <a:gd name="T11" fmla="*/ 4 h 103"/>
                <a:gd name="T12" fmla="*/ 61 w 98"/>
                <a:gd name="T13" fmla="*/ 2 h 103"/>
                <a:gd name="T14" fmla="*/ 71 w 98"/>
                <a:gd name="T15" fmla="*/ 0 h 103"/>
                <a:gd name="T16" fmla="*/ 75 w 98"/>
                <a:gd name="T17" fmla="*/ 2 h 103"/>
                <a:gd name="T18" fmla="*/ 81 w 98"/>
                <a:gd name="T19" fmla="*/ 2 h 103"/>
                <a:gd name="T20" fmla="*/ 85 w 98"/>
                <a:gd name="T21" fmla="*/ 4 h 103"/>
                <a:gd name="T22" fmla="*/ 89 w 98"/>
                <a:gd name="T23" fmla="*/ 7 h 103"/>
                <a:gd name="T24" fmla="*/ 94 w 98"/>
                <a:gd name="T25" fmla="*/ 12 h 103"/>
                <a:gd name="T26" fmla="*/ 95 w 98"/>
                <a:gd name="T27" fmla="*/ 17 h 103"/>
                <a:gd name="T28" fmla="*/ 98 w 98"/>
                <a:gd name="T29" fmla="*/ 25 h 103"/>
                <a:gd name="T30" fmla="*/ 98 w 98"/>
                <a:gd name="T31" fmla="*/ 35 h 103"/>
                <a:gd name="T32" fmla="*/ 98 w 98"/>
                <a:gd name="T33" fmla="*/ 103 h 103"/>
                <a:gd name="T34" fmla="*/ 64 w 98"/>
                <a:gd name="T35" fmla="*/ 103 h 103"/>
                <a:gd name="T36" fmla="*/ 64 w 98"/>
                <a:gd name="T37" fmla="*/ 40 h 103"/>
                <a:gd name="T38" fmla="*/ 64 w 98"/>
                <a:gd name="T39" fmla="*/ 35 h 103"/>
                <a:gd name="T40" fmla="*/ 61 w 98"/>
                <a:gd name="T41" fmla="*/ 30 h 103"/>
                <a:gd name="T42" fmla="*/ 56 w 98"/>
                <a:gd name="T43" fmla="*/ 29 h 103"/>
                <a:gd name="T44" fmla="*/ 51 w 98"/>
                <a:gd name="T45" fmla="*/ 27 h 103"/>
                <a:gd name="T46" fmla="*/ 43 w 98"/>
                <a:gd name="T47" fmla="*/ 29 h 103"/>
                <a:gd name="T48" fmla="*/ 35 w 98"/>
                <a:gd name="T49" fmla="*/ 35 h 103"/>
                <a:gd name="T50" fmla="*/ 35 w 98"/>
                <a:gd name="T51" fmla="*/ 103 h 103"/>
                <a:gd name="T52" fmla="*/ 0 w 98"/>
                <a:gd name="T5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" h="103">
                  <a:moveTo>
                    <a:pt x="0" y="103"/>
                  </a:moveTo>
                  <a:lnTo>
                    <a:pt x="0" y="3"/>
                  </a:lnTo>
                  <a:lnTo>
                    <a:pt x="35" y="3"/>
                  </a:lnTo>
                  <a:lnTo>
                    <a:pt x="35" y="17"/>
                  </a:lnTo>
                  <a:lnTo>
                    <a:pt x="43" y="10"/>
                  </a:lnTo>
                  <a:lnTo>
                    <a:pt x="52" y="4"/>
                  </a:lnTo>
                  <a:lnTo>
                    <a:pt x="61" y="2"/>
                  </a:lnTo>
                  <a:lnTo>
                    <a:pt x="71" y="0"/>
                  </a:lnTo>
                  <a:lnTo>
                    <a:pt x="75" y="2"/>
                  </a:lnTo>
                  <a:lnTo>
                    <a:pt x="81" y="2"/>
                  </a:lnTo>
                  <a:lnTo>
                    <a:pt x="85" y="4"/>
                  </a:lnTo>
                  <a:lnTo>
                    <a:pt x="89" y="7"/>
                  </a:lnTo>
                  <a:lnTo>
                    <a:pt x="94" y="12"/>
                  </a:lnTo>
                  <a:lnTo>
                    <a:pt x="95" y="17"/>
                  </a:lnTo>
                  <a:lnTo>
                    <a:pt x="98" y="25"/>
                  </a:lnTo>
                  <a:lnTo>
                    <a:pt x="98" y="35"/>
                  </a:lnTo>
                  <a:lnTo>
                    <a:pt x="98" y="103"/>
                  </a:lnTo>
                  <a:lnTo>
                    <a:pt x="64" y="103"/>
                  </a:lnTo>
                  <a:lnTo>
                    <a:pt x="64" y="40"/>
                  </a:lnTo>
                  <a:lnTo>
                    <a:pt x="64" y="35"/>
                  </a:lnTo>
                  <a:lnTo>
                    <a:pt x="61" y="30"/>
                  </a:lnTo>
                  <a:lnTo>
                    <a:pt x="56" y="29"/>
                  </a:lnTo>
                  <a:lnTo>
                    <a:pt x="51" y="27"/>
                  </a:lnTo>
                  <a:lnTo>
                    <a:pt x="43" y="29"/>
                  </a:lnTo>
                  <a:lnTo>
                    <a:pt x="35" y="35"/>
                  </a:lnTo>
                  <a:lnTo>
                    <a:pt x="35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4" name="Freeform 38">
              <a:extLst>
                <a:ext uri="{FF2B5EF4-FFF2-40B4-BE49-F238E27FC236}">
                  <a16:creationId xmlns:a16="http://schemas.microsoft.com/office/drawing/2014/main" id="{D7785973-2BD0-A55A-49BB-49177D5B3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5088" y="4140200"/>
              <a:ext cx="50800" cy="55563"/>
            </a:xfrm>
            <a:custGeom>
              <a:avLst/>
              <a:gdLst>
                <a:gd name="T0" fmla="*/ 95 w 96"/>
                <a:gd name="T1" fmla="*/ 68 h 106"/>
                <a:gd name="T2" fmla="*/ 93 w 96"/>
                <a:gd name="T3" fmla="*/ 76 h 106"/>
                <a:gd name="T4" fmla="*/ 91 w 96"/>
                <a:gd name="T5" fmla="*/ 85 h 106"/>
                <a:gd name="T6" fmla="*/ 86 w 96"/>
                <a:gd name="T7" fmla="*/ 91 h 106"/>
                <a:gd name="T8" fmla="*/ 80 w 96"/>
                <a:gd name="T9" fmla="*/ 96 h 106"/>
                <a:gd name="T10" fmla="*/ 75 w 96"/>
                <a:gd name="T11" fmla="*/ 101 h 106"/>
                <a:gd name="T12" fmla="*/ 68 w 96"/>
                <a:gd name="T13" fmla="*/ 105 h 106"/>
                <a:gd name="T14" fmla="*/ 59 w 96"/>
                <a:gd name="T15" fmla="*/ 106 h 106"/>
                <a:gd name="T16" fmla="*/ 49 w 96"/>
                <a:gd name="T17" fmla="*/ 106 h 106"/>
                <a:gd name="T18" fmla="*/ 39 w 96"/>
                <a:gd name="T19" fmla="*/ 106 h 106"/>
                <a:gd name="T20" fmla="*/ 29 w 96"/>
                <a:gd name="T21" fmla="*/ 103 h 106"/>
                <a:gd name="T22" fmla="*/ 20 w 96"/>
                <a:gd name="T23" fmla="*/ 99 h 106"/>
                <a:gd name="T24" fmla="*/ 13 w 96"/>
                <a:gd name="T25" fmla="*/ 92 h 106"/>
                <a:gd name="T26" fmla="*/ 7 w 96"/>
                <a:gd name="T27" fmla="*/ 85 h 106"/>
                <a:gd name="T28" fmla="*/ 4 w 96"/>
                <a:gd name="T29" fmla="*/ 76 h 106"/>
                <a:gd name="T30" fmla="*/ 1 w 96"/>
                <a:gd name="T31" fmla="*/ 65 h 106"/>
                <a:gd name="T32" fmla="*/ 0 w 96"/>
                <a:gd name="T33" fmla="*/ 53 h 106"/>
                <a:gd name="T34" fmla="*/ 1 w 96"/>
                <a:gd name="T35" fmla="*/ 42 h 106"/>
                <a:gd name="T36" fmla="*/ 4 w 96"/>
                <a:gd name="T37" fmla="*/ 32 h 106"/>
                <a:gd name="T38" fmla="*/ 8 w 96"/>
                <a:gd name="T39" fmla="*/ 23 h 106"/>
                <a:gd name="T40" fmla="*/ 14 w 96"/>
                <a:gd name="T41" fmla="*/ 14 h 106"/>
                <a:gd name="T42" fmla="*/ 20 w 96"/>
                <a:gd name="T43" fmla="*/ 9 h 106"/>
                <a:gd name="T44" fmla="*/ 29 w 96"/>
                <a:gd name="T45" fmla="*/ 4 h 106"/>
                <a:gd name="T46" fmla="*/ 39 w 96"/>
                <a:gd name="T47" fmla="*/ 2 h 106"/>
                <a:gd name="T48" fmla="*/ 49 w 96"/>
                <a:gd name="T49" fmla="*/ 0 h 106"/>
                <a:gd name="T50" fmla="*/ 59 w 96"/>
                <a:gd name="T51" fmla="*/ 2 h 106"/>
                <a:gd name="T52" fmla="*/ 68 w 96"/>
                <a:gd name="T53" fmla="*/ 3 h 106"/>
                <a:gd name="T54" fmla="*/ 76 w 96"/>
                <a:gd name="T55" fmla="*/ 6 h 106"/>
                <a:gd name="T56" fmla="*/ 82 w 96"/>
                <a:gd name="T57" fmla="*/ 12 h 106"/>
                <a:gd name="T58" fmla="*/ 88 w 96"/>
                <a:gd name="T59" fmla="*/ 17 h 106"/>
                <a:gd name="T60" fmla="*/ 92 w 96"/>
                <a:gd name="T61" fmla="*/ 25 h 106"/>
                <a:gd name="T62" fmla="*/ 95 w 96"/>
                <a:gd name="T63" fmla="*/ 32 h 106"/>
                <a:gd name="T64" fmla="*/ 96 w 96"/>
                <a:gd name="T65" fmla="*/ 42 h 106"/>
                <a:gd name="T66" fmla="*/ 63 w 96"/>
                <a:gd name="T67" fmla="*/ 42 h 106"/>
                <a:gd name="T68" fmla="*/ 62 w 96"/>
                <a:gd name="T69" fmla="*/ 33 h 106"/>
                <a:gd name="T70" fmla="*/ 59 w 96"/>
                <a:gd name="T71" fmla="*/ 27 h 106"/>
                <a:gd name="T72" fmla="*/ 55 w 96"/>
                <a:gd name="T73" fmla="*/ 23 h 106"/>
                <a:gd name="T74" fmla="*/ 49 w 96"/>
                <a:gd name="T75" fmla="*/ 23 h 106"/>
                <a:gd name="T76" fmla="*/ 46 w 96"/>
                <a:gd name="T77" fmla="*/ 23 h 106"/>
                <a:gd name="T78" fmla="*/ 43 w 96"/>
                <a:gd name="T79" fmla="*/ 25 h 106"/>
                <a:gd name="T80" fmla="*/ 40 w 96"/>
                <a:gd name="T81" fmla="*/ 27 h 106"/>
                <a:gd name="T82" fmla="*/ 39 w 96"/>
                <a:gd name="T83" fmla="*/ 30 h 106"/>
                <a:gd name="T84" fmla="*/ 36 w 96"/>
                <a:gd name="T85" fmla="*/ 40 h 106"/>
                <a:gd name="T86" fmla="*/ 34 w 96"/>
                <a:gd name="T87" fmla="*/ 53 h 106"/>
                <a:gd name="T88" fmla="*/ 36 w 96"/>
                <a:gd name="T89" fmla="*/ 68 h 106"/>
                <a:gd name="T90" fmla="*/ 39 w 96"/>
                <a:gd name="T91" fmla="*/ 78 h 106"/>
                <a:gd name="T92" fmla="*/ 42 w 96"/>
                <a:gd name="T93" fmla="*/ 81 h 106"/>
                <a:gd name="T94" fmla="*/ 43 w 96"/>
                <a:gd name="T95" fmla="*/ 83 h 106"/>
                <a:gd name="T96" fmla="*/ 46 w 96"/>
                <a:gd name="T97" fmla="*/ 85 h 106"/>
                <a:gd name="T98" fmla="*/ 49 w 96"/>
                <a:gd name="T99" fmla="*/ 85 h 106"/>
                <a:gd name="T100" fmla="*/ 55 w 96"/>
                <a:gd name="T101" fmla="*/ 83 h 106"/>
                <a:gd name="T102" fmla="*/ 57 w 96"/>
                <a:gd name="T103" fmla="*/ 81 h 106"/>
                <a:gd name="T104" fmla="*/ 60 w 96"/>
                <a:gd name="T105" fmla="*/ 75 h 106"/>
                <a:gd name="T106" fmla="*/ 62 w 96"/>
                <a:gd name="T107" fmla="*/ 68 h 106"/>
                <a:gd name="T108" fmla="*/ 95 w 96"/>
                <a:gd name="T109" fmla="*/ 6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106">
                  <a:moveTo>
                    <a:pt x="95" y="68"/>
                  </a:moveTo>
                  <a:lnTo>
                    <a:pt x="93" y="76"/>
                  </a:lnTo>
                  <a:lnTo>
                    <a:pt x="91" y="85"/>
                  </a:lnTo>
                  <a:lnTo>
                    <a:pt x="86" y="91"/>
                  </a:lnTo>
                  <a:lnTo>
                    <a:pt x="80" y="96"/>
                  </a:lnTo>
                  <a:lnTo>
                    <a:pt x="75" y="101"/>
                  </a:lnTo>
                  <a:lnTo>
                    <a:pt x="68" y="105"/>
                  </a:lnTo>
                  <a:lnTo>
                    <a:pt x="59" y="106"/>
                  </a:lnTo>
                  <a:lnTo>
                    <a:pt x="49" y="106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2"/>
                  </a:lnTo>
                  <a:lnTo>
                    <a:pt x="7" y="85"/>
                  </a:lnTo>
                  <a:lnTo>
                    <a:pt x="4" y="76"/>
                  </a:lnTo>
                  <a:lnTo>
                    <a:pt x="1" y="65"/>
                  </a:lnTo>
                  <a:lnTo>
                    <a:pt x="0" y="53"/>
                  </a:lnTo>
                  <a:lnTo>
                    <a:pt x="1" y="42"/>
                  </a:lnTo>
                  <a:lnTo>
                    <a:pt x="4" y="32"/>
                  </a:lnTo>
                  <a:lnTo>
                    <a:pt x="8" y="23"/>
                  </a:lnTo>
                  <a:lnTo>
                    <a:pt x="14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49" y="0"/>
                  </a:lnTo>
                  <a:lnTo>
                    <a:pt x="59" y="2"/>
                  </a:lnTo>
                  <a:lnTo>
                    <a:pt x="68" y="3"/>
                  </a:lnTo>
                  <a:lnTo>
                    <a:pt x="76" y="6"/>
                  </a:lnTo>
                  <a:lnTo>
                    <a:pt x="82" y="12"/>
                  </a:lnTo>
                  <a:lnTo>
                    <a:pt x="88" y="17"/>
                  </a:lnTo>
                  <a:lnTo>
                    <a:pt x="92" y="25"/>
                  </a:lnTo>
                  <a:lnTo>
                    <a:pt x="95" y="32"/>
                  </a:lnTo>
                  <a:lnTo>
                    <a:pt x="96" y="42"/>
                  </a:lnTo>
                  <a:lnTo>
                    <a:pt x="63" y="42"/>
                  </a:lnTo>
                  <a:lnTo>
                    <a:pt x="62" y="33"/>
                  </a:lnTo>
                  <a:lnTo>
                    <a:pt x="59" y="27"/>
                  </a:lnTo>
                  <a:lnTo>
                    <a:pt x="55" y="23"/>
                  </a:lnTo>
                  <a:lnTo>
                    <a:pt x="49" y="23"/>
                  </a:lnTo>
                  <a:lnTo>
                    <a:pt x="46" y="23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9" y="30"/>
                  </a:lnTo>
                  <a:lnTo>
                    <a:pt x="36" y="40"/>
                  </a:lnTo>
                  <a:lnTo>
                    <a:pt x="34" y="53"/>
                  </a:lnTo>
                  <a:lnTo>
                    <a:pt x="36" y="68"/>
                  </a:lnTo>
                  <a:lnTo>
                    <a:pt x="39" y="78"/>
                  </a:lnTo>
                  <a:lnTo>
                    <a:pt x="42" y="81"/>
                  </a:lnTo>
                  <a:lnTo>
                    <a:pt x="43" y="83"/>
                  </a:lnTo>
                  <a:lnTo>
                    <a:pt x="46" y="85"/>
                  </a:lnTo>
                  <a:lnTo>
                    <a:pt x="49" y="85"/>
                  </a:lnTo>
                  <a:lnTo>
                    <a:pt x="55" y="83"/>
                  </a:lnTo>
                  <a:lnTo>
                    <a:pt x="57" y="81"/>
                  </a:lnTo>
                  <a:lnTo>
                    <a:pt x="60" y="75"/>
                  </a:lnTo>
                  <a:lnTo>
                    <a:pt x="62" y="68"/>
                  </a:lnTo>
                  <a:lnTo>
                    <a:pt x="95" y="68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5" name="Freeform 39">
              <a:extLst>
                <a:ext uri="{FF2B5EF4-FFF2-40B4-BE49-F238E27FC236}">
                  <a16:creationId xmlns:a16="http://schemas.microsoft.com/office/drawing/2014/main" id="{04B8DF3A-1E53-EDD6-C56C-320013E88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3825" y="4140200"/>
              <a:ext cx="49213" cy="55563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7 w 95"/>
                <a:gd name="T13" fmla="*/ 105 h 106"/>
                <a:gd name="T14" fmla="*/ 58 w 95"/>
                <a:gd name="T15" fmla="*/ 106 h 106"/>
                <a:gd name="T16" fmla="*/ 49 w 95"/>
                <a:gd name="T17" fmla="*/ 106 h 106"/>
                <a:gd name="T18" fmla="*/ 38 w 95"/>
                <a:gd name="T19" fmla="*/ 106 h 106"/>
                <a:gd name="T20" fmla="*/ 28 w 95"/>
                <a:gd name="T21" fmla="*/ 103 h 106"/>
                <a:gd name="T22" fmla="*/ 19 w 95"/>
                <a:gd name="T23" fmla="*/ 99 h 106"/>
                <a:gd name="T24" fmla="*/ 12 w 95"/>
                <a:gd name="T25" fmla="*/ 92 h 106"/>
                <a:gd name="T26" fmla="*/ 7 w 95"/>
                <a:gd name="T27" fmla="*/ 85 h 106"/>
                <a:gd name="T28" fmla="*/ 3 w 95"/>
                <a:gd name="T29" fmla="*/ 76 h 106"/>
                <a:gd name="T30" fmla="*/ 2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3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4 h 106"/>
                <a:gd name="T54" fmla="*/ 77 w 95"/>
                <a:gd name="T55" fmla="*/ 9 h 106"/>
                <a:gd name="T56" fmla="*/ 84 w 95"/>
                <a:gd name="T57" fmla="*/ 14 h 106"/>
                <a:gd name="T58" fmla="*/ 90 w 95"/>
                <a:gd name="T59" fmla="*/ 23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2 h 106"/>
                <a:gd name="T66" fmla="*/ 33 w 95"/>
                <a:gd name="T67" fmla="*/ 62 h 106"/>
                <a:gd name="T68" fmla="*/ 35 w 95"/>
                <a:gd name="T69" fmla="*/ 73 h 106"/>
                <a:gd name="T70" fmla="*/ 38 w 95"/>
                <a:gd name="T71" fmla="*/ 81 h 106"/>
                <a:gd name="T72" fmla="*/ 41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9 w 95"/>
                <a:gd name="T79" fmla="*/ 85 h 106"/>
                <a:gd name="T80" fmla="*/ 54 w 95"/>
                <a:gd name="T81" fmla="*/ 85 h 106"/>
                <a:gd name="T82" fmla="*/ 58 w 95"/>
                <a:gd name="T83" fmla="*/ 82 h 106"/>
                <a:gd name="T84" fmla="*/ 61 w 95"/>
                <a:gd name="T85" fmla="*/ 78 h 106"/>
                <a:gd name="T86" fmla="*/ 62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3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7" y="105"/>
                  </a:lnTo>
                  <a:lnTo>
                    <a:pt x="58" y="106"/>
                  </a:lnTo>
                  <a:lnTo>
                    <a:pt x="49" y="106"/>
                  </a:lnTo>
                  <a:lnTo>
                    <a:pt x="38" y="106"/>
                  </a:lnTo>
                  <a:lnTo>
                    <a:pt x="28" y="103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7" y="85"/>
                  </a:lnTo>
                  <a:lnTo>
                    <a:pt x="3" y="76"/>
                  </a:lnTo>
                  <a:lnTo>
                    <a:pt x="2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7" y="9"/>
                  </a:lnTo>
                  <a:lnTo>
                    <a:pt x="84" y="14"/>
                  </a:lnTo>
                  <a:lnTo>
                    <a:pt x="90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41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9" y="85"/>
                  </a:lnTo>
                  <a:lnTo>
                    <a:pt x="54" y="85"/>
                  </a:lnTo>
                  <a:lnTo>
                    <a:pt x="58" y="82"/>
                  </a:lnTo>
                  <a:lnTo>
                    <a:pt x="61" y="78"/>
                  </a:lnTo>
                  <a:lnTo>
                    <a:pt x="62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3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6" name="Rectangle 40">
              <a:extLst>
                <a:ext uri="{FF2B5EF4-FFF2-40B4-BE49-F238E27FC236}">
                  <a16:creationId xmlns:a16="http://schemas.microsoft.com/office/drawing/2014/main" id="{433E8C28-B494-4FD4-DC4E-DB804E53C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14150" y="4119563"/>
              <a:ext cx="17463" cy="74613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7" name="Freeform 41">
              <a:extLst>
                <a:ext uri="{FF2B5EF4-FFF2-40B4-BE49-F238E27FC236}">
                  <a16:creationId xmlns:a16="http://schemas.microsoft.com/office/drawing/2014/main" id="{C5831D8B-5C18-ABDA-57BF-B602EF6F3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41138" y="4119563"/>
              <a:ext cx="50800" cy="76200"/>
            </a:xfrm>
            <a:custGeom>
              <a:avLst/>
              <a:gdLst>
                <a:gd name="T0" fmla="*/ 61 w 95"/>
                <a:gd name="T1" fmla="*/ 135 h 146"/>
                <a:gd name="T2" fmla="*/ 46 w 95"/>
                <a:gd name="T3" fmla="*/ 143 h 146"/>
                <a:gd name="T4" fmla="*/ 31 w 95"/>
                <a:gd name="T5" fmla="*/ 146 h 146"/>
                <a:gd name="T6" fmla="*/ 18 w 95"/>
                <a:gd name="T7" fmla="*/ 145 h 146"/>
                <a:gd name="T8" fmla="*/ 8 w 95"/>
                <a:gd name="T9" fmla="*/ 139 h 146"/>
                <a:gd name="T10" fmla="*/ 2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2 w 95"/>
                <a:gd name="T17" fmla="*/ 96 h 146"/>
                <a:gd name="T18" fmla="*/ 28 w 95"/>
                <a:gd name="T19" fmla="*/ 89 h 146"/>
                <a:gd name="T20" fmla="*/ 49 w 95"/>
                <a:gd name="T21" fmla="*/ 86 h 146"/>
                <a:gd name="T22" fmla="*/ 61 w 95"/>
                <a:gd name="T23" fmla="*/ 86 h 146"/>
                <a:gd name="T24" fmla="*/ 59 w 95"/>
                <a:gd name="T25" fmla="*/ 70 h 146"/>
                <a:gd name="T26" fmla="*/ 54 w 95"/>
                <a:gd name="T27" fmla="*/ 63 h 146"/>
                <a:gd name="T28" fmla="*/ 42 w 95"/>
                <a:gd name="T29" fmla="*/ 63 h 146"/>
                <a:gd name="T30" fmla="*/ 36 w 95"/>
                <a:gd name="T31" fmla="*/ 70 h 146"/>
                <a:gd name="T32" fmla="*/ 2 w 95"/>
                <a:gd name="T33" fmla="*/ 77 h 146"/>
                <a:gd name="T34" fmla="*/ 6 w 95"/>
                <a:gd name="T35" fmla="*/ 60 h 146"/>
                <a:gd name="T36" fmla="*/ 16 w 95"/>
                <a:gd name="T37" fmla="*/ 49 h 146"/>
                <a:gd name="T38" fmla="*/ 31 w 95"/>
                <a:gd name="T39" fmla="*/ 43 h 146"/>
                <a:gd name="T40" fmla="*/ 48 w 95"/>
                <a:gd name="T41" fmla="*/ 40 h 146"/>
                <a:gd name="T42" fmla="*/ 64 w 95"/>
                <a:gd name="T43" fmla="*/ 42 h 146"/>
                <a:gd name="T44" fmla="*/ 80 w 95"/>
                <a:gd name="T45" fmla="*/ 47 h 146"/>
                <a:gd name="T46" fmla="*/ 91 w 95"/>
                <a:gd name="T47" fmla="*/ 57 h 146"/>
                <a:gd name="T48" fmla="*/ 95 w 95"/>
                <a:gd name="T49" fmla="*/ 73 h 146"/>
                <a:gd name="T50" fmla="*/ 61 w 95"/>
                <a:gd name="T51" fmla="*/ 143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1 w 95"/>
                <a:gd name="T59" fmla="*/ 103 h 146"/>
                <a:gd name="T60" fmla="*/ 51 w 95"/>
                <a:gd name="T61" fmla="*/ 103 h 146"/>
                <a:gd name="T62" fmla="*/ 39 w 95"/>
                <a:gd name="T63" fmla="*/ 105 h 146"/>
                <a:gd name="T64" fmla="*/ 36 w 95"/>
                <a:gd name="T65" fmla="*/ 109 h 146"/>
                <a:gd name="T66" fmla="*/ 33 w 95"/>
                <a:gd name="T67" fmla="*/ 115 h 146"/>
                <a:gd name="T68" fmla="*/ 38 w 95"/>
                <a:gd name="T69" fmla="*/ 122 h 146"/>
                <a:gd name="T70" fmla="*/ 46 w 95"/>
                <a:gd name="T71" fmla="*/ 125 h 146"/>
                <a:gd name="T72" fmla="*/ 61 w 95"/>
                <a:gd name="T73" fmla="*/ 1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1" y="143"/>
                  </a:moveTo>
                  <a:lnTo>
                    <a:pt x="61" y="135"/>
                  </a:lnTo>
                  <a:lnTo>
                    <a:pt x="54" y="141"/>
                  </a:lnTo>
                  <a:lnTo>
                    <a:pt x="46" y="143"/>
                  </a:lnTo>
                  <a:lnTo>
                    <a:pt x="38" y="146"/>
                  </a:lnTo>
                  <a:lnTo>
                    <a:pt x="31" y="146"/>
                  </a:lnTo>
                  <a:lnTo>
                    <a:pt x="23" y="146"/>
                  </a:lnTo>
                  <a:lnTo>
                    <a:pt x="18" y="145"/>
                  </a:lnTo>
                  <a:lnTo>
                    <a:pt x="12" y="142"/>
                  </a:lnTo>
                  <a:lnTo>
                    <a:pt x="8" y="139"/>
                  </a:lnTo>
                  <a:lnTo>
                    <a:pt x="5" y="135"/>
                  </a:lnTo>
                  <a:lnTo>
                    <a:pt x="2" y="131"/>
                  </a:lnTo>
                  <a:lnTo>
                    <a:pt x="0" y="125"/>
                  </a:lnTo>
                  <a:lnTo>
                    <a:pt x="0" y="119"/>
                  </a:lnTo>
                  <a:lnTo>
                    <a:pt x="0" y="112"/>
                  </a:lnTo>
                  <a:lnTo>
                    <a:pt x="3" y="106"/>
                  </a:lnTo>
                  <a:lnTo>
                    <a:pt x="6" y="100"/>
                  </a:lnTo>
                  <a:lnTo>
                    <a:pt x="12" y="96"/>
                  </a:lnTo>
                  <a:lnTo>
                    <a:pt x="19" y="92"/>
                  </a:lnTo>
                  <a:lnTo>
                    <a:pt x="28" y="89"/>
                  </a:lnTo>
                  <a:lnTo>
                    <a:pt x="38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1" y="86"/>
                  </a:lnTo>
                  <a:lnTo>
                    <a:pt x="61" y="77"/>
                  </a:lnTo>
                  <a:lnTo>
                    <a:pt x="59" y="70"/>
                  </a:lnTo>
                  <a:lnTo>
                    <a:pt x="58" y="66"/>
                  </a:lnTo>
                  <a:lnTo>
                    <a:pt x="54" y="63"/>
                  </a:lnTo>
                  <a:lnTo>
                    <a:pt x="48" y="63"/>
                  </a:lnTo>
                  <a:lnTo>
                    <a:pt x="42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5" y="77"/>
                  </a:lnTo>
                  <a:lnTo>
                    <a:pt x="2" y="77"/>
                  </a:lnTo>
                  <a:lnTo>
                    <a:pt x="3" y="69"/>
                  </a:lnTo>
                  <a:lnTo>
                    <a:pt x="6" y="60"/>
                  </a:lnTo>
                  <a:lnTo>
                    <a:pt x="10" y="54"/>
                  </a:lnTo>
                  <a:lnTo>
                    <a:pt x="16" y="49"/>
                  </a:lnTo>
                  <a:lnTo>
                    <a:pt x="23" y="46"/>
                  </a:lnTo>
                  <a:lnTo>
                    <a:pt x="31" y="43"/>
                  </a:lnTo>
                  <a:lnTo>
                    <a:pt x="39" y="42"/>
                  </a:lnTo>
                  <a:lnTo>
                    <a:pt x="48" y="40"/>
                  </a:lnTo>
                  <a:lnTo>
                    <a:pt x="56" y="42"/>
                  </a:lnTo>
                  <a:lnTo>
                    <a:pt x="64" y="42"/>
                  </a:lnTo>
                  <a:lnTo>
                    <a:pt x="72" y="44"/>
                  </a:lnTo>
                  <a:lnTo>
                    <a:pt x="80" y="47"/>
                  </a:lnTo>
                  <a:lnTo>
                    <a:pt x="85" y="52"/>
                  </a:lnTo>
                  <a:lnTo>
                    <a:pt x="91" y="57"/>
                  </a:lnTo>
                  <a:lnTo>
                    <a:pt x="94" y="65"/>
                  </a:lnTo>
                  <a:lnTo>
                    <a:pt x="95" y="73"/>
                  </a:lnTo>
                  <a:lnTo>
                    <a:pt x="95" y="143"/>
                  </a:lnTo>
                  <a:lnTo>
                    <a:pt x="61" y="143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5" y="0"/>
                  </a:lnTo>
                  <a:lnTo>
                    <a:pt x="85" y="0"/>
                  </a:lnTo>
                  <a:lnTo>
                    <a:pt x="52" y="31"/>
                  </a:lnTo>
                  <a:lnTo>
                    <a:pt x="26" y="31"/>
                  </a:lnTo>
                  <a:close/>
                  <a:moveTo>
                    <a:pt x="61" y="103"/>
                  </a:moveTo>
                  <a:lnTo>
                    <a:pt x="61" y="103"/>
                  </a:lnTo>
                  <a:lnTo>
                    <a:pt x="55" y="103"/>
                  </a:lnTo>
                  <a:lnTo>
                    <a:pt x="51" y="103"/>
                  </a:lnTo>
                  <a:lnTo>
                    <a:pt x="45" y="103"/>
                  </a:lnTo>
                  <a:lnTo>
                    <a:pt x="39" y="105"/>
                  </a:lnTo>
                  <a:lnTo>
                    <a:pt x="38" y="108"/>
                  </a:lnTo>
                  <a:lnTo>
                    <a:pt x="36" y="109"/>
                  </a:lnTo>
                  <a:lnTo>
                    <a:pt x="35" y="112"/>
                  </a:lnTo>
                  <a:lnTo>
                    <a:pt x="33" y="115"/>
                  </a:lnTo>
                  <a:lnTo>
                    <a:pt x="35" y="119"/>
                  </a:lnTo>
                  <a:lnTo>
                    <a:pt x="38" y="122"/>
                  </a:lnTo>
                  <a:lnTo>
                    <a:pt x="42" y="123"/>
                  </a:lnTo>
                  <a:lnTo>
                    <a:pt x="46" y="125"/>
                  </a:lnTo>
                  <a:lnTo>
                    <a:pt x="54" y="123"/>
                  </a:lnTo>
                  <a:lnTo>
                    <a:pt x="61" y="119"/>
                  </a:lnTo>
                  <a:lnTo>
                    <a:pt x="61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8" name="Freeform 42">
              <a:extLst>
                <a:ext uri="{FF2B5EF4-FFF2-40B4-BE49-F238E27FC236}">
                  <a16:creationId xmlns:a16="http://schemas.microsoft.com/office/drawing/2014/main" id="{B02AD946-8BE9-DC2D-3A34-6E91C6162B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01463" y="4119563"/>
              <a:ext cx="42863" cy="74613"/>
            </a:xfrm>
            <a:custGeom>
              <a:avLst/>
              <a:gdLst>
                <a:gd name="T0" fmla="*/ 24 w 80"/>
                <a:gd name="T1" fmla="*/ 31 h 143"/>
                <a:gd name="T2" fmla="*/ 0 w 80"/>
                <a:gd name="T3" fmla="*/ 0 h 143"/>
                <a:gd name="T4" fmla="*/ 27 w 80"/>
                <a:gd name="T5" fmla="*/ 0 h 143"/>
                <a:gd name="T6" fmla="*/ 40 w 80"/>
                <a:gd name="T7" fmla="*/ 11 h 143"/>
                <a:gd name="T8" fmla="*/ 53 w 80"/>
                <a:gd name="T9" fmla="*/ 0 h 143"/>
                <a:gd name="T10" fmla="*/ 80 w 80"/>
                <a:gd name="T11" fmla="*/ 0 h 143"/>
                <a:gd name="T12" fmla="*/ 54 w 80"/>
                <a:gd name="T13" fmla="*/ 31 h 143"/>
                <a:gd name="T14" fmla="*/ 24 w 80"/>
                <a:gd name="T15" fmla="*/ 31 h 143"/>
                <a:gd name="T16" fmla="*/ 5 w 80"/>
                <a:gd name="T17" fmla="*/ 143 h 143"/>
                <a:gd name="T18" fmla="*/ 5 w 80"/>
                <a:gd name="T19" fmla="*/ 143 h 143"/>
                <a:gd name="T20" fmla="*/ 5 w 80"/>
                <a:gd name="T21" fmla="*/ 43 h 143"/>
                <a:gd name="T22" fmla="*/ 40 w 80"/>
                <a:gd name="T23" fmla="*/ 43 h 143"/>
                <a:gd name="T24" fmla="*/ 40 w 80"/>
                <a:gd name="T25" fmla="*/ 63 h 143"/>
                <a:gd name="T26" fmla="*/ 46 w 80"/>
                <a:gd name="T27" fmla="*/ 53 h 143"/>
                <a:gd name="T28" fmla="*/ 51 w 80"/>
                <a:gd name="T29" fmla="*/ 46 h 143"/>
                <a:gd name="T30" fmla="*/ 59 w 80"/>
                <a:gd name="T31" fmla="*/ 42 h 143"/>
                <a:gd name="T32" fmla="*/ 66 w 80"/>
                <a:gd name="T33" fmla="*/ 40 h 143"/>
                <a:gd name="T34" fmla="*/ 73 w 80"/>
                <a:gd name="T35" fmla="*/ 42 h 143"/>
                <a:gd name="T36" fmla="*/ 79 w 80"/>
                <a:gd name="T37" fmla="*/ 44 h 143"/>
                <a:gd name="T38" fmla="*/ 79 w 80"/>
                <a:gd name="T39" fmla="*/ 75 h 143"/>
                <a:gd name="T40" fmla="*/ 72 w 80"/>
                <a:gd name="T41" fmla="*/ 72 h 143"/>
                <a:gd name="T42" fmla="*/ 63 w 80"/>
                <a:gd name="T43" fmla="*/ 72 h 143"/>
                <a:gd name="T44" fmla="*/ 56 w 80"/>
                <a:gd name="T45" fmla="*/ 72 h 143"/>
                <a:gd name="T46" fmla="*/ 50 w 80"/>
                <a:gd name="T47" fmla="*/ 75 h 143"/>
                <a:gd name="T48" fmla="*/ 44 w 80"/>
                <a:gd name="T49" fmla="*/ 77 h 143"/>
                <a:gd name="T50" fmla="*/ 40 w 80"/>
                <a:gd name="T51" fmla="*/ 82 h 143"/>
                <a:gd name="T52" fmla="*/ 40 w 80"/>
                <a:gd name="T53" fmla="*/ 143 h 143"/>
                <a:gd name="T54" fmla="*/ 5 w 80"/>
                <a:gd name="T5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3">
                  <a:moveTo>
                    <a:pt x="24" y="31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40" y="11"/>
                  </a:lnTo>
                  <a:lnTo>
                    <a:pt x="53" y="0"/>
                  </a:lnTo>
                  <a:lnTo>
                    <a:pt x="80" y="0"/>
                  </a:lnTo>
                  <a:lnTo>
                    <a:pt x="54" y="31"/>
                  </a:lnTo>
                  <a:lnTo>
                    <a:pt x="24" y="31"/>
                  </a:lnTo>
                  <a:close/>
                  <a:moveTo>
                    <a:pt x="5" y="143"/>
                  </a:moveTo>
                  <a:lnTo>
                    <a:pt x="5" y="143"/>
                  </a:lnTo>
                  <a:lnTo>
                    <a:pt x="5" y="43"/>
                  </a:lnTo>
                  <a:lnTo>
                    <a:pt x="40" y="43"/>
                  </a:lnTo>
                  <a:lnTo>
                    <a:pt x="40" y="63"/>
                  </a:lnTo>
                  <a:lnTo>
                    <a:pt x="46" y="53"/>
                  </a:lnTo>
                  <a:lnTo>
                    <a:pt x="51" y="46"/>
                  </a:lnTo>
                  <a:lnTo>
                    <a:pt x="59" y="42"/>
                  </a:lnTo>
                  <a:lnTo>
                    <a:pt x="66" y="40"/>
                  </a:lnTo>
                  <a:lnTo>
                    <a:pt x="73" y="42"/>
                  </a:lnTo>
                  <a:lnTo>
                    <a:pt x="79" y="44"/>
                  </a:lnTo>
                  <a:lnTo>
                    <a:pt x="79" y="75"/>
                  </a:lnTo>
                  <a:lnTo>
                    <a:pt x="72" y="72"/>
                  </a:lnTo>
                  <a:lnTo>
                    <a:pt x="63" y="72"/>
                  </a:lnTo>
                  <a:lnTo>
                    <a:pt x="56" y="72"/>
                  </a:lnTo>
                  <a:lnTo>
                    <a:pt x="50" y="75"/>
                  </a:lnTo>
                  <a:lnTo>
                    <a:pt x="44" y="77"/>
                  </a:lnTo>
                  <a:lnTo>
                    <a:pt x="40" y="82"/>
                  </a:lnTo>
                  <a:lnTo>
                    <a:pt x="40" y="143"/>
                  </a:lnTo>
                  <a:lnTo>
                    <a:pt x="5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9" name="Freeform 43">
              <a:extLst>
                <a:ext uri="{FF2B5EF4-FFF2-40B4-BE49-F238E27FC236}">
                  <a16:creationId xmlns:a16="http://schemas.microsoft.com/office/drawing/2014/main" id="{73D58EE5-3AB6-C2B0-57DC-DCF4C5496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5700" y="4241800"/>
              <a:ext cx="52388" cy="76200"/>
            </a:xfrm>
            <a:custGeom>
              <a:avLst/>
              <a:gdLst>
                <a:gd name="T0" fmla="*/ 0 w 99"/>
                <a:gd name="T1" fmla="*/ 144 h 144"/>
                <a:gd name="T2" fmla="*/ 0 w 99"/>
                <a:gd name="T3" fmla="*/ 3 h 144"/>
                <a:gd name="T4" fmla="*/ 34 w 99"/>
                <a:gd name="T5" fmla="*/ 3 h 144"/>
                <a:gd name="T6" fmla="*/ 34 w 99"/>
                <a:gd name="T7" fmla="*/ 13 h 144"/>
                <a:gd name="T8" fmla="*/ 40 w 99"/>
                <a:gd name="T9" fmla="*/ 7 h 144"/>
                <a:gd name="T10" fmla="*/ 47 w 99"/>
                <a:gd name="T11" fmla="*/ 4 h 144"/>
                <a:gd name="T12" fmla="*/ 53 w 99"/>
                <a:gd name="T13" fmla="*/ 2 h 144"/>
                <a:gd name="T14" fmla="*/ 61 w 99"/>
                <a:gd name="T15" fmla="*/ 0 h 144"/>
                <a:gd name="T16" fmla="*/ 70 w 99"/>
                <a:gd name="T17" fmla="*/ 2 h 144"/>
                <a:gd name="T18" fmla="*/ 77 w 99"/>
                <a:gd name="T19" fmla="*/ 4 h 144"/>
                <a:gd name="T20" fmla="*/ 85 w 99"/>
                <a:gd name="T21" fmla="*/ 10 h 144"/>
                <a:gd name="T22" fmla="*/ 89 w 99"/>
                <a:gd name="T23" fmla="*/ 16 h 144"/>
                <a:gd name="T24" fmla="*/ 93 w 99"/>
                <a:gd name="T25" fmla="*/ 24 h 144"/>
                <a:gd name="T26" fmla="*/ 96 w 99"/>
                <a:gd name="T27" fmla="*/ 33 h 144"/>
                <a:gd name="T28" fmla="*/ 97 w 99"/>
                <a:gd name="T29" fmla="*/ 43 h 144"/>
                <a:gd name="T30" fmla="*/ 99 w 99"/>
                <a:gd name="T31" fmla="*/ 55 h 144"/>
                <a:gd name="T32" fmla="*/ 97 w 99"/>
                <a:gd name="T33" fmla="*/ 65 h 144"/>
                <a:gd name="T34" fmla="*/ 96 w 99"/>
                <a:gd name="T35" fmla="*/ 75 h 144"/>
                <a:gd name="T36" fmla="*/ 92 w 99"/>
                <a:gd name="T37" fmla="*/ 83 h 144"/>
                <a:gd name="T38" fmla="*/ 87 w 99"/>
                <a:gd name="T39" fmla="*/ 92 h 144"/>
                <a:gd name="T40" fmla="*/ 82 w 99"/>
                <a:gd name="T41" fmla="*/ 98 h 144"/>
                <a:gd name="T42" fmla="*/ 74 w 99"/>
                <a:gd name="T43" fmla="*/ 103 h 144"/>
                <a:gd name="T44" fmla="*/ 67 w 99"/>
                <a:gd name="T45" fmla="*/ 106 h 144"/>
                <a:gd name="T46" fmla="*/ 59 w 99"/>
                <a:gd name="T47" fmla="*/ 108 h 144"/>
                <a:gd name="T48" fmla="*/ 51 w 99"/>
                <a:gd name="T49" fmla="*/ 106 h 144"/>
                <a:gd name="T50" fmla="*/ 46 w 99"/>
                <a:gd name="T51" fmla="*/ 105 h 144"/>
                <a:gd name="T52" fmla="*/ 40 w 99"/>
                <a:gd name="T53" fmla="*/ 101 h 144"/>
                <a:gd name="T54" fmla="*/ 34 w 99"/>
                <a:gd name="T55" fmla="*/ 95 h 144"/>
                <a:gd name="T56" fmla="*/ 34 w 99"/>
                <a:gd name="T57" fmla="*/ 144 h 144"/>
                <a:gd name="T58" fmla="*/ 0 w 99"/>
                <a:gd name="T59" fmla="*/ 144 h 144"/>
                <a:gd name="T60" fmla="*/ 34 w 99"/>
                <a:gd name="T61" fmla="*/ 30 h 144"/>
                <a:gd name="T62" fmla="*/ 34 w 99"/>
                <a:gd name="T63" fmla="*/ 30 h 144"/>
                <a:gd name="T64" fmla="*/ 34 w 99"/>
                <a:gd name="T65" fmla="*/ 78 h 144"/>
                <a:gd name="T66" fmla="*/ 40 w 99"/>
                <a:gd name="T67" fmla="*/ 82 h 144"/>
                <a:gd name="T68" fmla="*/ 47 w 99"/>
                <a:gd name="T69" fmla="*/ 83 h 144"/>
                <a:gd name="T70" fmla="*/ 51 w 99"/>
                <a:gd name="T71" fmla="*/ 83 h 144"/>
                <a:gd name="T72" fmla="*/ 54 w 99"/>
                <a:gd name="T73" fmla="*/ 81 h 144"/>
                <a:gd name="T74" fmla="*/ 57 w 99"/>
                <a:gd name="T75" fmla="*/ 79 h 144"/>
                <a:gd name="T76" fmla="*/ 60 w 99"/>
                <a:gd name="T77" fmla="*/ 75 h 144"/>
                <a:gd name="T78" fmla="*/ 63 w 99"/>
                <a:gd name="T79" fmla="*/ 66 h 144"/>
                <a:gd name="T80" fmla="*/ 64 w 99"/>
                <a:gd name="T81" fmla="*/ 55 h 144"/>
                <a:gd name="T82" fmla="*/ 63 w 99"/>
                <a:gd name="T83" fmla="*/ 42 h 144"/>
                <a:gd name="T84" fmla="*/ 60 w 99"/>
                <a:gd name="T85" fmla="*/ 33 h 144"/>
                <a:gd name="T86" fmla="*/ 59 w 99"/>
                <a:gd name="T87" fmla="*/ 29 h 144"/>
                <a:gd name="T88" fmla="*/ 56 w 99"/>
                <a:gd name="T89" fmla="*/ 27 h 144"/>
                <a:gd name="T90" fmla="*/ 51 w 99"/>
                <a:gd name="T91" fmla="*/ 26 h 144"/>
                <a:gd name="T92" fmla="*/ 47 w 99"/>
                <a:gd name="T93" fmla="*/ 24 h 144"/>
                <a:gd name="T94" fmla="*/ 41 w 99"/>
                <a:gd name="T95" fmla="*/ 26 h 144"/>
                <a:gd name="T96" fmla="*/ 34 w 99"/>
                <a:gd name="T9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9" h="144">
                  <a:moveTo>
                    <a:pt x="0" y="144"/>
                  </a:moveTo>
                  <a:lnTo>
                    <a:pt x="0" y="3"/>
                  </a:lnTo>
                  <a:lnTo>
                    <a:pt x="34" y="3"/>
                  </a:lnTo>
                  <a:lnTo>
                    <a:pt x="34" y="13"/>
                  </a:lnTo>
                  <a:lnTo>
                    <a:pt x="40" y="7"/>
                  </a:lnTo>
                  <a:lnTo>
                    <a:pt x="47" y="4"/>
                  </a:lnTo>
                  <a:lnTo>
                    <a:pt x="53" y="2"/>
                  </a:lnTo>
                  <a:lnTo>
                    <a:pt x="61" y="0"/>
                  </a:lnTo>
                  <a:lnTo>
                    <a:pt x="70" y="2"/>
                  </a:lnTo>
                  <a:lnTo>
                    <a:pt x="77" y="4"/>
                  </a:lnTo>
                  <a:lnTo>
                    <a:pt x="85" y="10"/>
                  </a:lnTo>
                  <a:lnTo>
                    <a:pt x="89" y="16"/>
                  </a:lnTo>
                  <a:lnTo>
                    <a:pt x="93" y="24"/>
                  </a:lnTo>
                  <a:lnTo>
                    <a:pt x="96" y="33"/>
                  </a:lnTo>
                  <a:lnTo>
                    <a:pt x="97" y="43"/>
                  </a:lnTo>
                  <a:lnTo>
                    <a:pt x="99" y="55"/>
                  </a:lnTo>
                  <a:lnTo>
                    <a:pt x="97" y="65"/>
                  </a:lnTo>
                  <a:lnTo>
                    <a:pt x="96" y="75"/>
                  </a:lnTo>
                  <a:lnTo>
                    <a:pt x="92" y="83"/>
                  </a:lnTo>
                  <a:lnTo>
                    <a:pt x="87" y="92"/>
                  </a:lnTo>
                  <a:lnTo>
                    <a:pt x="82" y="98"/>
                  </a:lnTo>
                  <a:lnTo>
                    <a:pt x="74" y="103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1" y="106"/>
                  </a:lnTo>
                  <a:lnTo>
                    <a:pt x="46" y="105"/>
                  </a:lnTo>
                  <a:lnTo>
                    <a:pt x="40" y="101"/>
                  </a:lnTo>
                  <a:lnTo>
                    <a:pt x="34" y="95"/>
                  </a:lnTo>
                  <a:lnTo>
                    <a:pt x="34" y="144"/>
                  </a:lnTo>
                  <a:lnTo>
                    <a:pt x="0" y="144"/>
                  </a:lnTo>
                  <a:close/>
                  <a:moveTo>
                    <a:pt x="34" y="30"/>
                  </a:moveTo>
                  <a:lnTo>
                    <a:pt x="34" y="30"/>
                  </a:lnTo>
                  <a:lnTo>
                    <a:pt x="34" y="78"/>
                  </a:lnTo>
                  <a:lnTo>
                    <a:pt x="40" y="82"/>
                  </a:lnTo>
                  <a:lnTo>
                    <a:pt x="47" y="83"/>
                  </a:lnTo>
                  <a:lnTo>
                    <a:pt x="51" y="83"/>
                  </a:lnTo>
                  <a:lnTo>
                    <a:pt x="54" y="81"/>
                  </a:lnTo>
                  <a:lnTo>
                    <a:pt x="57" y="79"/>
                  </a:lnTo>
                  <a:lnTo>
                    <a:pt x="60" y="75"/>
                  </a:lnTo>
                  <a:lnTo>
                    <a:pt x="63" y="66"/>
                  </a:lnTo>
                  <a:lnTo>
                    <a:pt x="64" y="55"/>
                  </a:lnTo>
                  <a:lnTo>
                    <a:pt x="63" y="42"/>
                  </a:lnTo>
                  <a:lnTo>
                    <a:pt x="60" y="33"/>
                  </a:lnTo>
                  <a:lnTo>
                    <a:pt x="59" y="29"/>
                  </a:lnTo>
                  <a:lnTo>
                    <a:pt x="56" y="27"/>
                  </a:lnTo>
                  <a:lnTo>
                    <a:pt x="51" y="26"/>
                  </a:lnTo>
                  <a:lnTo>
                    <a:pt x="47" y="24"/>
                  </a:lnTo>
                  <a:lnTo>
                    <a:pt x="41" y="26"/>
                  </a:lnTo>
                  <a:lnTo>
                    <a:pt x="34" y="3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0" name="Freeform 44">
              <a:extLst>
                <a:ext uri="{FF2B5EF4-FFF2-40B4-BE49-F238E27FC236}">
                  <a16:creationId xmlns:a16="http://schemas.microsoft.com/office/drawing/2014/main" id="{6E65873A-A751-B17D-85E4-A489C760E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4438" y="4241800"/>
              <a:ext cx="53975" cy="57150"/>
            </a:xfrm>
            <a:custGeom>
              <a:avLst/>
              <a:gdLst>
                <a:gd name="T0" fmla="*/ 0 w 101"/>
                <a:gd name="T1" fmla="*/ 55 h 108"/>
                <a:gd name="T2" fmla="*/ 0 w 101"/>
                <a:gd name="T3" fmla="*/ 42 h 108"/>
                <a:gd name="T4" fmla="*/ 3 w 101"/>
                <a:gd name="T5" fmla="*/ 32 h 108"/>
                <a:gd name="T6" fmla="*/ 8 w 101"/>
                <a:gd name="T7" fmla="*/ 23 h 108"/>
                <a:gd name="T8" fmla="*/ 13 w 101"/>
                <a:gd name="T9" fmla="*/ 14 h 108"/>
                <a:gd name="T10" fmla="*/ 20 w 101"/>
                <a:gd name="T11" fmla="*/ 9 h 108"/>
                <a:gd name="T12" fmla="*/ 29 w 101"/>
                <a:gd name="T13" fmla="*/ 4 h 108"/>
                <a:gd name="T14" fmla="*/ 39 w 101"/>
                <a:gd name="T15" fmla="*/ 2 h 108"/>
                <a:gd name="T16" fmla="*/ 51 w 101"/>
                <a:gd name="T17" fmla="*/ 0 h 108"/>
                <a:gd name="T18" fmla="*/ 62 w 101"/>
                <a:gd name="T19" fmla="*/ 2 h 108"/>
                <a:gd name="T20" fmla="*/ 71 w 101"/>
                <a:gd name="T21" fmla="*/ 4 h 108"/>
                <a:gd name="T22" fmla="*/ 80 w 101"/>
                <a:gd name="T23" fmla="*/ 9 h 108"/>
                <a:gd name="T24" fmla="*/ 87 w 101"/>
                <a:gd name="T25" fmla="*/ 14 h 108"/>
                <a:gd name="T26" fmla="*/ 92 w 101"/>
                <a:gd name="T27" fmla="*/ 23 h 108"/>
                <a:gd name="T28" fmla="*/ 97 w 101"/>
                <a:gd name="T29" fmla="*/ 32 h 108"/>
                <a:gd name="T30" fmla="*/ 100 w 101"/>
                <a:gd name="T31" fmla="*/ 42 h 108"/>
                <a:gd name="T32" fmla="*/ 101 w 101"/>
                <a:gd name="T33" fmla="*/ 55 h 108"/>
                <a:gd name="T34" fmla="*/ 100 w 101"/>
                <a:gd name="T35" fmla="*/ 66 h 108"/>
                <a:gd name="T36" fmla="*/ 97 w 101"/>
                <a:gd name="T37" fmla="*/ 76 h 108"/>
                <a:gd name="T38" fmla="*/ 92 w 101"/>
                <a:gd name="T39" fmla="*/ 85 h 108"/>
                <a:gd name="T40" fmla="*/ 87 w 101"/>
                <a:gd name="T41" fmla="*/ 93 h 108"/>
                <a:gd name="T42" fmla="*/ 80 w 101"/>
                <a:gd name="T43" fmla="*/ 99 h 108"/>
                <a:gd name="T44" fmla="*/ 71 w 101"/>
                <a:gd name="T45" fmla="*/ 103 h 108"/>
                <a:gd name="T46" fmla="*/ 62 w 101"/>
                <a:gd name="T47" fmla="*/ 106 h 108"/>
                <a:gd name="T48" fmla="*/ 51 w 101"/>
                <a:gd name="T49" fmla="*/ 108 h 108"/>
                <a:gd name="T50" fmla="*/ 39 w 101"/>
                <a:gd name="T51" fmla="*/ 106 h 108"/>
                <a:gd name="T52" fmla="*/ 29 w 101"/>
                <a:gd name="T53" fmla="*/ 103 h 108"/>
                <a:gd name="T54" fmla="*/ 20 w 101"/>
                <a:gd name="T55" fmla="*/ 99 h 108"/>
                <a:gd name="T56" fmla="*/ 13 w 101"/>
                <a:gd name="T57" fmla="*/ 93 h 108"/>
                <a:gd name="T58" fmla="*/ 8 w 101"/>
                <a:gd name="T59" fmla="*/ 85 h 108"/>
                <a:gd name="T60" fmla="*/ 3 w 101"/>
                <a:gd name="T61" fmla="*/ 76 h 108"/>
                <a:gd name="T62" fmla="*/ 0 w 101"/>
                <a:gd name="T63" fmla="*/ 66 h 108"/>
                <a:gd name="T64" fmla="*/ 0 w 101"/>
                <a:gd name="T65" fmla="*/ 55 h 108"/>
                <a:gd name="T66" fmla="*/ 67 w 101"/>
                <a:gd name="T67" fmla="*/ 55 h 108"/>
                <a:gd name="T68" fmla="*/ 67 w 101"/>
                <a:gd name="T69" fmla="*/ 55 h 108"/>
                <a:gd name="T70" fmla="*/ 65 w 101"/>
                <a:gd name="T71" fmla="*/ 40 h 108"/>
                <a:gd name="T72" fmla="*/ 62 w 101"/>
                <a:gd name="T73" fmla="*/ 30 h 108"/>
                <a:gd name="T74" fmla="*/ 61 w 101"/>
                <a:gd name="T75" fmla="*/ 27 h 108"/>
                <a:gd name="T76" fmla="*/ 58 w 101"/>
                <a:gd name="T77" fmla="*/ 24 h 108"/>
                <a:gd name="T78" fmla="*/ 54 w 101"/>
                <a:gd name="T79" fmla="*/ 23 h 108"/>
                <a:gd name="T80" fmla="*/ 51 w 101"/>
                <a:gd name="T81" fmla="*/ 23 h 108"/>
                <a:gd name="T82" fmla="*/ 46 w 101"/>
                <a:gd name="T83" fmla="*/ 23 h 108"/>
                <a:gd name="T84" fmla="*/ 44 w 101"/>
                <a:gd name="T85" fmla="*/ 24 h 108"/>
                <a:gd name="T86" fmla="*/ 41 w 101"/>
                <a:gd name="T87" fmla="*/ 27 h 108"/>
                <a:gd name="T88" fmla="*/ 38 w 101"/>
                <a:gd name="T89" fmla="*/ 30 h 108"/>
                <a:gd name="T90" fmla="*/ 35 w 101"/>
                <a:gd name="T91" fmla="*/ 40 h 108"/>
                <a:gd name="T92" fmla="*/ 35 w 101"/>
                <a:gd name="T93" fmla="*/ 55 h 108"/>
                <a:gd name="T94" fmla="*/ 35 w 101"/>
                <a:gd name="T95" fmla="*/ 68 h 108"/>
                <a:gd name="T96" fmla="*/ 38 w 101"/>
                <a:gd name="T97" fmla="*/ 78 h 108"/>
                <a:gd name="T98" fmla="*/ 41 w 101"/>
                <a:gd name="T99" fmla="*/ 81 h 108"/>
                <a:gd name="T100" fmla="*/ 44 w 101"/>
                <a:gd name="T101" fmla="*/ 83 h 108"/>
                <a:gd name="T102" fmla="*/ 46 w 101"/>
                <a:gd name="T103" fmla="*/ 85 h 108"/>
                <a:gd name="T104" fmla="*/ 51 w 101"/>
                <a:gd name="T105" fmla="*/ 85 h 108"/>
                <a:gd name="T106" fmla="*/ 54 w 101"/>
                <a:gd name="T107" fmla="*/ 85 h 108"/>
                <a:gd name="T108" fmla="*/ 58 w 101"/>
                <a:gd name="T109" fmla="*/ 83 h 108"/>
                <a:gd name="T110" fmla="*/ 61 w 101"/>
                <a:gd name="T111" fmla="*/ 81 h 108"/>
                <a:gd name="T112" fmla="*/ 62 w 101"/>
                <a:gd name="T113" fmla="*/ 78 h 108"/>
                <a:gd name="T114" fmla="*/ 65 w 101"/>
                <a:gd name="T115" fmla="*/ 68 h 108"/>
                <a:gd name="T116" fmla="*/ 67 w 101"/>
                <a:gd name="T117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108">
                  <a:moveTo>
                    <a:pt x="0" y="55"/>
                  </a:moveTo>
                  <a:lnTo>
                    <a:pt x="0" y="42"/>
                  </a:lnTo>
                  <a:lnTo>
                    <a:pt x="3" y="32"/>
                  </a:lnTo>
                  <a:lnTo>
                    <a:pt x="8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51" y="0"/>
                  </a:lnTo>
                  <a:lnTo>
                    <a:pt x="62" y="2"/>
                  </a:lnTo>
                  <a:lnTo>
                    <a:pt x="71" y="4"/>
                  </a:lnTo>
                  <a:lnTo>
                    <a:pt x="80" y="9"/>
                  </a:lnTo>
                  <a:lnTo>
                    <a:pt x="87" y="14"/>
                  </a:lnTo>
                  <a:lnTo>
                    <a:pt x="92" y="23"/>
                  </a:lnTo>
                  <a:lnTo>
                    <a:pt x="97" y="32"/>
                  </a:lnTo>
                  <a:lnTo>
                    <a:pt x="100" y="42"/>
                  </a:lnTo>
                  <a:lnTo>
                    <a:pt x="101" y="55"/>
                  </a:lnTo>
                  <a:lnTo>
                    <a:pt x="100" y="66"/>
                  </a:lnTo>
                  <a:lnTo>
                    <a:pt x="97" y="76"/>
                  </a:lnTo>
                  <a:lnTo>
                    <a:pt x="92" y="85"/>
                  </a:lnTo>
                  <a:lnTo>
                    <a:pt x="87" y="93"/>
                  </a:lnTo>
                  <a:lnTo>
                    <a:pt x="80" y="99"/>
                  </a:lnTo>
                  <a:lnTo>
                    <a:pt x="71" y="103"/>
                  </a:lnTo>
                  <a:lnTo>
                    <a:pt x="62" y="106"/>
                  </a:lnTo>
                  <a:lnTo>
                    <a:pt x="51" y="108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3"/>
                  </a:lnTo>
                  <a:lnTo>
                    <a:pt x="8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close/>
                  <a:moveTo>
                    <a:pt x="67" y="55"/>
                  </a:moveTo>
                  <a:lnTo>
                    <a:pt x="67" y="55"/>
                  </a:lnTo>
                  <a:lnTo>
                    <a:pt x="65" y="40"/>
                  </a:lnTo>
                  <a:lnTo>
                    <a:pt x="62" y="30"/>
                  </a:lnTo>
                  <a:lnTo>
                    <a:pt x="61" y="27"/>
                  </a:lnTo>
                  <a:lnTo>
                    <a:pt x="58" y="24"/>
                  </a:lnTo>
                  <a:lnTo>
                    <a:pt x="54" y="23"/>
                  </a:lnTo>
                  <a:lnTo>
                    <a:pt x="51" y="23"/>
                  </a:lnTo>
                  <a:lnTo>
                    <a:pt x="46" y="23"/>
                  </a:lnTo>
                  <a:lnTo>
                    <a:pt x="44" y="24"/>
                  </a:lnTo>
                  <a:lnTo>
                    <a:pt x="41" y="27"/>
                  </a:lnTo>
                  <a:lnTo>
                    <a:pt x="38" y="30"/>
                  </a:lnTo>
                  <a:lnTo>
                    <a:pt x="35" y="40"/>
                  </a:lnTo>
                  <a:lnTo>
                    <a:pt x="35" y="55"/>
                  </a:lnTo>
                  <a:lnTo>
                    <a:pt x="35" y="68"/>
                  </a:lnTo>
                  <a:lnTo>
                    <a:pt x="38" y="78"/>
                  </a:lnTo>
                  <a:lnTo>
                    <a:pt x="41" y="81"/>
                  </a:lnTo>
                  <a:lnTo>
                    <a:pt x="44" y="83"/>
                  </a:lnTo>
                  <a:lnTo>
                    <a:pt x="46" y="85"/>
                  </a:lnTo>
                  <a:lnTo>
                    <a:pt x="51" y="85"/>
                  </a:lnTo>
                  <a:lnTo>
                    <a:pt x="54" y="85"/>
                  </a:lnTo>
                  <a:lnTo>
                    <a:pt x="58" y="83"/>
                  </a:lnTo>
                  <a:lnTo>
                    <a:pt x="61" y="81"/>
                  </a:lnTo>
                  <a:lnTo>
                    <a:pt x="62" y="78"/>
                  </a:lnTo>
                  <a:lnTo>
                    <a:pt x="65" y="68"/>
                  </a:lnTo>
                  <a:lnTo>
                    <a:pt x="67" y="55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1" name="Freeform 45">
              <a:extLst>
                <a:ext uri="{FF2B5EF4-FFF2-40B4-BE49-F238E27FC236}">
                  <a16:creationId xmlns:a16="http://schemas.microsoft.com/office/drawing/2014/main" id="{AD622A93-5C56-DCB0-F52B-50BDAFE6A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5238" y="4217988"/>
              <a:ext cx="31750" cy="101600"/>
            </a:xfrm>
            <a:custGeom>
              <a:avLst/>
              <a:gdLst>
                <a:gd name="T0" fmla="*/ 23 w 61"/>
                <a:gd name="T1" fmla="*/ 46 h 190"/>
                <a:gd name="T2" fmla="*/ 58 w 61"/>
                <a:gd name="T3" fmla="*/ 46 h 190"/>
                <a:gd name="T4" fmla="*/ 58 w 61"/>
                <a:gd name="T5" fmla="*/ 154 h 190"/>
                <a:gd name="T6" fmla="*/ 58 w 61"/>
                <a:gd name="T7" fmla="*/ 162 h 190"/>
                <a:gd name="T8" fmla="*/ 55 w 61"/>
                <a:gd name="T9" fmla="*/ 169 h 190"/>
                <a:gd name="T10" fmla="*/ 52 w 61"/>
                <a:gd name="T11" fmla="*/ 177 h 190"/>
                <a:gd name="T12" fmla="*/ 48 w 61"/>
                <a:gd name="T13" fmla="*/ 181 h 190"/>
                <a:gd name="T14" fmla="*/ 42 w 61"/>
                <a:gd name="T15" fmla="*/ 185 h 190"/>
                <a:gd name="T16" fmla="*/ 35 w 61"/>
                <a:gd name="T17" fmla="*/ 188 h 190"/>
                <a:gd name="T18" fmla="*/ 28 w 61"/>
                <a:gd name="T19" fmla="*/ 190 h 190"/>
                <a:gd name="T20" fmla="*/ 19 w 61"/>
                <a:gd name="T21" fmla="*/ 190 h 190"/>
                <a:gd name="T22" fmla="*/ 9 w 61"/>
                <a:gd name="T23" fmla="*/ 190 h 190"/>
                <a:gd name="T24" fmla="*/ 0 w 61"/>
                <a:gd name="T25" fmla="*/ 187 h 190"/>
                <a:gd name="T26" fmla="*/ 0 w 61"/>
                <a:gd name="T27" fmla="*/ 167 h 190"/>
                <a:gd name="T28" fmla="*/ 6 w 61"/>
                <a:gd name="T29" fmla="*/ 167 h 190"/>
                <a:gd name="T30" fmla="*/ 12 w 61"/>
                <a:gd name="T31" fmla="*/ 168 h 190"/>
                <a:gd name="T32" fmla="*/ 16 w 61"/>
                <a:gd name="T33" fmla="*/ 167 h 190"/>
                <a:gd name="T34" fmla="*/ 19 w 61"/>
                <a:gd name="T35" fmla="*/ 165 h 190"/>
                <a:gd name="T36" fmla="*/ 23 w 61"/>
                <a:gd name="T37" fmla="*/ 161 h 190"/>
                <a:gd name="T38" fmla="*/ 23 w 61"/>
                <a:gd name="T39" fmla="*/ 154 h 190"/>
                <a:gd name="T40" fmla="*/ 23 w 61"/>
                <a:gd name="T41" fmla="*/ 46 h 190"/>
                <a:gd name="T42" fmla="*/ 41 w 61"/>
                <a:gd name="T43" fmla="*/ 39 h 190"/>
                <a:gd name="T44" fmla="*/ 41 w 61"/>
                <a:gd name="T45" fmla="*/ 39 h 190"/>
                <a:gd name="T46" fmla="*/ 36 w 61"/>
                <a:gd name="T47" fmla="*/ 39 h 190"/>
                <a:gd name="T48" fmla="*/ 33 w 61"/>
                <a:gd name="T49" fmla="*/ 37 h 190"/>
                <a:gd name="T50" fmla="*/ 31 w 61"/>
                <a:gd name="T51" fmla="*/ 36 h 190"/>
                <a:gd name="T52" fmla="*/ 28 w 61"/>
                <a:gd name="T53" fmla="*/ 33 h 190"/>
                <a:gd name="T54" fmla="*/ 25 w 61"/>
                <a:gd name="T55" fmla="*/ 30 h 190"/>
                <a:gd name="T56" fmla="*/ 23 w 61"/>
                <a:gd name="T57" fmla="*/ 27 h 190"/>
                <a:gd name="T58" fmla="*/ 22 w 61"/>
                <a:gd name="T59" fmla="*/ 23 h 190"/>
                <a:gd name="T60" fmla="*/ 22 w 61"/>
                <a:gd name="T61" fmla="*/ 20 h 190"/>
                <a:gd name="T62" fmla="*/ 22 w 61"/>
                <a:gd name="T63" fmla="*/ 16 h 190"/>
                <a:gd name="T64" fmla="*/ 23 w 61"/>
                <a:gd name="T65" fmla="*/ 11 h 190"/>
                <a:gd name="T66" fmla="*/ 25 w 61"/>
                <a:gd name="T67" fmla="*/ 9 h 190"/>
                <a:gd name="T68" fmla="*/ 28 w 61"/>
                <a:gd name="T69" fmla="*/ 6 h 190"/>
                <a:gd name="T70" fmla="*/ 31 w 61"/>
                <a:gd name="T71" fmla="*/ 4 h 190"/>
                <a:gd name="T72" fmla="*/ 33 w 61"/>
                <a:gd name="T73" fmla="*/ 1 h 190"/>
                <a:gd name="T74" fmla="*/ 36 w 61"/>
                <a:gd name="T75" fmla="*/ 1 h 190"/>
                <a:gd name="T76" fmla="*/ 41 w 61"/>
                <a:gd name="T77" fmla="*/ 0 h 190"/>
                <a:gd name="T78" fmla="*/ 45 w 61"/>
                <a:gd name="T79" fmla="*/ 1 h 190"/>
                <a:gd name="T80" fmla="*/ 49 w 61"/>
                <a:gd name="T81" fmla="*/ 1 h 190"/>
                <a:gd name="T82" fmla="*/ 52 w 61"/>
                <a:gd name="T83" fmla="*/ 4 h 190"/>
                <a:gd name="T84" fmla="*/ 55 w 61"/>
                <a:gd name="T85" fmla="*/ 6 h 190"/>
                <a:gd name="T86" fmla="*/ 58 w 61"/>
                <a:gd name="T87" fmla="*/ 9 h 190"/>
                <a:gd name="T88" fmla="*/ 59 w 61"/>
                <a:gd name="T89" fmla="*/ 11 h 190"/>
                <a:gd name="T90" fmla="*/ 59 w 61"/>
                <a:gd name="T91" fmla="*/ 16 h 190"/>
                <a:gd name="T92" fmla="*/ 61 w 61"/>
                <a:gd name="T93" fmla="*/ 20 h 190"/>
                <a:gd name="T94" fmla="*/ 59 w 61"/>
                <a:gd name="T95" fmla="*/ 23 h 190"/>
                <a:gd name="T96" fmla="*/ 59 w 61"/>
                <a:gd name="T97" fmla="*/ 27 h 190"/>
                <a:gd name="T98" fmla="*/ 58 w 61"/>
                <a:gd name="T99" fmla="*/ 30 h 190"/>
                <a:gd name="T100" fmla="*/ 55 w 61"/>
                <a:gd name="T101" fmla="*/ 33 h 190"/>
                <a:gd name="T102" fmla="*/ 52 w 61"/>
                <a:gd name="T103" fmla="*/ 36 h 190"/>
                <a:gd name="T104" fmla="*/ 49 w 61"/>
                <a:gd name="T105" fmla="*/ 37 h 190"/>
                <a:gd name="T106" fmla="*/ 45 w 61"/>
                <a:gd name="T107" fmla="*/ 39 h 190"/>
                <a:gd name="T108" fmla="*/ 41 w 61"/>
                <a:gd name="T109" fmla="*/ 3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1" h="190">
                  <a:moveTo>
                    <a:pt x="23" y="46"/>
                  </a:moveTo>
                  <a:lnTo>
                    <a:pt x="58" y="46"/>
                  </a:lnTo>
                  <a:lnTo>
                    <a:pt x="58" y="154"/>
                  </a:lnTo>
                  <a:lnTo>
                    <a:pt x="58" y="162"/>
                  </a:lnTo>
                  <a:lnTo>
                    <a:pt x="55" y="169"/>
                  </a:lnTo>
                  <a:lnTo>
                    <a:pt x="52" y="177"/>
                  </a:lnTo>
                  <a:lnTo>
                    <a:pt x="48" y="181"/>
                  </a:lnTo>
                  <a:lnTo>
                    <a:pt x="42" y="185"/>
                  </a:lnTo>
                  <a:lnTo>
                    <a:pt x="35" y="188"/>
                  </a:lnTo>
                  <a:lnTo>
                    <a:pt x="28" y="190"/>
                  </a:lnTo>
                  <a:lnTo>
                    <a:pt x="19" y="190"/>
                  </a:lnTo>
                  <a:lnTo>
                    <a:pt x="9" y="190"/>
                  </a:lnTo>
                  <a:lnTo>
                    <a:pt x="0" y="187"/>
                  </a:lnTo>
                  <a:lnTo>
                    <a:pt x="0" y="167"/>
                  </a:lnTo>
                  <a:lnTo>
                    <a:pt x="6" y="167"/>
                  </a:lnTo>
                  <a:lnTo>
                    <a:pt x="12" y="168"/>
                  </a:lnTo>
                  <a:lnTo>
                    <a:pt x="16" y="167"/>
                  </a:lnTo>
                  <a:lnTo>
                    <a:pt x="19" y="165"/>
                  </a:lnTo>
                  <a:lnTo>
                    <a:pt x="23" y="161"/>
                  </a:lnTo>
                  <a:lnTo>
                    <a:pt x="23" y="154"/>
                  </a:lnTo>
                  <a:lnTo>
                    <a:pt x="23" y="46"/>
                  </a:lnTo>
                  <a:close/>
                  <a:moveTo>
                    <a:pt x="41" y="39"/>
                  </a:moveTo>
                  <a:lnTo>
                    <a:pt x="41" y="39"/>
                  </a:lnTo>
                  <a:lnTo>
                    <a:pt x="36" y="39"/>
                  </a:lnTo>
                  <a:lnTo>
                    <a:pt x="33" y="37"/>
                  </a:lnTo>
                  <a:lnTo>
                    <a:pt x="31" y="36"/>
                  </a:lnTo>
                  <a:lnTo>
                    <a:pt x="28" y="33"/>
                  </a:lnTo>
                  <a:lnTo>
                    <a:pt x="25" y="30"/>
                  </a:lnTo>
                  <a:lnTo>
                    <a:pt x="23" y="27"/>
                  </a:lnTo>
                  <a:lnTo>
                    <a:pt x="22" y="23"/>
                  </a:lnTo>
                  <a:lnTo>
                    <a:pt x="22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1" y="4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41" y="0"/>
                  </a:lnTo>
                  <a:lnTo>
                    <a:pt x="45" y="1"/>
                  </a:lnTo>
                  <a:lnTo>
                    <a:pt x="49" y="1"/>
                  </a:lnTo>
                  <a:lnTo>
                    <a:pt x="52" y="4"/>
                  </a:lnTo>
                  <a:lnTo>
                    <a:pt x="55" y="6"/>
                  </a:lnTo>
                  <a:lnTo>
                    <a:pt x="58" y="9"/>
                  </a:lnTo>
                  <a:lnTo>
                    <a:pt x="59" y="11"/>
                  </a:lnTo>
                  <a:lnTo>
                    <a:pt x="59" y="16"/>
                  </a:lnTo>
                  <a:lnTo>
                    <a:pt x="61" y="20"/>
                  </a:lnTo>
                  <a:lnTo>
                    <a:pt x="59" y="23"/>
                  </a:lnTo>
                  <a:lnTo>
                    <a:pt x="59" y="27"/>
                  </a:lnTo>
                  <a:lnTo>
                    <a:pt x="58" y="30"/>
                  </a:lnTo>
                  <a:lnTo>
                    <a:pt x="55" y="33"/>
                  </a:lnTo>
                  <a:lnTo>
                    <a:pt x="52" y="36"/>
                  </a:lnTo>
                  <a:lnTo>
                    <a:pt x="49" y="37"/>
                  </a:lnTo>
                  <a:lnTo>
                    <a:pt x="45" y="39"/>
                  </a:lnTo>
                  <a:lnTo>
                    <a:pt x="41" y="39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2" name="Freeform 46">
              <a:extLst>
                <a:ext uri="{FF2B5EF4-FFF2-40B4-BE49-F238E27FC236}">
                  <a16:creationId xmlns:a16="http://schemas.microsoft.com/office/drawing/2014/main" id="{199E4431-D202-D06F-D396-487114F0F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8100" y="4217988"/>
              <a:ext cx="19050" cy="79375"/>
            </a:xfrm>
            <a:custGeom>
              <a:avLst/>
              <a:gdLst>
                <a:gd name="T0" fmla="*/ 18 w 38"/>
                <a:gd name="T1" fmla="*/ 39 h 148"/>
                <a:gd name="T2" fmla="*/ 15 w 38"/>
                <a:gd name="T3" fmla="*/ 39 h 148"/>
                <a:gd name="T4" fmla="*/ 11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2 w 38"/>
                <a:gd name="T11" fmla="*/ 30 h 148"/>
                <a:gd name="T12" fmla="*/ 1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1 w 38"/>
                <a:gd name="T21" fmla="*/ 11 h 148"/>
                <a:gd name="T22" fmla="*/ 2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1 w 38"/>
                <a:gd name="T29" fmla="*/ 1 h 148"/>
                <a:gd name="T30" fmla="*/ 15 w 38"/>
                <a:gd name="T31" fmla="*/ 1 h 148"/>
                <a:gd name="T32" fmla="*/ 18 w 38"/>
                <a:gd name="T33" fmla="*/ 0 h 148"/>
                <a:gd name="T34" fmla="*/ 23 w 38"/>
                <a:gd name="T35" fmla="*/ 1 h 148"/>
                <a:gd name="T36" fmla="*/ 27 w 38"/>
                <a:gd name="T37" fmla="*/ 1 h 148"/>
                <a:gd name="T38" fmla="*/ 30 w 38"/>
                <a:gd name="T39" fmla="*/ 4 h 148"/>
                <a:gd name="T40" fmla="*/ 33 w 38"/>
                <a:gd name="T41" fmla="*/ 6 h 148"/>
                <a:gd name="T42" fmla="*/ 36 w 38"/>
                <a:gd name="T43" fmla="*/ 9 h 148"/>
                <a:gd name="T44" fmla="*/ 37 w 38"/>
                <a:gd name="T45" fmla="*/ 11 h 148"/>
                <a:gd name="T46" fmla="*/ 37 w 38"/>
                <a:gd name="T47" fmla="*/ 16 h 148"/>
                <a:gd name="T48" fmla="*/ 38 w 38"/>
                <a:gd name="T49" fmla="*/ 20 h 148"/>
                <a:gd name="T50" fmla="*/ 37 w 38"/>
                <a:gd name="T51" fmla="*/ 23 h 148"/>
                <a:gd name="T52" fmla="*/ 37 w 38"/>
                <a:gd name="T53" fmla="*/ 27 h 148"/>
                <a:gd name="T54" fmla="*/ 36 w 38"/>
                <a:gd name="T55" fmla="*/ 30 h 148"/>
                <a:gd name="T56" fmla="*/ 33 w 38"/>
                <a:gd name="T57" fmla="*/ 33 h 148"/>
                <a:gd name="T58" fmla="*/ 30 w 38"/>
                <a:gd name="T59" fmla="*/ 36 h 148"/>
                <a:gd name="T60" fmla="*/ 27 w 38"/>
                <a:gd name="T61" fmla="*/ 37 h 148"/>
                <a:gd name="T62" fmla="*/ 23 w 38"/>
                <a:gd name="T63" fmla="*/ 39 h 148"/>
                <a:gd name="T64" fmla="*/ 18 w 38"/>
                <a:gd name="T65" fmla="*/ 39 h 148"/>
                <a:gd name="T66" fmla="*/ 1 w 38"/>
                <a:gd name="T67" fmla="*/ 46 h 148"/>
                <a:gd name="T68" fmla="*/ 1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1 w 38"/>
                <a:gd name="T75" fmla="*/ 148 h 148"/>
                <a:gd name="T76" fmla="*/ 1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8" y="39"/>
                  </a:moveTo>
                  <a:lnTo>
                    <a:pt x="15" y="39"/>
                  </a:lnTo>
                  <a:lnTo>
                    <a:pt x="11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2" y="30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2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1" y="1"/>
                  </a:lnTo>
                  <a:lnTo>
                    <a:pt x="15" y="1"/>
                  </a:lnTo>
                  <a:lnTo>
                    <a:pt x="18" y="0"/>
                  </a:lnTo>
                  <a:lnTo>
                    <a:pt x="23" y="1"/>
                  </a:lnTo>
                  <a:lnTo>
                    <a:pt x="27" y="1"/>
                  </a:lnTo>
                  <a:lnTo>
                    <a:pt x="30" y="4"/>
                  </a:lnTo>
                  <a:lnTo>
                    <a:pt x="33" y="6"/>
                  </a:lnTo>
                  <a:lnTo>
                    <a:pt x="36" y="9"/>
                  </a:lnTo>
                  <a:lnTo>
                    <a:pt x="37" y="11"/>
                  </a:lnTo>
                  <a:lnTo>
                    <a:pt x="37" y="16"/>
                  </a:lnTo>
                  <a:lnTo>
                    <a:pt x="38" y="20"/>
                  </a:lnTo>
                  <a:lnTo>
                    <a:pt x="37" y="23"/>
                  </a:lnTo>
                  <a:lnTo>
                    <a:pt x="37" y="27"/>
                  </a:lnTo>
                  <a:lnTo>
                    <a:pt x="36" y="30"/>
                  </a:lnTo>
                  <a:lnTo>
                    <a:pt x="33" y="33"/>
                  </a:lnTo>
                  <a:lnTo>
                    <a:pt x="30" y="36"/>
                  </a:lnTo>
                  <a:lnTo>
                    <a:pt x="27" y="37"/>
                  </a:lnTo>
                  <a:lnTo>
                    <a:pt x="23" y="39"/>
                  </a:lnTo>
                  <a:lnTo>
                    <a:pt x="18" y="39"/>
                  </a:lnTo>
                  <a:close/>
                  <a:moveTo>
                    <a:pt x="1" y="46"/>
                  </a:moveTo>
                  <a:lnTo>
                    <a:pt x="1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1" y="148"/>
                  </a:lnTo>
                  <a:lnTo>
                    <a:pt x="1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3" name="Freeform 47">
              <a:extLst>
                <a:ext uri="{FF2B5EF4-FFF2-40B4-BE49-F238E27FC236}">
                  <a16:creationId xmlns:a16="http://schemas.microsoft.com/office/drawing/2014/main" id="{1A5925DE-FDE8-08EA-BBF1-0D8C7E25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241800"/>
              <a:ext cx="47625" cy="57150"/>
            </a:xfrm>
            <a:custGeom>
              <a:avLst/>
              <a:gdLst>
                <a:gd name="T0" fmla="*/ 54 w 90"/>
                <a:gd name="T1" fmla="*/ 27 h 108"/>
                <a:gd name="T2" fmla="*/ 46 w 90"/>
                <a:gd name="T3" fmla="*/ 22 h 108"/>
                <a:gd name="T4" fmla="*/ 38 w 90"/>
                <a:gd name="T5" fmla="*/ 22 h 108"/>
                <a:gd name="T6" fmla="*/ 32 w 90"/>
                <a:gd name="T7" fmla="*/ 26 h 108"/>
                <a:gd name="T8" fmla="*/ 31 w 90"/>
                <a:gd name="T9" fmla="*/ 33 h 108"/>
                <a:gd name="T10" fmla="*/ 33 w 90"/>
                <a:gd name="T11" fmla="*/ 36 h 108"/>
                <a:gd name="T12" fmla="*/ 42 w 90"/>
                <a:gd name="T13" fmla="*/ 39 h 108"/>
                <a:gd name="T14" fmla="*/ 65 w 90"/>
                <a:gd name="T15" fmla="*/ 43 h 108"/>
                <a:gd name="T16" fmla="*/ 82 w 90"/>
                <a:gd name="T17" fmla="*/ 52 h 108"/>
                <a:gd name="T18" fmla="*/ 88 w 90"/>
                <a:gd name="T19" fmla="*/ 65 h 108"/>
                <a:gd name="T20" fmla="*/ 88 w 90"/>
                <a:gd name="T21" fmla="*/ 81 h 108"/>
                <a:gd name="T22" fmla="*/ 82 w 90"/>
                <a:gd name="T23" fmla="*/ 93 h 108"/>
                <a:gd name="T24" fmla="*/ 71 w 90"/>
                <a:gd name="T25" fmla="*/ 102 h 108"/>
                <a:gd name="T26" fmla="*/ 55 w 90"/>
                <a:gd name="T27" fmla="*/ 106 h 108"/>
                <a:gd name="T28" fmla="*/ 36 w 90"/>
                <a:gd name="T29" fmla="*/ 106 h 108"/>
                <a:gd name="T30" fmla="*/ 19 w 90"/>
                <a:gd name="T31" fmla="*/ 102 h 108"/>
                <a:gd name="T32" fmla="*/ 7 w 90"/>
                <a:gd name="T33" fmla="*/ 93 h 108"/>
                <a:gd name="T34" fmla="*/ 2 w 90"/>
                <a:gd name="T35" fmla="*/ 82 h 108"/>
                <a:gd name="T36" fmla="*/ 32 w 90"/>
                <a:gd name="T37" fmla="*/ 73 h 108"/>
                <a:gd name="T38" fmla="*/ 36 w 90"/>
                <a:gd name="T39" fmla="*/ 83 h 108"/>
                <a:gd name="T40" fmla="*/ 46 w 90"/>
                <a:gd name="T41" fmla="*/ 86 h 108"/>
                <a:gd name="T42" fmla="*/ 55 w 90"/>
                <a:gd name="T43" fmla="*/ 85 h 108"/>
                <a:gd name="T44" fmla="*/ 59 w 90"/>
                <a:gd name="T45" fmla="*/ 78 h 108"/>
                <a:gd name="T46" fmla="*/ 58 w 90"/>
                <a:gd name="T47" fmla="*/ 73 h 108"/>
                <a:gd name="T48" fmla="*/ 54 w 90"/>
                <a:gd name="T49" fmla="*/ 70 h 108"/>
                <a:gd name="T50" fmla="*/ 38 w 90"/>
                <a:gd name="T51" fmla="*/ 66 h 108"/>
                <a:gd name="T52" fmla="*/ 12 w 90"/>
                <a:gd name="T53" fmla="*/ 58 h 108"/>
                <a:gd name="T54" fmla="*/ 3 w 90"/>
                <a:gd name="T55" fmla="*/ 49 h 108"/>
                <a:gd name="T56" fmla="*/ 0 w 90"/>
                <a:gd name="T57" fmla="*/ 35 h 108"/>
                <a:gd name="T58" fmla="*/ 3 w 90"/>
                <a:gd name="T59" fmla="*/ 20 h 108"/>
                <a:gd name="T60" fmla="*/ 13 w 90"/>
                <a:gd name="T61" fmla="*/ 9 h 108"/>
                <a:gd name="T62" fmla="*/ 26 w 90"/>
                <a:gd name="T63" fmla="*/ 3 h 108"/>
                <a:gd name="T64" fmla="*/ 42 w 90"/>
                <a:gd name="T65" fmla="*/ 0 h 108"/>
                <a:gd name="T66" fmla="*/ 61 w 90"/>
                <a:gd name="T67" fmla="*/ 3 h 108"/>
                <a:gd name="T68" fmla="*/ 75 w 90"/>
                <a:gd name="T69" fmla="*/ 9 h 108"/>
                <a:gd name="T70" fmla="*/ 84 w 90"/>
                <a:gd name="T71" fmla="*/ 19 h 108"/>
                <a:gd name="T72" fmla="*/ 87 w 90"/>
                <a:gd name="T73" fmla="*/ 3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8">
                  <a:moveTo>
                    <a:pt x="54" y="33"/>
                  </a:moveTo>
                  <a:lnTo>
                    <a:pt x="54" y="27"/>
                  </a:lnTo>
                  <a:lnTo>
                    <a:pt x="51" y="24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3" y="23"/>
                  </a:lnTo>
                  <a:lnTo>
                    <a:pt x="32" y="26"/>
                  </a:lnTo>
                  <a:lnTo>
                    <a:pt x="31" y="30"/>
                  </a:lnTo>
                  <a:lnTo>
                    <a:pt x="31" y="33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2" y="39"/>
                  </a:lnTo>
                  <a:lnTo>
                    <a:pt x="52" y="40"/>
                  </a:lnTo>
                  <a:lnTo>
                    <a:pt x="65" y="43"/>
                  </a:lnTo>
                  <a:lnTo>
                    <a:pt x="77" y="49"/>
                  </a:lnTo>
                  <a:lnTo>
                    <a:pt x="82" y="52"/>
                  </a:lnTo>
                  <a:lnTo>
                    <a:pt x="85" y="58"/>
                  </a:lnTo>
                  <a:lnTo>
                    <a:pt x="88" y="65"/>
                  </a:lnTo>
                  <a:lnTo>
                    <a:pt x="90" y="72"/>
                  </a:lnTo>
                  <a:lnTo>
                    <a:pt x="88" y="81"/>
                  </a:lnTo>
                  <a:lnTo>
                    <a:pt x="85" y="88"/>
                  </a:lnTo>
                  <a:lnTo>
                    <a:pt x="82" y="93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8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19" y="102"/>
                  </a:lnTo>
                  <a:lnTo>
                    <a:pt x="13" y="99"/>
                  </a:lnTo>
                  <a:lnTo>
                    <a:pt x="7" y="93"/>
                  </a:lnTo>
                  <a:lnTo>
                    <a:pt x="3" y="88"/>
                  </a:lnTo>
                  <a:lnTo>
                    <a:pt x="2" y="82"/>
                  </a:lnTo>
                  <a:lnTo>
                    <a:pt x="0" y="73"/>
                  </a:lnTo>
                  <a:lnTo>
                    <a:pt x="32" y="73"/>
                  </a:lnTo>
                  <a:lnTo>
                    <a:pt x="33" y="79"/>
                  </a:lnTo>
                  <a:lnTo>
                    <a:pt x="36" y="83"/>
                  </a:lnTo>
                  <a:lnTo>
                    <a:pt x="41" y="86"/>
                  </a:lnTo>
                  <a:lnTo>
                    <a:pt x="46" y="86"/>
                  </a:lnTo>
                  <a:lnTo>
                    <a:pt x="51" y="86"/>
                  </a:lnTo>
                  <a:lnTo>
                    <a:pt x="55" y="85"/>
                  </a:lnTo>
                  <a:lnTo>
                    <a:pt x="58" y="82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58" y="73"/>
                  </a:lnTo>
                  <a:lnTo>
                    <a:pt x="55" y="72"/>
                  </a:lnTo>
                  <a:lnTo>
                    <a:pt x="54" y="70"/>
                  </a:lnTo>
                  <a:lnTo>
                    <a:pt x="46" y="69"/>
                  </a:lnTo>
                  <a:lnTo>
                    <a:pt x="38" y="66"/>
                  </a:lnTo>
                  <a:lnTo>
                    <a:pt x="23" y="63"/>
                  </a:lnTo>
                  <a:lnTo>
                    <a:pt x="12" y="58"/>
                  </a:lnTo>
                  <a:lnTo>
                    <a:pt x="7" y="55"/>
                  </a:lnTo>
                  <a:lnTo>
                    <a:pt x="3" y="49"/>
                  </a:lnTo>
                  <a:lnTo>
                    <a:pt x="2" y="42"/>
                  </a:lnTo>
                  <a:lnTo>
                    <a:pt x="0" y="35"/>
                  </a:lnTo>
                  <a:lnTo>
                    <a:pt x="2" y="26"/>
                  </a:lnTo>
                  <a:lnTo>
                    <a:pt x="3" y="20"/>
                  </a:lnTo>
                  <a:lnTo>
                    <a:pt x="7" y="14"/>
                  </a:lnTo>
                  <a:lnTo>
                    <a:pt x="13" y="9"/>
                  </a:lnTo>
                  <a:lnTo>
                    <a:pt x="19" y="6"/>
                  </a:lnTo>
                  <a:lnTo>
                    <a:pt x="26" y="3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52" y="2"/>
                  </a:lnTo>
                  <a:lnTo>
                    <a:pt x="61" y="3"/>
                  </a:lnTo>
                  <a:lnTo>
                    <a:pt x="69" y="6"/>
                  </a:lnTo>
                  <a:lnTo>
                    <a:pt x="75" y="9"/>
                  </a:lnTo>
                  <a:lnTo>
                    <a:pt x="79" y="13"/>
                  </a:lnTo>
                  <a:lnTo>
                    <a:pt x="84" y="19"/>
                  </a:lnTo>
                  <a:lnTo>
                    <a:pt x="85" y="24"/>
                  </a:lnTo>
                  <a:lnTo>
                    <a:pt x="87" y="33"/>
                  </a:lnTo>
                  <a:lnTo>
                    <a:pt x="54" y="3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4" name="Freeform 48">
              <a:extLst>
                <a:ext uri="{FF2B5EF4-FFF2-40B4-BE49-F238E27FC236}">
                  <a16:creationId xmlns:a16="http://schemas.microsoft.com/office/drawing/2014/main" id="{DBD6A5AD-6AE9-615E-3D49-0200B77EF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9063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1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5 w 73"/>
                <a:gd name="T35" fmla="*/ 103 h 129"/>
                <a:gd name="T36" fmla="*/ 15 w 73"/>
                <a:gd name="T37" fmla="*/ 94 h 129"/>
                <a:gd name="T38" fmla="*/ 15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5 w 73"/>
                <a:gd name="T45" fmla="*/ 24 h 129"/>
                <a:gd name="T46" fmla="*/ 15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1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5" y="103"/>
                  </a:lnTo>
                  <a:lnTo>
                    <a:pt x="15" y="94"/>
                  </a:lnTo>
                  <a:lnTo>
                    <a:pt x="15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5" y="24"/>
                  </a:lnTo>
                  <a:lnTo>
                    <a:pt x="15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5" name="Freeform 49">
              <a:extLst>
                <a:ext uri="{FF2B5EF4-FFF2-40B4-BE49-F238E27FC236}">
                  <a16:creationId xmlns:a16="http://schemas.microsoft.com/office/drawing/2014/main" id="{C78B869B-8E42-E8D2-8D6A-F7769B84E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96688" y="4217988"/>
              <a:ext cx="20638" cy="79375"/>
            </a:xfrm>
            <a:custGeom>
              <a:avLst/>
              <a:gdLst>
                <a:gd name="T0" fmla="*/ 19 w 38"/>
                <a:gd name="T1" fmla="*/ 39 h 148"/>
                <a:gd name="T2" fmla="*/ 15 w 38"/>
                <a:gd name="T3" fmla="*/ 39 h 148"/>
                <a:gd name="T4" fmla="*/ 10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3 w 38"/>
                <a:gd name="T11" fmla="*/ 30 h 148"/>
                <a:gd name="T12" fmla="*/ 0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0 w 38"/>
                <a:gd name="T21" fmla="*/ 11 h 148"/>
                <a:gd name="T22" fmla="*/ 3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0 w 38"/>
                <a:gd name="T29" fmla="*/ 1 h 148"/>
                <a:gd name="T30" fmla="*/ 15 w 38"/>
                <a:gd name="T31" fmla="*/ 1 h 148"/>
                <a:gd name="T32" fmla="*/ 19 w 38"/>
                <a:gd name="T33" fmla="*/ 0 h 148"/>
                <a:gd name="T34" fmla="*/ 23 w 38"/>
                <a:gd name="T35" fmla="*/ 1 h 148"/>
                <a:gd name="T36" fmla="*/ 26 w 38"/>
                <a:gd name="T37" fmla="*/ 1 h 148"/>
                <a:gd name="T38" fmla="*/ 31 w 38"/>
                <a:gd name="T39" fmla="*/ 4 h 148"/>
                <a:gd name="T40" fmla="*/ 32 w 38"/>
                <a:gd name="T41" fmla="*/ 6 h 148"/>
                <a:gd name="T42" fmla="*/ 35 w 38"/>
                <a:gd name="T43" fmla="*/ 9 h 148"/>
                <a:gd name="T44" fmla="*/ 36 w 38"/>
                <a:gd name="T45" fmla="*/ 11 h 148"/>
                <a:gd name="T46" fmla="*/ 38 w 38"/>
                <a:gd name="T47" fmla="*/ 16 h 148"/>
                <a:gd name="T48" fmla="*/ 38 w 38"/>
                <a:gd name="T49" fmla="*/ 20 h 148"/>
                <a:gd name="T50" fmla="*/ 38 w 38"/>
                <a:gd name="T51" fmla="*/ 23 h 148"/>
                <a:gd name="T52" fmla="*/ 36 w 38"/>
                <a:gd name="T53" fmla="*/ 27 h 148"/>
                <a:gd name="T54" fmla="*/ 35 w 38"/>
                <a:gd name="T55" fmla="*/ 30 h 148"/>
                <a:gd name="T56" fmla="*/ 32 w 38"/>
                <a:gd name="T57" fmla="*/ 33 h 148"/>
                <a:gd name="T58" fmla="*/ 31 w 38"/>
                <a:gd name="T59" fmla="*/ 36 h 148"/>
                <a:gd name="T60" fmla="*/ 26 w 38"/>
                <a:gd name="T61" fmla="*/ 37 h 148"/>
                <a:gd name="T62" fmla="*/ 23 w 38"/>
                <a:gd name="T63" fmla="*/ 39 h 148"/>
                <a:gd name="T64" fmla="*/ 19 w 38"/>
                <a:gd name="T65" fmla="*/ 39 h 148"/>
                <a:gd name="T66" fmla="*/ 2 w 38"/>
                <a:gd name="T67" fmla="*/ 46 h 148"/>
                <a:gd name="T68" fmla="*/ 2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2 w 38"/>
                <a:gd name="T75" fmla="*/ 148 h 148"/>
                <a:gd name="T76" fmla="*/ 2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9" y="39"/>
                  </a:moveTo>
                  <a:lnTo>
                    <a:pt x="15" y="39"/>
                  </a:lnTo>
                  <a:lnTo>
                    <a:pt x="10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3" y="30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3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0" y="1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1"/>
                  </a:lnTo>
                  <a:lnTo>
                    <a:pt x="26" y="1"/>
                  </a:lnTo>
                  <a:lnTo>
                    <a:pt x="31" y="4"/>
                  </a:lnTo>
                  <a:lnTo>
                    <a:pt x="32" y="6"/>
                  </a:lnTo>
                  <a:lnTo>
                    <a:pt x="35" y="9"/>
                  </a:lnTo>
                  <a:lnTo>
                    <a:pt x="36" y="11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3"/>
                  </a:lnTo>
                  <a:lnTo>
                    <a:pt x="36" y="27"/>
                  </a:lnTo>
                  <a:lnTo>
                    <a:pt x="35" y="30"/>
                  </a:lnTo>
                  <a:lnTo>
                    <a:pt x="32" y="33"/>
                  </a:lnTo>
                  <a:lnTo>
                    <a:pt x="31" y="36"/>
                  </a:lnTo>
                  <a:lnTo>
                    <a:pt x="26" y="37"/>
                  </a:lnTo>
                  <a:lnTo>
                    <a:pt x="23" y="39"/>
                  </a:lnTo>
                  <a:lnTo>
                    <a:pt x="19" y="39"/>
                  </a:lnTo>
                  <a:close/>
                  <a:moveTo>
                    <a:pt x="2" y="46"/>
                  </a:moveTo>
                  <a:lnTo>
                    <a:pt x="2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2" y="148"/>
                  </a:lnTo>
                  <a:lnTo>
                    <a:pt x="2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6" name="Freeform 50">
              <a:extLst>
                <a:ext uri="{FF2B5EF4-FFF2-40B4-BE49-F238E27FC236}">
                  <a16:creationId xmlns:a16="http://schemas.microsoft.com/office/drawing/2014/main" id="{0BC003C0-7CEB-4EEE-86DF-050663C2D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3675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2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6 w 73"/>
                <a:gd name="T35" fmla="*/ 103 h 129"/>
                <a:gd name="T36" fmla="*/ 16 w 73"/>
                <a:gd name="T37" fmla="*/ 94 h 129"/>
                <a:gd name="T38" fmla="*/ 16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6 w 73"/>
                <a:gd name="T45" fmla="*/ 24 h 129"/>
                <a:gd name="T46" fmla="*/ 16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2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6" y="103"/>
                  </a:lnTo>
                  <a:lnTo>
                    <a:pt x="16" y="94"/>
                  </a:lnTo>
                  <a:lnTo>
                    <a:pt x="16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7" name="Freeform 51">
              <a:extLst>
                <a:ext uri="{FF2B5EF4-FFF2-40B4-BE49-F238E27FC236}">
                  <a16:creationId xmlns:a16="http://schemas.microsoft.com/office/drawing/2014/main" id="{60650915-FC84-12C3-2893-EE34D34C4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9713" y="4241800"/>
              <a:ext cx="49213" cy="57150"/>
            </a:xfrm>
            <a:custGeom>
              <a:avLst/>
              <a:gdLst>
                <a:gd name="T0" fmla="*/ 94 w 95"/>
                <a:gd name="T1" fmla="*/ 73 h 108"/>
                <a:gd name="T2" fmla="*/ 92 w 95"/>
                <a:gd name="T3" fmla="*/ 81 h 108"/>
                <a:gd name="T4" fmla="*/ 89 w 95"/>
                <a:gd name="T5" fmla="*/ 88 h 108"/>
                <a:gd name="T6" fmla="*/ 85 w 95"/>
                <a:gd name="T7" fmla="*/ 93 h 108"/>
                <a:gd name="T8" fmla="*/ 79 w 95"/>
                <a:gd name="T9" fmla="*/ 98 h 108"/>
                <a:gd name="T10" fmla="*/ 72 w 95"/>
                <a:gd name="T11" fmla="*/ 102 h 108"/>
                <a:gd name="T12" fmla="*/ 65 w 95"/>
                <a:gd name="T13" fmla="*/ 105 h 108"/>
                <a:gd name="T14" fmla="*/ 58 w 95"/>
                <a:gd name="T15" fmla="*/ 106 h 108"/>
                <a:gd name="T16" fmla="*/ 48 w 95"/>
                <a:gd name="T17" fmla="*/ 108 h 108"/>
                <a:gd name="T18" fmla="*/ 36 w 95"/>
                <a:gd name="T19" fmla="*/ 106 h 108"/>
                <a:gd name="T20" fmla="*/ 26 w 95"/>
                <a:gd name="T21" fmla="*/ 103 h 108"/>
                <a:gd name="T22" fmla="*/ 19 w 95"/>
                <a:gd name="T23" fmla="*/ 99 h 108"/>
                <a:gd name="T24" fmla="*/ 12 w 95"/>
                <a:gd name="T25" fmla="*/ 93 h 108"/>
                <a:gd name="T26" fmla="*/ 6 w 95"/>
                <a:gd name="T27" fmla="*/ 85 h 108"/>
                <a:gd name="T28" fmla="*/ 3 w 95"/>
                <a:gd name="T29" fmla="*/ 76 h 108"/>
                <a:gd name="T30" fmla="*/ 0 w 95"/>
                <a:gd name="T31" fmla="*/ 66 h 108"/>
                <a:gd name="T32" fmla="*/ 0 w 95"/>
                <a:gd name="T33" fmla="*/ 55 h 108"/>
                <a:gd name="T34" fmla="*/ 0 w 95"/>
                <a:gd name="T35" fmla="*/ 42 h 108"/>
                <a:gd name="T36" fmla="*/ 3 w 95"/>
                <a:gd name="T37" fmla="*/ 32 h 108"/>
                <a:gd name="T38" fmla="*/ 7 w 95"/>
                <a:gd name="T39" fmla="*/ 23 h 108"/>
                <a:gd name="T40" fmla="*/ 13 w 95"/>
                <a:gd name="T41" fmla="*/ 14 h 108"/>
                <a:gd name="T42" fmla="*/ 20 w 95"/>
                <a:gd name="T43" fmla="*/ 9 h 108"/>
                <a:gd name="T44" fmla="*/ 29 w 95"/>
                <a:gd name="T45" fmla="*/ 4 h 108"/>
                <a:gd name="T46" fmla="*/ 38 w 95"/>
                <a:gd name="T47" fmla="*/ 2 h 108"/>
                <a:gd name="T48" fmla="*/ 48 w 95"/>
                <a:gd name="T49" fmla="*/ 0 h 108"/>
                <a:gd name="T50" fmla="*/ 58 w 95"/>
                <a:gd name="T51" fmla="*/ 2 h 108"/>
                <a:gd name="T52" fmla="*/ 68 w 95"/>
                <a:gd name="T53" fmla="*/ 4 h 108"/>
                <a:gd name="T54" fmla="*/ 76 w 95"/>
                <a:gd name="T55" fmla="*/ 9 h 108"/>
                <a:gd name="T56" fmla="*/ 84 w 95"/>
                <a:gd name="T57" fmla="*/ 14 h 108"/>
                <a:gd name="T58" fmla="*/ 88 w 95"/>
                <a:gd name="T59" fmla="*/ 23 h 108"/>
                <a:gd name="T60" fmla="*/ 92 w 95"/>
                <a:gd name="T61" fmla="*/ 33 h 108"/>
                <a:gd name="T62" fmla="*/ 95 w 95"/>
                <a:gd name="T63" fmla="*/ 46 h 108"/>
                <a:gd name="T64" fmla="*/ 94 w 95"/>
                <a:gd name="T65" fmla="*/ 62 h 108"/>
                <a:gd name="T66" fmla="*/ 33 w 95"/>
                <a:gd name="T67" fmla="*/ 62 h 108"/>
                <a:gd name="T68" fmla="*/ 35 w 95"/>
                <a:gd name="T69" fmla="*/ 73 h 108"/>
                <a:gd name="T70" fmla="*/ 38 w 95"/>
                <a:gd name="T71" fmla="*/ 81 h 108"/>
                <a:gd name="T72" fmla="*/ 39 w 95"/>
                <a:gd name="T73" fmla="*/ 82 h 108"/>
                <a:gd name="T74" fmla="*/ 42 w 95"/>
                <a:gd name="T75" fmla="*/ 83 h 108"/>
                <a:gd name="T76" fmla="*/ 45 w 95"/>
                <a:gd name="T77" fmla="*/ 85 h 108"/>
                <a:gd name="T78" fmla="*/ 48 w 95"/>
                <a:gd name="T79" fmla="*/ 85 h 108"/>
                <a:gd name="T80" fmla="*/ 53 w 95"/>
                <a:gd name="T81" fmla="*/ 85 h 108"/>
                <a:gd name="T82" fmla="*/ 56 w 95"/>
                <a:gd name="T83" fmla="*/ 82 h 108"/>
                <a:gd name="T84" fmla="*/ 59 w 95"/>
                <a:gd name="T85" fmla="*/ 79 h 108"/>
                <a:gd name="T86" fmla="*/ 61 w 95"/>
                <a:gd name="T87" fmla="*/ 73 h 108"/>
                <a:gd name="T88" fmla="*/ 94 w 95"/>
                <a:gd name="T89" fmla="*/ 73 h 108"/>
                <a:gd name="T90" fmla="*/ 33 w 95"/>
                <a:gd name="T91" fmla="*/ 43 h 108"/>
                <a:gd name="T92" fmla="*/ 33 w 95"/>
                <a:gd name="T93" fmla="*/ 43 h 108"/>
                <a:gd name="T94" fmla="*/ 62 w 95"/>
                <a:gd name="T95" fmla="*/ 43 h 108"/>
                <a:gd name="T96" fmla="*/ 61 w 95"/>
                <a:gd name="T97" fmla="*/ 33 h 108"/>
                <a:gd name="T98" fmla="*/ 58 w 95"/>
                <a:gd name="T99" fmla="*/ 26 h 108"/>
                <a:gd name="T100" fmla="*/ 53 w 95"/>
                <a:gd name="T101" fmla="*/ 23 h 108"/>
                <a:gd name="T102" fmla="*/ 48 w 95"/>
                <a:gd name="T103" fmla="*/ 22 h 108"/>
                <a:gd name="T104" fmla="*/ 42 w 95"/>
                <a:gd name="T105" fmla="*/ 23 h 108"/>
                <a:gd name="T106" fmla="*/ 38 w 95"/>
                <a:gd name="T107" fmla="*/ 26 h 108"/>
                <a:gd name="T108" fmla="*/ 35 w 95"/>
                <a:gd name="T109" fmla="*/ 33 h 108"/>
                <a:gd name="T110" fmla="*/ 33 w 95"/>
                <a:gd name="T111" fmla="*/ 4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8">
                  <a:moveTo>
                    <a:pt x="94" y="73"/>
                  </a:moveTo>
                  <a:lnTo>
                    <a:pt x="92" y="81"/>
                  </a:lnTo>
                  <a:lnTo>
                    <a:pt x="89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2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8"/>
                  </a:lnTo>
                  <a:lnTo>
                    <a:pt x="36" y="106"/>
                  </a:lnTo>
                  <a:lnTo>
                    <a:pt x="26" y="103"/>
                  </a:lnTo>
                  <a:lnTo>
                    <a:pt x="19" y="99"/>
                  </a:lnTo>
                  <a:lnTo>
                    <a:pt x="12" y="93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lnTo>
                    <a:pt x="0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6" y="9"/>
                  </a:lnTo>
                  <a:lnTo>
                    <a:pt x="84" y="14"/>
                  </a:lnTo>
                  <a:lnTo>
                    <a:pt x="88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4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3" y="85"/>
                  </a:lnTo>
                  <a:lnTo>
                    <a:pt x="56" y="82"/>
                  </a:lnTo>
                  <a:lnTo>
                    <a:pt x="59" y="79"/>
                  </a:lnTo>
                  <a:lnTo>
                    <a:pt x="61" y="73"/>
                  </a:lnTo>
                  <a:lnTo>
                    <a:pt x="94" y="73"/>
                  </a:lnTo>
                  <a:close/>
                  <a:moveTo>
                    <a:pt x="33" y="43"/>
                  </a:moveTo>
                  <a:lnTo>
                    <a:pt x="33" y="43"/>
                  </a:lnTo>
                  <a:lnTo>
                    <a:pt x="62" y="43"/>
                  </a:lnTo>
                  <a:lnTo>
                    <a:pt x="61" y="33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8" y="22"/>
                  </a:lnTo>
                  <a:lnTo>
                    <a:pt x="42" y="23"/>
                  </a:lnTo>
                  <a:lnTo>
                    <a:pt x="38" y="26"/>
                  </a:lnTo>
                  <a:lnTo>
                    <a:pt x="35" y="33"/>
                  </a:lnTo>
                  <a:lnTo>
                    <a:pt x="33" y="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8" name="Rectangle 52">
              <a:extLst>
                <a:ext uri="{FF2B5EF4-FFF2-40B4-BE49-F238E27FC236}">
                  <a16:creationId xmlns:a16="http://schemas.microsoft.com/office/drawing/2014/main" id="{9EBB6F33-C6E8-8117-A10F-1868C7198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0038" y="4221163"/>
              <a:ext cx="17463" cy="76200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9" name="Freeform 53">
              <a:extLst>
                <a:ext uri="{FF2B5EF4-FFF2-40B4-BE49-F238E27FC236}">
                  <a16:creationId xmlns:a16="http://schemas.microsoft.com/office/drawing/2014/main" id="{C974CA2C-91C6-05C9-CF0D-F48D6F80E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0200" y="4217988"/>
              <a:ext cx="50800" cy="80963"/>
            </a:xfrm>
            <a:custGeom>
              <a:avLst/>
              <a:gdLst>
                <a:gd name="T0" fmla="*/ 96 w 96"/>
                <a:gd name="T1" fmla="*/ 46 h 151"/>
                <a:gd name="T2" fmla="*/ 61 w 96"/>
                <a:gd name="T3" fmla="*/ 148 h 151"/>
                <a:gd name="T4" fmla="*/ 53 w 96"/>
                <a:gd name="T5" fmla="*/ 141 h 151"/>
                <a:gd name="T6" fmla="*/ 37 w 96"/>
                <a:gd name="T7" fmla="*/ 149 h 151"/>
                <a:gd name="T8" fmla="*/ 23 w 96"/>
                <a:gd name="T9" fmla="*/ 149 h 151"/>
                <a:gd name="T10" fmla="*/ 12 w 96"/>
                <a:gd name="T11" fmla="*/ 146 h 151"/>
                <a:gd name="T12" fmla="*/ 5 w 96"/>
                <a:gd name="T13" fmla="*/ 139 h 151"/>
                <a:gd name="T14" fmla="*/ 0 w 96"/>
                <a:gd name="T15" fmla="*/ 126 h 151"/>
                <a:gd name="T16" fmla="*/ 0 w 96"/>
                <a:gd name="T17" fmla="*/ 46 h 151"/>
                <a:gd name="T18" fmla="*/ 34 w 96"/>
                <a:gd name="T19" fmla="*/ 111 h 151"/>
                <a:gd name="T20" fmla="*/ 37 w 96"/>
                <a:gd name="T21" fmla="*/ 121 h 151"/>
                <a:gd name="T22" fmla="*/ 46 w 96"/>
                <a:gd name="T23" fmla="*/ 124 h 151"/>
                <a:gd name="T24" fmla="*/ 61 w 96"/>
                <a:gd name="T25" fmla="*/ 116 h 151"/>
                <a:gd name="T26" fmla="*/ 47 w 96"/>
                <a:gd name="T27" fmla="*/ 39 h 151"/>
                <a:gd name="T28" fmla="*/ 43 w 96"/>
                <a:gd name="T29" fmla="*/ 39 h 151"/>
                <a:gd name="T30" fmla="*/ 33 w 96"/>
                <a:gd name="T31" fmla="*/ 36 h 151"/>
                <a:gd name="T32" fmla="*/ 25 w 96"/>
                <a:gd name="T33" fmla="*/ 32 h 151"/>
                <a:gd name="T34" fmla="*/ 21 w 96"/>
                <a:gd name="T35" fmla="*/ 24 h 151"/>
                <a:gd name="T36" fmla="*/ 21 w 96"/>
                <a:gd name="T37" fmla="*/ 16 h 151"/>
                <a:gd name="T38" fmla="*/ 25 w 96"/>
                <a:gd name="T39" fmla="*/ 9 h 151"/>
                <a:gd name="T40" fmla="*/ 33 w 96"/>
                <a:gd name="T41" fmla="*/ 3 h 151"/>
                <a:gd name="T42" fmla="*/ 43 w 96"/>
                <a:gd name="T43" fmla="*/ 0 h 151"/>
                <a:gd name="T44" fmla="*/ 53 w 96"/>
                <a:gd name="T45" fmla="*/ 0 h 151"/>
                <a:gd name="T46" fmla="*/ 63 w 96"/>
                <a:gd name="T47" fmla="*/ 3 h 151"/>
                <a:gd name="T48" fmla="*/ 70 w 96"/>
                <a:gd name="T49" fmla="*/ 9 h 151"/>
                <a:gd name="T50" fmla="*/ 74 w 96"/>
                <a:gd name="T51" fmla="*/ 16 h 151"/>
                <a:gd name="T52" fmla="*/ 74 w 96"/>
                <a:gd name="T53" fmla="*/ 24 h 151"/>
                <a:gd name="T54" fmla="*/ 70 w 96"/>
                <a:gd name="T55" fmla="*/ 32 h 151"/>
                <a:gd name="T56" fmla="*/ 63 w 96"/>
                <a:gd name="T57" fmla="*/ 36 h 151"/>
                <a:gd name="T58" fmla="*/ 53 w 96"/>
                <a:gd name="T59" fmla="*/ 39 h 151"/>
                <a:gd name="T60" fmla="*/ 47 w 96"/>
                <a:gd name="T61" fmla="*/ 13 h 151"/>
                <a:gd name="T62" fmla="*/ 44 w 96"/>
                <a:gd name="T63" fmla="*/ 13 h 151"/>
                <a:gd name="T64" fmla="*/ 40 w 96"/>
                <a:gd name="T65" fmla="*/ 17 h 151"/>
                <a:gd name="T66" fmla="*/ 40 w 96"/>
                <a:gd name="T67" fmla="*/ 23 h 151"/>
                <a:gd name="T68" fmla="*/ 44 w 96"/>
                <a:gd name="T69" fmla="*/ 26 h 151"/>
                <a:gd name="T70" fmla="*/ 51 w 96"/>
                <a:gd name="T71" fmla="*/ 26 h 151"/>
                <a:gd name="T72" fmla="*/ 56 w 96"/>
                <a:gd name="T73" fmla="*/ 23 h 151"/>
                <a:gd name="T74" fmla="*/ 56 w 96"/>
                <a:gd name="T75" fmla="*/ 17 h 151"/>
                <a:gd name="T76" fmla="*/ 51 w 96"/>
                <a:gd name="T7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151">
                  <a:moveTo>
                    <a:pt x="61" y="46"/>
                  </a:moveTo>
                  <a:lnTo>
                    <a:pt x="96" y="46"/>
                  </a:lnTo>
                  <a:lnTo>
                    <a:pt x="96" y="148"/>
                  </a:lnTo>
                  <a:lnTo>
                    <a:pt x="61" y="148"/>
                  </a:lnTo>
                  <a:lnTo>
                    <a:pt x="61" y="134"/>
                  </a:lnTo>
                  <a:lnTo>
                    <a:pt x="53" y="141"/>
                  </a:lnTo>
                  <a:lnTo>
                    <a:pt x="46" y="146"/>
                  </a:lnTo>
                  <a:lnTo>
                    <a:pt x="37" y="149"/>
                  </a:lnTo>
                  <a:lnTo>
                    <a:pt x="27" y="151"/>
                  </a:lnTo>
                  <a:lnTo>
                    <a:pt x="23" y="149"/>
                  </a:lnTo>
                  <a:lnTo>
                    <a:pt x="17" y="149"/>
                  </a:lnTo>
                  <a:lnTo>
                    <a:pt x="12" y="146"/>
                  </a:lnTo>
                  <a:lnTo>
                    <a:pt x="8" y="144"/>
                  </a:lnTo>
                  <a:lnTo>
                    <a:pt x="5" y="139"/>
                  </a:lnTo>
                  <a:lnTo>
                    <a:pt x="2" y="134"/>
                  </a:lnTo>
                  <a:lnTo>
                    <a:pt x="0" y="126"/>
                  </a:lnTo>
                  <a:lnTo>
                    <a:pt x="0" y="116"/>
                  </a:lnTo>
                  <a:lnTo>
                    <a:pt x="0" y="46"/>
                  </a:lnTo>
                  <a:lnTo>
                    <a:pt x="34" y="46"/>
                  </a:lnTo>
                  <a:lnTo>
                    <a:pt x="34" y="111"/>
                  </a:lnTo>
                  <a:lnTo>
                    <a:pt x="36" y="116"/>
                  </a:lnTo>
                  <a:lnTo>
                    <a:pt x="37" y="121"/>
                  </a:lnTo>
                  <a:lnTo>
                    <a:pt x="41" y="122"/>
                  </a:lnTo>
                  <a:lnTo>
                    <a:pt x="46" y="124"/>
                  </a:lnTo>
                  <a:lnTo>
                    <a:pt x="54" y="122"/>
                  </a:lnTo>
                  <a:lnTo>
                    <a:pt x="61" y="116"/>
                  </a:lnTo>
                  <a:lnTo>
                    <a:pt x="61" y="46"/>
                  </a:lnTo>
                  <a:close/>
                  <a:moveTo>
                    <a:pt x="47" y="39"/>
                  </a:moveTo>
                  <a:lnTo>
                    <a:pt x="47" y="39"/>
                  </a:lnTo>
                  <a:lnTo>
                    <a:pt x="43" y="39"/>
                  </a:lnTo>
                  <a:lnTo>
                    <a:pt x="37" y="37"/>
                  </a:lnTo>
                  <a:lnTo>
                    <a:pt x="33" y="36"/>
                  </a:lnTo>
                  <a:lnTo>
                    <a:pt x="28" y="34"/>
                  </a:lnTo>
                  <a:lnTo>
                    <a:pt x="25" y="32"/>
                  </a:lnTo>
                  <a:lnTo>
                    <a:pt x="23" y="27"/>
                  </a:lnTo>
                  <a:lnTo>
                    <a:pt x="21" y="24"/>
                  </a:lnTo>
                  <a:lnTo>
                    <a:pt x="21" y="20"/>
                  </a:lnTo>
                  <a:lnTo>
                    <a:pt x="21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3" y="3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3" y="0"/>
                  </a:lnTo>
                  <a:lnTo>
                    <a:pt x="59" y="1"/>
                  </a:lnTo>
                  <a:lnTo>
                    <a:pt x="63" y="3"/>
                  </a:lnTo>
                  <a:lnTo>
                    <a:pt x="67" y="6"/>
                  </a:lnTo>
                  <a:lnTo>
                    <a:pt x="70" y="9"/>
                  </a:lnTo>
                  <a:lnTo>
                    <a:pt x="73" y="11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3" y="27"/>
                  </a:lnTo>
                  <a:lnTo>
                    <a:pt x="70" y="32"/>
                  </a:lnTo>
                  <a:lnTo>
                    <a:pt x="67" y="34"/>
                  </a:lnTo>
                  <a:lnTo>
                    <a:pt x="63" y="36"/>
                  </a:lnTo>
                  <a:lnTo>
                    <a:pt x="59" y="37"/>
                  </a:lnTo>
                  <a:lnTo>
                    <a:pt x="53" y="39"/>
                  </a:lnTo>
                  <a:lnTo>
                    <a:pt x="47" y="39"/>
                  </a:lnTo>
                  <a:close/>
                  <a:moveTo>
                    <a:pt x="47" y="13"/>
                  </a:moveTo>
                  <a:lnTo>
                    <a:pt x="47" y="13"/>
                  </a:lnTo>
                  <a:lnTo>
                    <a:pt x="44" y="13"/>
                  </a:lnTo>
                  <a:lnTo>
                    <a:pt x="41" y="14"/>
                  </a:lnTo>
                  <a:lnTo>
                    <a:pt x="40" y="17"/>
                  </a:lnTo>
                  <a:lnTo>
                    <a:pt x="40" y="20"/>
                  </a:lnTo>
                  <a:lnTo>
                    <a:pt x="40" y="23"/>
                  </a:lnTo>
                  <a:lnTo>
                    <a:pt x="41" y="24"/>
                  </a:lnTo>
                  <a:lnTo>
                    <a:pt x="44" y="26"/>
                  </a:lnTo>
                  <a:lnTo>
                    <a:pt x="47" y="26"/>
                  </a:lnTo>
                  <a:lnTo>
                    <a:pt x="51" y="26"/>
                  </a:lnTo>
                  <a:lnTo>
                    <a:pt x="53" y="24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6" y="17"/>
                  </a:lnTo>
                  <a:lnTo>
                    <a:pt x="53" y="14"/>
                  </a:lnTo>
                  <a:lnTo>
                    <a:pt x="51" y="13"/>
                  </a:lnTo>
                  <a:lnTo>
                    <a:pt x="47" y="1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0" name="Freeform 54">
              <a:extLst>
                <a:ext uri="{FF2B5EF4-FFF2-40B4-BE49-F238E27FC236}">
                  <a16:creationId xmlns:a16="http://schemas.microsoft.com/office/drawing/2014/main" id="{8CDB7E16-8AD9-1369-F505-4EA05551F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4011613"/>
              <a:ext cx="292100" cy="292100"/>
            </a:xfrm>
            <a:custGeom>
              <a:avLst/>
              <a:gdLst>
                <a:gd name="T0" fmla="*/ 0 w 552"/>
                <a:gd name="T1" fmla="*/ 260 h 553"/>
                <a:gd name="T2" fmla="*/ 6 w 552"/>
                <a:gd name="T3" fmla="*/ 214 h 553"/>
                <a:gd name="T4" fmla="*/ 17 w 552"/>
                <a:gd name="T5" fmla="*/ 171 h 553"/>
                <a:gd name="T6" fmla="*/ 35 w 552"/>
                <a:gd name="T7" fmla="*/ 134 h 553"/>
                <a:gd name="T8" fmla="*/ 65 w 552"/>
                <a:gd name="T9" fmla="*/ 90 h 553"/>
                <a:gd name="T10" fmla="*/ 125 w 552"/>
                <a:gd name="T11" fmla="*/ 40 h 553"/>
                <a:gd name="T12" fmla="*/ 200 w 552"/>
                <a:gd name="T13" fmla="*/ 10 h 553"/>
                <a:gd name="T14" fmla="*/ 285 w 552"/>
                <a:gd name="T15" fmla="*/ 0 h 553"/>
                <a:gd name="T16" fmla="*/ 357 w 552"/>
                <a:gd name="T17" fmla="*/ 7 h 553"/>
                <a:gd name="T18" fmla="*/ 423 w 552"/>
                <a:gd name="T19" fmla="*/ 27 h 553"/>
                <a:gd name="T20" fmla="*/ 480 w 552"/>
                <a:gd name="T21" fmla="*/ 63 h 553"/>
                <a:gd name="T22" fmla="*/ 521 w 552"/>
                <a:gd name="T23" fmla="*/ 118 h 553"/>
                <a:gd name="T24" fmla="*/ 546 w 552"/>
                <a:gd name="T25" fmla="*/ 191 h 553"/>
                <a:gd name="T26" fmla="*/ 360 w 552"/>
                <a:gd name="T27" fmla="*/ 207 h 553"/>
                <a:gd name="T28" fmla="*/ 341 w 552"/>
                <a:gd name="T29" fmla="*/ 171 h 553"/>
                <a:gd name="T30" fmla="*/ 327 w 552"/>
                <a:gd name="T31" fmla="*/ 159 h 553"/>
                <a:gd name="T32" fmla="*/ 289 w 552"/>
                <a:gd name="T33" fmla="*/ 152 h 553"/>
                <a:gd name="T34" fmla="*/ 259 w 552"/>
                <a:gd name="T35" fmla="*/ 157 h 553"/>
                <a:gd name="T36" fmla="*/ 236 w 552"/>
                <a:gd name="T37" fmla="*/ 169 h 553"/>
                <a:gd name="T38" fmla="*/ 219 w 552"/>
                <a:gd name="T39" fmla="*/ 190 h 553"/>
                <a:gd name="T40" fmla="*/ 207 w 552"/>
                <a:gd name="T41" fmla="*/ 220 h 553"/>
                <a:gd name="T42" fmla="*/ 202 w 552"/>
                <a:gd name="T43" fmla="*/ 258 h 553"/>
                <a:gd name="T44" fmla="*/ 202 w 552"/>
                <a:gd name="T45" fmla="*/ 296 h 553"/>
                <a:gd name="T46" fmla="*/ 206 w 552"/>
                <a:gd name="T47" fmla="*/ 336 h 553"/>
                <a:gd name="T48" fmla="*/ 217 w 552"/>
                <a:gd name="T49" fmla="*/ 368 h 553"/>
                <a:gd name="T50" fmla="*/ 236 w 552"/>
                <a:gd name="T51" fmla="*/ 391 h 553"/>
                <a:gd name="T52" fmla="*/ 261 w 552"/>
                <a:gd name="T53" fmla="*/ 405 h 553"/>
                <a:gd name="T54" fmla="*/ 292 w 552"/>
                <a:gd name="T55" fmla="*/ 409 h 553"/>
                <a:gd name="T56" fmla="*/ 330 w 552"/>
                <a:gd name="T57" fmla="*/ 401 h 553"/>
                <a:gd name="T58" fmla="*/ 348 w 552"/>
                <a:gd name="T59" fmla="*/ 389 h 553"/>
                <a:gd name="T60" fmla="*/ 361 w 552"/>
                <a:gd name="T61" fmla="*/ 370 h 553"/>
                <a:gd name="T62" fmla="*/ 373 w 552"/>
                <a:gd name="T63" fmla="*/ 330 h 553"/>
                <a:gd name="T64" fmla="*/ 546 w 552"/>
                <a:gd name="T65" fmla="*/ 378 h 553"/>
                <a:gd name="T66" fmla="*/ 521 w 552"/>
                <a:gd name="T67" fmla="*/ 441 h 553"/>
                <a:gd name="T68" fmla="*/ 480 w 552"/>
                <a:gd name="T69" fmla="*/ 491 h 553"/>
                <a:gd name="T70" fmla="*/ 420 w 552"/>
                <a:gd name="T71" fmla="*/ 528 h 553"/>
                <a:gd name="T72" fmla="*/ 341 w 552"/>
                <a:gd name="T73" fmla="*/ 549 h 553"/>
                <a:gd name="T74" fmla="*/ 251 w 552"/>
                <a:gd name="T75" fmla="*/ 551 h 553"/>
                <a:gd name="T76" fmla="*/ 170 w 552"/>
                <a:gd name="T77" fmla="*/ 536 h 553"/>
                <a:gd name="T78" fmla="*/ 101 w 552"/>
                <a:gd name="T79" fmla="*/ 501 h 553"/>
                <a:gd name="T80" fmla="*/ 48 w 552"/>
                <a:gd name="T81" fmla="*/ 448 h 553"/>
                <a:gd name="T82" fmla="*/ 27 w 552"/>
                <a:gd name="T83" fmla="*/ 414 h 553"/>
                <a:gd name="T84" fmla="*/ 13 w 552"/>
                <a:gd name="T85" fmla="*/ 376 h 553"/>
                <a:gd name="T86" fmla="*/ 3 w 552"/>
                <a:gd name="T87" fmla="*/ 332 h 553"/>
                <a:gd name="T88" fmla="*/ 0 w 552"/>
                <a:gd name="T89" fmla="*/ 28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2" h="553">
                  <a:moveTo>
                    <a:pt x="0" y="284"/>
                  </a:moveTo>
                  <a:lnTo>
                    <a:pt x="0" y="277"/>
                  </a:lnTo>
                  <a:lnTo>
                    <a:pt x="0" y="260"/>
                  </a:lnTo>
                  <a:lnTo>
                    <a:pt x="1" y="244"/>
                  </a:lnTo>
                  <a:lnTo>
                    <a:pt x="3" y="228"/>
                  </a:lnTo>
                  <a:lnTo>
                    <a:pt x="6" y="214"/>
                  </a:lnTo>
                  <a:lnTo>
                    <a:pt x="9" y="198"/>
                  </a:lnTo>
                  <a:lnTo>
                    <a:pt x="13" y="185"/>
                  </a:lnTo>
                  <a:lnTo>
                    <a:pt x="17" y="171"/>
                  </a:lnTo>
                  <a:lnTo>
                    <a:pt x="22" y="158"/>
                  </a:lnTo>
                  <a:lnTo>
                    <a:pt x="27" y="145"/>
                  </a:lnTo>
                  <a:lnTo>
                    <a:pt x="35" y="134"/>
                  </a:lnTo>
                  <a:lnTo>
                    <a:pt x="40" y="122"/>
                  </a:lnTo>
                  <a:lnTo>
                    <a:pt x="49" y="111"/>
                  </a:lnTo>
                  <a:lnTo>
                    <a:pt x="65" y="90"/>
                  </a:lnTo>
                  <a:lnTo>
                    <a:pt x="84" y="72"/>
                  </a:lnTo>
                  <a:lnTo>
                    <a:pt x="104" y="55"/>
                  </a:lnTo>
                  <a:lnTo>
                    <a:pt x="125" y="40"/>
                  </a:lnTo>
                  <a:lnTo>
                    <a:pt x="148" y="29"/>
                  </a:lnTo>
                  <a:lnTo>
                    <a:pt x="174" y="19"/>
                  </a:lnTo>
                  <a:lnTo>
                    <a:pt x="200" y="10"/>
                  </a:lnTo>
                  <a:lnTo>
                    <a:pt x="228" y="6"/>
                  </a:lnTo>
                  <a:lnTo>
                    <a:pt x="255" y="1"/>
                  </a:lnTo>
                  <a:lnTo>
                    <a:pt x="285" y="0"/>
                  </a:lnTo>
                  <a:lnTo>
                    <a:pt x="310" y="1"/>
                  </a:lnTo>
                  <a:lnTo>
                    <a:pt x="334" y="3"/>
                  </a:lnTo>
                  <a:lnTo>
                    <a:pt x="357" y="7"/>
                  </a:lnTo>
                  <a:lnTo>
                    <a:pt x="380" y="11"/>
                  </a:lnTo>
                  <a:lnTo>
                    <a:pt x="402" y="19"/>
                  </a:lnTo>
                  <a:lnTo>
                    <a:pt x="423" y="27"/>
                  </a:lnTo>
                  <a:lnTo>
                    <a:pt x="444" y="37"/>
                  </a:lnTo>
                  <a:lnTo>
                    <a:pt x="462" y="49"/>
                  </a:lnTo>
                  <a:lnTo>
                    <a:pt x="480" y="63"/>
                  </a:lnTo>
                  <a:lnTo>
                    <a:pt x="495" y="79"/>
                  </a:lnTo>
                  <a:lnTo>
                    <a:pt x="510" y="98"/>
                  </a:lnTo>
                  <a:lnTo>
                    <a:pt x="521" y="118"/>
                  </a:lnTo>
                  <a:lnTo>
                    <a:pt x="531" y="139"/>
                  </a:lnTo>
                  <a:lnTo>
                    <a:pt x="540" y="165"/>
                  </a:lnTo>
                  <a:lnTo>
                    <a:pt x="546" y="191"/>
                  </a:lnTo>
                  <a:lnTo>
                    <a:pt x="549" y="221"/>
                  </a:lnTo>
                  <a:lnTo>
                    <a:pt x="361" y="221"/>
                  </a:lnTo>
                  <a:lnTo>
                    <a:pt x="360" y="207"/>
                  </a:lnTo>
                  <a:lnTo>
                    <a:pt x="356" y="192"/>
                  </a:lnTo>
                  <a:lnTo>
                    <a:pt x="350" y="181"/>
                  </a:lnTo>
                  <a:lnTo>
                    <a:pt x="341" y="171"/>
                  </a:lnTo>
                  <a:lnTo>
                    <a:pt x="337" y="167"/>
                  </a:lnTo>
                  <a:lnTo>
                    <a:pt x="333" y="162"/>
                  </a:lnTo>
                  <a:lnTo>
                    <a:pt x="327" y="159"/>
                  </a:lnTo>
                  <a:lnTo>
                    <a:pt x="321" y="157"/>
                  </a:lnTo>
                  <a:lnTo>
                    <a:pt x="307" y="154"/>
                  </a:lnTo>
                  <a:lnTo>
                    <a:pt x="289" y="152"/>
                  </a:lnTo>
                  <a:lnTo>
                    <a:pt x="279" y="152"/>
                  </a:lnTo>
                  <a:lnTo>
                    <a:pt x="269" y="154"/>
                  </a:lnTo>
                  <a:lnTo>
                    <a:pt x="259" y="157"/>
                  </a:lnTo>
                  <a:lnTo>
                    <a:pt x="251" y="159"/>
                  </a:lnTo>
                  <a:lnTo>
                    <a:pt x="243" y="164"/>
                  </a:lnTo>
                  <a:lnTo>
                    <a:pt x="236" y="169"/>
                  </a:lnTo>
                  <a:lnTo>
                    <a:pt x="229" y="175"/>
                  </a:lnTo>
                  <a:lnTo>
                    <a:pt x="223" y="182"/>
                  </a:lnTo>
                  <a:lnTo>
                    <a:pt x="219" y="190"/>
                  </a:lnTo>
                  <a:lnTo>
                    <a:pt x="213" y="200"/>
                  </a:lnTo>
                  <a:lnTo>
                    <a:pt x="210" y="210"/>
                  </a:lnTo>
                  <a:lnTo>
                    <a:pt x="207" y="220"/>
                  </a:lnTo>
                  <a:lnTo>
                    <a:pt x="204" y="231"/>
                  </a:lnTo>
                  <a:lnTo>
                    <a:pt x="203" y="244"/>
                  </a:lnTo>
                  <a:lnTo>
                    <a:pt x="202" y="258"/>
                  </a:lnTo>
                  <a:lnTo>
                    <a:pt x="202" y="273"/>
                  </a:lnTo>
                  <a:lnTo>
                    <a:pt x="202" y="280"/>
                  </a:lnTo>
                  <a:lnTo>
                    <a:pt x="202" y="296"/>
                  </a:lnTo>
                  <a:lnTo>
                    <a:pt x="203" y="310"/>
                  </a:lnTo>
                  <a:lnTo>
                    <a:pt x="204" y="325"/>
                  </a:lnTo>
                  <a:lnTo>
                    <a:pt x="206" y="336"/>
                  </a:lnTo>
                  <a:lnTo>
                    <a:pt x="210" y="347"/>
                  </a:lnTo>
                  <a:lnTo>
                    <a:pt x="213" y="359"/>
                  </a:lnTo>
                  <a:lnTo>
                    <a:pt x="217" y="368"/>
                  </a:lnTo>
                  <a:lnTo>
                    <a:pt x="223" y="376"/>
                  </a:lnTo>
                  <a:lnTo>
                    <a:pt x="229" y="385"/>
                  </a:lnTo>
                  <a:lnTo>
                    <a:pt x="236" y="391"/>
                  </a:lnTo>
                  <a:lnTo>
                    <a:pt x="243" y="396"/>
                  </a:lnTo>
                  <a:lnTo>
                    <a:pt x="252" y="401"/>
                  </a:lnTo>
                  <a:lnTo>
                    <a:pt x="261" y="405"/>
                  </a:lnTo>
                  <a:lnTo>
                    <a:pt x="271" y="406"/>
                  </a:lnTo>
                  <a:lnTo>
                    <a:pt x="281" y="408"/>
                  </a:lnTo>
                  <a:lnTo>
                    <a:pt x="292" y="409"/>
                  </a:lnTo>
                  <a:lnTo>
                    <a:pt x="310" y="408"/>
                  </a:lnTo>
                  <a:lnTo>
                    <a:pt x="324" y="403"/>
                  </a:lnTo>
                  <a:lnTo>
                    <a:pt x="330" y="401"/>
                  </a:lnTo>
                  <a:lnTo>
                    <a:pt x="337" y="398"/>
                  </a:lnTo>
                  <a:lnTo>
                    <a:pt x="343" y="393"/>
                  </a:lnTo>
                  <a:lnTo>
                    <a:pt x="348" y="389"/>
                  </a:lnTo>
                  <a:lnTo>
                    <a:pt x="353" y="383"/>
                  </a:lnTo>
                  <a:lnTo>
                    <a:pt x="357" y="378"/>
                  </a:lnTo>
                  <a:lnTo>
                    <a:pt x="361" y="370"/>
                  </a:lnTo>
                  <a:lnTo>
                    <a:pt x="364" y="363"/>
                  </a:lnTo>
                  <a:lnTo>
                    <a:pt x="370" y="347"/>
                  </a:lnTo>
                  <a:lnTo>
                    <a:pt x="373" y="330"/>
                  </a:lnTo>
                  <a:lnTo>
                    <a:pt x="552" y="330"/>
                  </a:lnTo>
                  <a:lnTo>
                    <a:pt x="549" y="355"/>
                  </a:lnTo>
                  <a:lnTo>
                    <a:pt x="546" y="378"/>
                  </a:lnTo>
                  <a:lnTo>
                    <a:pt x="540" y="401"/>
                  </a:lnTo>
                  <a:lnTo>
                    <a:pt x="531" y="422"/>
                  </a:lnTo>
                  <a:lnTo>
                    <a:pt x="521" y="441"/>
                  </a:lnTo>
                  <a:lnTo>
                    <a:pt x="510" y="459"/>
                  </a:lnTo>
                  <a:lnTo>
                    <a:pt x="495" y="477"/>
                  </a:lnTo>
                  <a:lnTo>
                    <a:pt x="480" y="491"/>
                  </a:lnTo>
                  <a:lnTo>
                    <a:pt x="462" y="505"/>
                  </a:lnTo>
                  <a:lnTo>
                    <a:pt x="442" y="517"/>
                  </a:lnTo>
                  <a:lnTo>
                    <a:pt x="420" y="528"/>
                  </a:lnTo>
                  <a:lnTo>
                    <a:pt x="396" y="537"/>
                  </a:lnTo>
                  <a:lnTo>
                    <a:pt x="370" y="543"/>
                  </a:lnTo>
                  <a:lnTo>
                    <a:pt x="341" y="549"/>
                  </a:lnTo>
                  <a:lnTo>
                    <a:pt x="312" y="551"/>
                  </a:lnTo>
                  <a:lnTo>
                    <a:pt x="279" y="553"/>
                  </a:lnTo>
                  <a:lnTo>
                    <a:pt x="251" y="551"/>
                  </a:lnTo>
                  <a:lnTo>
                    <a:pt x="222" y="549"/>
                  </a:lnTo>
                  <a:lnTo>
                    <a:pt x="196" y="543"/>
                  </a:lnTo>
                  <a:lnTo>
                    <a:pt x="170" y="536"/>
                  </a:lnTo>
                  <a:lnTo>
                    <a:pt x="145" y="526"/>
                  </a:lnTo>
                  <a:lnTo>
                    <a:pt x="122" y="514"/>
                  </a:lnTo>
                  <a:lnTo>
                    <a:pt x="101" y="501"/>
                  </a:lnTo>
                  <a:lnTo>
                    <a:pt x="81" y="485"/>
                  </a:lnTo>
                  <a:lnTo>
                    <a:pt x="63" y="468"/>
                  </a:lnTo>
                  <a:lnTo>
                    <a:pt x="48" y="448"/>
                  </a:lnTo>
                  <a:lnTo>
                    <a:pt x="40" y="437"/>
                  </a:lnTo>
                  <a:lnTo>
                    <a:pt x="33" y="425"/>
                  </a:lnTo>
                  <a:lnTo>
                    <a:pt x="27" y="414"/>
                  </a:lnTo>
                  <a:lnTo>
                    <a:pt x="22" y="402"/>
                  </a:lnTo>
                  <a:lnTo>
                    <a:pt x="17" y="389"/>
                  </a:lnTo>
                  <a:lnTo>
                    <a:pt x="13" y="376"/>
                  </a:lnTo>
                  <a:lnTo>
                    <a:pt x="9" y="362"/>
                  </a:lnTo>
                  <a:lnTo>
                    <a:pt x="6" y="347"/>
                  </a:lnTo>
                  <a:lnTo>
                    <a:pt x="3" y="332"/>
                  </a:lnTo>
                  <a:lnTo>
                    <a:pt x="1" y="317"/>
                  </a:lnTo>
                  <a:lnTo>
                    <a:pt x="0" y="302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1" name="Freeform 55">
              <a:extLst>
                <a:ext uri="{FF2B5EF4-FFF2-40B4-BE49-F238E27FC236}">
                  <a16:creationId xmlns:a16="http://schemas.microsoft.com/office/drawing/2014/main" id="{D36C0BC8-E1B4-A312-F155-C25BA823D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913" y="3894138"/>
              <a:ext cx="287338" cy="403225"/>
            </a:xfrm>
            <a:custGeom>
              <a:avLst/>
              <a:gdLst>
                <a:gd name="T0" fmla="*/ 197 w 541"/>
                <a:gd name="T1" fmla="*/ 0 h 761"/>
                <a:gd name="T2" fmla="*/ 197 w 541"/>
                <a:gd name="T3" fmla="*/ 435 h 761"/>
                <a:gd name="T4" fmla="*/ 325 w 541"/>
                <a:gd name="T5" fmla="*/ 235 h 761"/>
                <a:gd name="T6" fmla="*/ 528 w 541"/>
                <a:gd name="T7" fmla="*/ 235 h 761"/>
                <a:gd name="T8" fmla="*/ 367 w 541"/>
                <a:gd name="T9" fmla="*/ 471 h 761"/>
                <a:gd name="T10" fmla="*/ 541 w 541"/>
                <a:gd name="T11" fmla="*/ 761 h 761"/>
                <a:gd name="T12" fmla="*/ 322 w 541"/>
                <a:gd name="T13" fmla="*/ 761 h 761"/>
                <a:gd name="T14" fmla="*/ 197 w 541"/>
                <a:gd name="T15" fmla="*/ 541 h 761"/>
                <a:gd name="T16" fmla="*/ 197 w 541"/>
                <a:gd name="T17" fmla="*/ 761 h 761"/>
                <a:gd name="T18" fmla="*/ 0 w 541"/>
                <a:gd name="T19" fmla="*/ 761 h 761"/>
                <a:gd name="T20" fmla="*/ 0 w 541"/>
                <a:gd name="T21" fmla="*/ 0 h 761"/>
                <a:gd name="T22" fmla="*/ 197 w 541"/>
                <a:gd name="T2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1" h="761">
                  <a:moveTo>
                    <a:pt x="197" y="0"/>
                  </a:moveTo>
                  <a:lnTo>
                    <a:pt x="197" y="435"/>
                  </a:lnTo>
                  <a:lnTo>
                    <a:pt x="325" y="235"/>
                  </a:lnTo>
                  <a:lnTo>
                    <a:pt x="528" y="235"/>
                  </a:lnTo>
                  <a:lnTo>
                    <a:pt x="367" y="471"/>
                  </a:lnTo>
                  <a:lnTo>
                    <a:pt x="541" y="761"/>
                  </a:lnTo>
                  <a:lnTo>
                    <a:pt x="322" y="761"/>
                  </a:lnTo>
                  <a:lnTo>
                    <a:pt x="197" y="541"/>
                  </a:lnTo>
                  <a:lnTo>
                    <a:pt x="197" y="761"/>
                  </a:lnTo>
                  <a:lnTo>
                    <a:pt x="0" y="761"/>
                  </a:lnTo>
                  <a:lnTo>
                    <a:pt x="0" y="0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2" name="Freeform 56">
              <a:extLst>
                <a:ext uri="{FF2B5EF4-FFF2-40B4-BE49-F238E27FC236}">
                  <a16:creationId xmlns:a16="http://schemas.microsoft.com/office/drawing/2014/main" id="{2BAE5DA5-17E6-4859-8A5C-3CCCA0217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02950" y="4011613"/>
              <a:ext cx="307975" cy="377825"/>
            </a:xfrm>
            <a:custGeom>
              <a:avLst/>
              <a:gdLst>
                <a:gd name="T0" fmla="*/ 199 w 580"/>
                <a:gd name="T1" fmla="*/ 90 h 714"/>
                <a:gd name="T2" fmla="*/ 233 w 580"/>
                <a:gd name="T3" fmla="*/ 49 h 714"/>
                <a:gd name="T4" fmla="*/ 261 w 580"/>
                <a:gd name="T5" fmla="*/ 27 h 714"/>
                <a:gd name="T6" fmla="*/ 294 w 580"/>
                <a:gd name="T7" fmla="*/ 11 h 714"/>
                <a:gd name="T8" fmla="*/ 331 w 580"/>
                <a:gd name="T9" fmla="*/ 3 h 714"/>
                <a:gd name="T10" fmla="*/ 382 w 580"/>
                <a:gd name="T11" fmla="*/ 1 h 714"/>
                <a:gd name="T12" fmla="*/ 445 w 580"/>
                <a:gd name="T13" fmla="*/ 17 h 714"/>
                <a:gd name="T14" fmla="*/ 500 w 580"/>
                <a:gd name="T15" fmla="*/ 52 h 714"/>
                <a:gd name="T16" fmla="*/ 541 w 580"/>
                <a:gd name="T17" fmla="*/ 106 h 714"/>
                <a:gd name="T18" fmla="*/ 570 w 580"/>
                <a:gd name="T19" fmla="*/ 179 h 714"/>
                <a:gd name="T20" fmla="*/ 580 w 580"/>
                <a:gd name="T21" fmla="*/ 273 h 714"/>
                <a:gd name="T22" fmla="*/ 576 w 580"/>
                <a:gd name="T23" fmla="*/ 346 h 714"/>
                <a:gd name="T24" fmla="*/ 553 w 580"/>
                <a:gd name="T25" fmla="*/ 425 h 714"/>
                <a:gd name="T26" fmla="*/ 514 w 580"/>
                <a:gd name="T27" fmla="*/ 485 h 714"/>
                <a:gd name="T28" fmla="*/ 464 w 580"/>
                <a:gd name="T29" fmla="*/ 527 h 714"/>
                <a:gd name="T30" fmla="*/ 403 w 580"/>
                <a:gd name="T31" fmla="*/ 549 h 714"/>
                <a:gd name="T32" fmla="*/ 344 w 580"/>
                <a:gd name="T33" fmla="*/ 551 h 714"/>
                <a:gd name="T34" fmla="*/ 305 w 580"/>
                <a:gd name="T35" fmla="*/ 546 h 714"/>
                <a:gd name="T36" fmla="*/ 271 w 580"/>
                <a:gd name="T37" fmla="*/ 533 h 714"/>
                <a:gd name="T38" fmla="*/ 240 w 580"/>
                <a:gd name="T39" fmla="*/ 514 h 714"/>
                <a:gd name="T40" fmla="*/ 216 w 580"/>
                <a:gd name="T41" fmla="*/ 491 h 714"/>
                <a:gd name="T42" fmla="*/ 199 w 580"/>
                <a:gd name="T43" fmla="*/ 464 h 714"/>
                <a:gd name="T44" fmla="*/ 0 w 580"/>
                <a:gd name="T45" fmla="*/ 14 h 714"/>
                <a:gd name="T46" fmla="*/ 379 w 580"/>
                <a:gd name="T47" fmla="*/ 271 h 714"/>
                <a:gd name="T48" fmla="*/ 376 w 580"/>
                <a:gd name="T49" fmla="*/ 228 h 714"/>
                <a:gd name="T50" fmla="*/ 364 w 580"/>
                <a:gd name="T51" fmla="*/ 195 h 714"/>
                <a:gd name="T52" fmla="*/ 348 w 580"/>
                <a:gd name="T53" fmla="*/ 171 h 714"/>
                <a:gd name="T54" fmla="*/ 325 w 580"/>
                <a:gd name="T55" fmla="*/ 155 h 714"/>
                <a:gd name="T56" fmla="*/ 297 w 580"/>
                <a:gd name="T57" fmla="*/ 148 h 714"/>
                <a:gd name="T58" fmla="*/ 265 w 580"/>
                <a:gd name="T59" fmla="*/ 149 h 714"/>
                <a:gd name="T60" fmla="*/ 238 w 580"/>
                <a:gd name="T61" fmla="*/ 159 h 714"/>
                <a:gd name="T62" fmla="*/ 217 w 580"/>
                <a:gd name="T63" fmla="*/ 179 h 714"/>
                <a:gd name="T64" fmla="*/ 203 w 580"/>
                <a:gd name="T65" fmla="*/ 207 h 714"/>
                <a:gd name="T66" fmla="*/ 196 w 580"/>
                <a:gd name="T67" fmla="*/ 243 h 714"/>
                <a:gd name="T68" fmla="*/ 194 w 580"/>
                <a:gd name="T69" fmla="*/ 280 h 714"/>
                <a:gd name="T70" fmla="*/ 197 w 580"/>
                <a:gd name="T71" fmla="*/ 320 h 714"/>
                <a:gd name="T72" fmla="*/ 207 w 580"/>
                <a:gd name="T73" fmla="*/ 353 h 714"/>
                <a:gd name="T74" fmla="*/ 223 w 580"/>
                <a:gd name="T75" fmla="*/ 378 h 714"/>
                <a:gd name="T76" fmla="*/ 246 w 580"/>
                <a:gd name="T77" fmla="*/ 393 h 714"/>
                <a:gd name="T78" fmla="*/ 275 w 580"/>
                <a:gd name="T79" fmla="*/ 402 h 714"/>
                <a:gd name="T80" fmla="*/ 307 w 580"/>
                <a:gd name="T81" fmla="*/ 399 h 714"/>
                <a:gd name="T82" fmla="*/ 334 w 580"/>
                <a:gd name="T83" fmla="*/ 389 h 714"/>
                <a:gd name="T84" fmla="*/ 354 w 580"/>
                <a:gd name="T85" fmla="*/ 370 h 714"/>
                <a:gd name="T86" fmla="*/ 370 w 580"/>
                <a:gd name="T87" fmla="*/ 343 h 714"/>
                <a:gd name="T88" fmla="*/ 377 w 580"/>
                <a:gd name="T89" fmla="*/ 307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0" h="714">
                  <a:moveTo>
                    <a:pt x="0" y="14"/>
                  </a:moveTo>
                  <a:lnTo>
                    <a:pt x="199" y="14"/>
                  </a:lnTo>
                  <a:lnTo>
                    <a:pt x="199" y="90"/>
                  </a:lnTo>
                  <a:lnTo>
                    <a:pt x="210" y="73"/>
                  </a:lnTo>
                  <a:lnTo>
                    <a:pt x="225" y="56"/>
                  </a:lnTo>
                  <a:lnTo>
                    <a:pt x="233" y="49"/>
                  </a:lnTo>
                  <a:lnTo>
                    <a:pt x="242" y="40"/>
                  </a:lnTo>
                  <a:lnTo>
                    <a:pt x="251" y="33"/>
                  </a:lnTo>
                  <a:lnTo>
                    <a:pt x="261" y="27"/>
                  </a:lnTo>
                  <a:lnTo>
                    <a:pt x="271" y="22"/>
                  </a:lnTo>
                  <a:lnTo>
                    <a:pt x="282" y="16"/>
                  </a:lnTo>
                  <a:lnTo>
                    <a:pt x="294" y="11"/>
                  </a:lnTo>
                  <a:lnTo>
                    <a:pt x="305" y="7"/>
                  </a:lnTo>
                  <a:lnTo>
                    <a:pt x="318" y="4"/>
                  </a:lnTo>
                  <a:lnTo>
                    <a:pt x="331" y="3"/>
                  </a:lnTo>
                  <a:lnTo>
                    <a:pt x="346" y="1"/>
                  </a:lnTo>
                  <a:lnTo>
                    <a:pt x="360" y="0"/>
                  </a:lnTo>
                  <a:lnTo>
                    <a:pt x="382" y="1"/>
                  </a:lnTo>
                  <a:lnTo>
                    <a:pt x="403" y="4"/>
                  </a:lnTo>
                  <a:lnTo>
                    <a:pt x="425" y="10"/>
                  </a:lnTo>
                  <a:lnTo>
                    <a:pt x="445" y="17"/>
                  </a:lnTo>
                  <a:lnTo>
                    <a:pt x="464" y="27"/>
                  </a:lnTo>
                  <a:lnTo>
                    <a:pt x="482" y="39"/>
                  </a:lnTo>
                  <a:lnTo>
                    <a:pt x="500" y="52"/>
                  </a:lnTo>
                  <a:lnTo>
                    <a:pt x="515" y="67"/>
                  </a:lnTo>
                  <a:lnTo>
                    <a:pt x="528" y="86"/>
                  </a:lnTo>
                  <a:lnTo>
                    <a:pt x="541" y="106"/>
                  </a:lnTo>
                  <a:lnTo>
                    <a:pt x="553" y="129"/>
                  </a:lnTo>
                  <a:lnTo>
                    <a:pt x="563" y="154"/>
                  </a:lnTo>
                  <a:lnTo>
                    <a:pt x="570" y="179"/>
                  </a:lnTo>
                  <a:lnTo>
                    <a:pt x="576" y="210"/>
                  </a:lnTo>
                  <a:lnTo>
                    <a:pt x="579" y="240"/>
                  </a:lnTo>
                  <a:lnTo>
                    <a:pt x="580" y="273"/>
                  </a:lnTo>
                  <a:lnTo>
                    <a:pt x="580" y="281"/>
                  </a:lnTo>
                  <a:lnTo>
                    <a:pt x="579" y="314"/>
                  </a:lnTo>
                  <a:lnTo>
                    <a:pt x="576" y="346"/>
                  </a:lnTo>
                  <a:lnTo>
                    <a:pt x="570" y="375"/>
                  </a:lnTo>
                  <a:lnTo>
                    <a:pt x="563" y="401"/>
                  </a:lnTo>
                  <a:lnTo>
                    <a:pt x="553" y="425"/>
                  </a:lnTo>
                  <a:lnTo>
                    <a:pt x="541" y="448"/>
                  </a:lnTo>
                  <a:lnTo>
                    <a:pt x="528" y="468"/>
                  </a:lnTo>
                  <a:lnTo>
                    <a:pt x="514" y="485"/>
                  </a:lnTo>
                  <a:lnTo>
                    <a:pt x="498" y="501"/>
                  </a:lnTo>
                  <a:lnTo>
                    <a:pt x="481" y="516"/>
                  </a:lnTo>
                  <a:lnTo>
                    <a:pt x="464" y="527"/>
                  </a:lnTo>
                  <a:lnTo>
                    <a:pt x="443" y="536"/>
                  </a:lnTo>
                  <a:lnTo>
                    <a:pt x="423" y="543"/>
                  </a:lnTo>
                  <a:lnTo>
                    <a:pt x="403" y="549"/>
                  </a:lnTo>
                  <a:lnTo>
                    <a:pt x="382" y="551"/>
                  </a:lnTo>
                  <a:lnTo>
                    <a:pt x="359" y="553"/>
                  </a:lnTo>
                  <a:lnTo>
                    <a:pt x="344" y="551"/>
                  </a:lnTo>
                  <a:lnTo>
                    <a:pt x="331" y="550"/>
                  </a:lnTo>
                  <a:lnTo>
                    <a:pt x="317" y="549"/>
                  </a:lnTo>
                  <a:lnTo>
                    <a:pt x="305" y="546"/>
                  </a:lnTo>
                  <a:lnTo>
                    <a:pt x="292" y="543"/>
                  </a:lnTo>
                  <a:lnTo>
                    <a:pt x="281" y="538"/>
                  </a:lnTo>
                  <a:lnTo>
                    <a:pt x="271" y="533"/>
                  </a:lnTo>
                  <a:lnTo>
                    <a:pt x="259" y="527"/>
                  </a:lnTo>
                  <a:lnTo>
                    <a:pt x="249" y="521"/>
                  </a:lnTo>
                  <a:lnTo>
                    <a:pt x="240" y="514"/>
                  </a:lnTo>
                  <a:lnTo>
                    <a:pt x="232" y="507"/>
                  </a:lnTo>
                  <a:lnTo>
                    <a:pt x="225" y="500"/>
                  </a:lnTo>
                  <a:lnTo>
                    <a:pt x="216" y="491"/>
                  </a:lnTo>
                  <a:lnTo>
                    <a:pt x="210" y="482"/>
                  </a:lnTo>
                  <a:lnTo>
                    <a:pt x="204" y="474"/>
                  </a:lnTo>
                  <a:lnTo>
                    <a:pt x="199" y="464"/>
                  </a:lnTo>
                  <a:lnTo>
                    <a:pt x="199" y="714"/>
                  </a:lnTo>
                  <a:lnTo>
                    <a:pt x="0" y="714"/>
                  </a:lnTo>
                  <a:lnTo>
                    <a:pt x="0" y="14"/>
                  </a:lnTo>
                  <a:close/>
                  <a:moveTo>
                    <a:pt x="379" y="280"/>
                  </a:moveTo>
                  <a:lnTo>
                    <a:pt x="379" y="280"/>
                  </a:lnTo>
                  <a:lnTo>
                    <a:pt x="379" y="271"/>
                  </a:lnTo>
                  <a:lnTo>
                    <a:pt x="379" y="256"/>
                  </a:lnTo>
                  <a:lnTo>
                    <a:pt x="377" y="241"/>
                  </a:lnTo>
                  <a:lnTo>
                    <a:pt x="376" y="228"/>
                  </a:lnTo>
                  <a:lnTo>
                    <a:pt x="373" y="217"/>
                  </a:lnTo>
                  <a:lnTo>
                    <a:pt x="369" y="205"/>
                  </a:lnTo>
                  <a:lnTo>
                    <a:pt x="364" y="195"/>
                  </a:lnTo>
                  <a:lnTo>
                    <a:pt x="360" y="185"/>
                  </a:lnTo>
                  <a:lnTo>
                    <a:pt x="354" y="178"/>
                  </a:lnTo>
                  <a:lnTo>
                    <a:pt x="348" y="171"/>
                  </a:lnTo>
                  <a:lnTo>
                    <a:pt x="341" y="164"/>
                  </a:lnTo>
                  <a:lnTo>
                    <a:pt x="333" y="159"/>
                  </a:lnTo>
                  <a:lnTo>
                    <a:pt x="325" y="155"/>
                  </a:lnTo>
                  <a:lnTo>
                    <a:pt x="315" y="151"/>
                  </a:lnTo>
                  <a:lnTo>
                    <a:pt x="307" y="149"/>
                  </a:lnTo>
                  <a:lnTo>
                    <a:pt x="297" y="148"/>
                  </a:lnTo>
                  <a:lnTo>
                    <a:pt x="285" y="146"/>
                  </a:lnTo>
                  <a:lnTo>
                    <a:pt x="275" y="148"/>
                  </a:lnTo>
                  <a:lnTo>
                    <a:pt x="265" y="149"/>
                  </a:lnTo>
                  <a:lnTo>
                    <a:pt x="255" y="152"/>
                  </a:lnTo>
                  <a:lnTo>
                    <a:pt x="246" y="155"/>
                  </a:lnTo>
                  <a:lnTo>
                    <a:pt x="238" y="159"/>
                  </a:lnTo>
                  <a:lnTo>
                    <a:pt x="230" y="165"/>
                  </a:lnTo>
                  <a:lnTo>
                    <a:pt x="223" y="172"/>
                  </a:lnTo>
                  <a:lnTo>
                    <a:pt x="217" y="179"/>
                  </a:lnTo>
                  <a:lnTo>
                    <a:pt x="212" y="188"/>
                  </a:lnTo>
                  <a:lnTo>
                    <a:pt x="207" y="197"/>
                  </a:lnTo>
                  <a:lnTo>
                    <a:pt x="203" y="207"/>
                  </a:lnTo>
                  <a:lnTo>
                    <a:pt x="200" y="218"/>
                  </a:lnTo>
                  <a:lnTo>
                    <a:pt x="197" y="230"/>
                  </a:lnTo>
                  <a:lnTo>
                    <a:pt x="196" y="243"/>
                  </a:lnTo>
                  <a:lnTo>
                    <a:pt x="194" y="257"/>
                  </a:lnTo>
                  <a:lnTo>
                    <a:pt x="194" y="271"/>
                  </a:lnTo>
                  <a:lnTo>
                    <a:pt x="194" y="280"/>
                  </a:lnTo>
                  <a:lnTo>
                    <a:pt x="194" y="294"/>
                  </a:lnTo>
                  <a:lnTo>
                    <a:pt x="196" y="309"/>
                  </a:lnTo>
                  <a:lnTo>
                    <a:pt x="197" y="320"/>
                  </a:lnTo>
                  <a:lnTo>
                    <a:pt x="200" y="333"/>
                  </a:lnTo>
                  <a:lnTo>
                    <a:pt x="203" y="343"/>
                  </a:lnTo>
                  <a:lnTo>
                    <a:pt x="207" y="353"/>
                  </a:lnTo>
                  <a:lnTo>
                    <a:pt x="212" y="363"/>
                  </a:lnTo>
                  <a:lnTo>
                    <a:pt x="217" y="370"/>
                  </a:lnTo>
                  <a:lnTo>
                    <a:pt x="223" y="378"/>
                  </a:lnTo>
                  <a:lnTo>
                    <a:pt x="230" y="385"/>
                  </a:lnTo>
                  <a:lnTo>
                    <a:pt x="238" y="389"/>
                  </a:lnTo>
                  <a:lnTo>
                    <a:pt x="246" y="393"/>
                  </a:lnTo>
                  <a:lnTo>
                    <a:pt x="255" y="398"/>
                  </a:lnTo>
                  <a:lnTo>
                    <a:pt x="265" y="401"/>
                  </a:lnTo>
                  <a:lnTo>
                    <a:pt x="275" y="402"/>
                  </a:lnTo>
                  <a:lnTo>
                    <a:pt x="287" y="402"/>
                  </a:lnTo>
                  <a:lnTo>
                    <a:pt x="297" y="402"/>
                  </a:lnTo>
                  <a:lnTo>
                    <a:pt x="307" y="399"/>
                  </a:lnTo>
                  <a:lnTo>
                    <a:pt x="317" y="398"/>
                  </a:lnTo>
                  <a:lnTo>
                    <a:pt x="325" y="393"/>
                  </a:lnTo>
                  <a:lnTo>
                    <a:pt x="334" y="389"/>
                  </a:lnTo>
                  <a:lnTo>
                    <a:pt x="341" y="385"/>
                  </a:lnTo>
                  <a:lnTo>
                    <a:pt x="348" y="378"/>
                  </a:lnTo>
                  <a:lnTo>
                    <a:pt x="354" y="370"/>
                  </a:lnTo>
                  <a:lnTo>
                    <a:pt x="360" y="362"/>
                  </a:lnTo>
                  <a:lnTo>
                    <a:pt x="366" y="353"/>
                  </a:lnTo>
                  <a:lnTo>
                    <a:pt x="370" y="343"/>
                  </a:lnTo>
                  <a:lnTo>
                    <a:pt x="373" y="333"/>
                  </a:lnTo>
                  <a:lnTo>
                    <a:pt x="376" y="320"/>
                  </a:lnTo>
                  <a:lnTo>
                    <a:pt x="377" y="307"/>
                  </a:lnTo>
                  <a:lnTo>
                    <a:pt x="379" y="294"/>
                  </a:lnTo>
                  <a:lnTo>
                    <a:pt x="379" y="28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3" name="Freeform 57">
              <a:extLst>
                <a:ext uri="{FF2B5EF4-FFF2-40B4-BE49-F238E27FC236}">
                  <a16:creationId xmlns:a16="http://schemas.microsoft.com/office/drawing/2014/main" id="{6FBDB2DD-9E51-2B7E-8B58-6B7AE3CDD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0663" y="3894138"/>
              <a:ext cx="114300" cy="57150"/>
            </a:xfrm>
            <a:custGeom>
              <a:avLst/>
              <a:gdLst>
                <a:gd name="T0" fmla="*/ 108 w 216"/>
                <a:gd name="T1" fmla="*/ 46 h 108"/>
                <a:gd name="T2" fmla="*/ 98 w 216"/>
                <a:gd name="T3" fmla="*/ 44 h 108"/>
                <a:gd name="T4" fmla="*/ 89 w 216"/>
                <a:gd name="T5" fmla="*/ 41 h 108"/>
                <a:gd name="T6" fmla="*/ 82 w 216"/>
                <a:gd name="T7" fmla="*/ 37 h 108"/>
                <a:gd name="T8" fmla="*/ 75 w 216"/>
                <a:gd name="T9" fmla="*/ 33 h 108"/>
                <a:gd name="T10" fmla="*/ 69 w 216"/>
                <a:gd name="T11" fmla="*/ 26 h 108"/>
                <a:gd name="T12" fmla="*/ 65 w 216"/>
                <a:gd name="T13" fmla="*/ 17 h 108"/>
                <a:gd name="T14" fmla="*/ 62 w 216"/>
                <a:gd name="T15" fmla="*/ 8 h 108"/>
                <a:gd name="T16" fmla="*/ 62 w 216"/>
                <a:gd name="T17" fmla="*/ 0 h 108"/>
                <a:gd name="T18" fmla="*/ 0 w 216"/>
                <a:gd name="T19" fmla="*/ 0 h 108"/>
                <a:gd name="T20" fmla="*/ 0 w 216"/>
                <a:gd name="T21" fmla="*/ 11 h 108"/>
                <a:gd name="T22" fmla="*/ 2 w 216"/>
                <a:gd name="T23" fmla="*/ 21 h 108"/>
                <a:gd name="T24" fmla="*/ 4 w 216"/>
                <a:gd name="T25" fmla="*/ 31 h 108"/>
                <a:gd name="T26" fmla="*/ 7 w 216"/>
                <a:gd name="T27" fmla="*/ 41 h 108"/>
                <a:gd name="T28" fmla="*/ 13 w 216"/>
                <a:gd name="T29" fmla="*/ 52 h 108"/>
                <a:gd name="T30" fmla="*/ 17 w 216"/>
                <a:gd name="T31" fmla="*/ 60 h 108"/>
                <a:gd name="T32" fmla="*/ 25 w 216"/>
                <a:gd name="T33" fmla="*/ 69 h 108"/>
                <a:gd name="T34" fmla="*/ 32 w 216"/>
                <a:gd name="T35" fmla="*/ 76 h 108"/>
                <a:gd name="T36" fmla="*/ 39 w 216"/>
                <a:gd name="T37" fmla="*/ 83 h 108"/>
                <a:gd name="T38" fmla="*/ 48 w 216"/>
                <a:gd name="T39" fmla="*/ 89 h 108"/>
                <a:gd name="T40" fmla="*/ 56 w 216"/>
                <a:gd name="T41" fmla="*/ 95 h 108"/>
                <a:gd name="T42" fmla="*/ 65 w 216"/>
                <a:gd name="T43" fmla="*/ 99 h 108"/>
                <a:gd name="T44" fmla="*/ 75 w 216"/>
                <a:gd name="T45" fmla="*/ 103 h 108"/>
                <a:gd name="T46" fmla="*/ 87 w 216"/>
                <a:gd name="T47" fmla="*/ 106 h 108"/>
                <a:gd name="T48" fmla="*/ 97 w 216"/>
                <a:gd name="T49" fmla="*/ 108 h 108"/>
                <a:gd name="T50" fmla="*/ 108 w 216"/>
                <a:gd name="T51" fmla="*/ 108 h 108"/>
                <a:gd name="T52" fmla="*/ 118 w 216"/>
                <a:gd name="T53" fmla="*/ 108 h 108"/>
                <a:gd name="T54" fmla="*/ 130 w 216"/>
                <a:gd name="T55" fmla="*/ 106 h 108"/>
                <a:gd name="T56" fmla="*/ 140 w 216"/>
                <a:gd name="T57" fmla="*/ 103 h 108"/>
                <a:gd name="T58" fmla="*/ 150 w 216"/>
                <a:gd name="T59" fmla="*/ 99 h 108"/>
                <a:gd name="T60" fmla="*/ 160 w 216"/>
                <a:gd name="T61" fmla="*/ 95 h 108"/>
                <a:gd name="T62" fmla="*/ 169 w 216"/>
                <a:gd name="T63" fmla="*/ 89 h 108"/>
                <a:gd name="T64" fmla="*/ 176 w 216"/>
                <a:gd name="T65" fmla="*/ 83 h 108"/>
                <a:gd name="T66" fmla="*/ 184 w 216"/>
                <a:gd name="T67" fmla="*/ 76 h 108"/>
                <a:gd name="T68" fmla="*/ 192 w 216"/>
                <a:gd name="T69" fmla="*/ 69 h 108"/>
                <a:gd name="T70" fmla="*/ 197 w 216"/>
                <a:gd name="T71" fmla="*/ 60 h 108"/>
                <a:gd name="T72" fmla="*/ 203 w 216"/>
                <a:gd name="T73" fmla="*/ 52 h 108"/>
                <a:gd name="T74" fmla="*/ 207 w 216"/>
                <a:gd name="T75" fmla="*/ 41 h 108"/>
                <a:gd name="T76" fmla="*/ 212 w 216"/>
                <a:gd name="T77" fmla="*/ 31 h 108"/>
                <a:gd name="T78" fmla="*/ 213 w 216"/>
                <a:gd name="T79" fmla="*/ 21 h 108"/>
                <a:gd name="T80" fmla="*/ 215 w 216"/>
                <a:gd name="T81" fmla="*/ 11 h 108"/>
                <a:gd name="T82" fmla="*/ 216 w 216"/>
                <a:gd name="T83" fmla="*/ 0 h 108"/>
                <a:gd name="T84" fmla="*/ 154 w 216"/>
                <a:gd name="T85" fmla="*/ 0 h 108"/>
                <a:gd name="T86" fmla="*/ 153 w 216"/>
                <a:gd name="T87" fmla="*/ 8 h 108"/>
                <a:gd name="T88" fmla="*/ 150 w 216"/>
                <a:gd name="T89" fmla="*/ 17 h 108"/>
                <a:gd name="T90" fmla="*/ 146 w 216"/>
                <a:gd name="T91" fmla="*/ 26 h 108"/>
                <a:gd name="T92" fmla="*/ 140 w 216"/>
                <a:gd name="T93" fmla="*/ 33 h 108"/>
                <a:gd name="T94" fmla="*/ 134 w 216"/>
                <a:gd name="T95" fmla="*/ 37 h 108"/>
                <a:gd name="T96" fmla="*/ 125 w 216"/>
                <a:gd name="T97" fmla="*/ 41 h 108"/>
                <a:gd name="T98" fmla="*/ 117 w 216"/>
                <a:gd name="T99" fmla="*/ 44 h 108"/>
                <a:gd name="T100" fmla="*/ 108 w 216"/>
                <a:gd name="T101" fmla="*/ 4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6" h="108">
                  <a:moveTo>
                    <a:pt x="108" y="46"/>
                  </a:moveTo>
                  <a:lnTo>
                    <a:pt x="98" y="44"/>
                  </a:lnTo>
                  <a:lnTo>
                    <a:pt x="89" y="41"/>
                  </a:lnTo>
                  <a:lnTo>
                    <a:pt x="82" y="37"/>
                  </a:lnTo>
                  <a:lnTo>
                    <a:pt x="75" y="33"/>
                  </a:lnTo>
                  <a:lnTo>
                    <a:pt x="69" y="26"/>
                  </a:lnTo>
                  <a:lnTo>
                    <a:pt x="65" y="17"/>
                  </a:lnTo>
                  <a:lnTo>
                    <a:pt x="62" y="8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" y="21"/>
                  </a:lnTo>
                  <a:lnTo>
                    <a:pt x="4" y="31"/>
                  </a:lnTo>
                  <a:lnTo>
                    <a:pt x="7" y="41"/>
                  </a:lnTo>
                  <a:lnTo>
                    <a:pt x="13" y="52"/>
                  </a:lnTo>
                  <a:lnTo>
                    <a:pt x="17" y="60"/>
                  </a:lnTo>
                  <a:lnTo>
                    <a:pt x="25" y="69"/>
                  </a:lnTo>
                  <a:lnTo>
                    <a:pt x="32" y="76"/>
                  </a:lnTo>
                  <a:lnTo>
                    <a:pt x="39" y="83"/>
                  </a:lnTo>
                  <a:lnTo>
                    <a:pt x="48" y="89"/>
                  </a:lnTo>
                  <a:lnTo>
                    <a:pt x="56" y="95"/>
                  </a:lnTo>
                  <a:lnTo>
                    <a:pt x="65" y="99"/>
                  </a:lnTo>
                  <a:lnTo>
                    <a:pt x="75" y="103"/>
                  </a:lnTo>
                  <a:lnTo>
                    <a:pt x="87" y="106"/>
                  </a:lnTo>
                  <a:lnTo>
                    <a:pt x="97" y="108"/>
                  </a:lnTo>
                  <a:lnTo>
                    <a:pt x="108" y="108"/>
                  </a:lnTo>
                  <a:lnTo>
                    <a:pt x="118" y="108"/>
                  </a:lnTo>
                  <a:lnTo>
                    <a:pt x="130" y="106"/>
                  </a:lnTo>
                  <a:lnTo>
                    <a:pt x="140" y="103"/>
                  </a:lnTo>
                  <a:lnTo>
                    <a:pt x="150" y="99"/>
                  </a:lnTo>
                  <a:lnTo>
                    <a:pt x="160" y="95"/>
                  </a:lnTo>
                  <a:lnTo>
                    <a:pt x="169" y="89"/>
                  </a:lnTo>
                  <a:lnTo>
                    <a:pt x="176" y="83"/>
                  </a:lnTo>
                  <a:lnTo>
                    <a:pt x="184" y="76"/>
                  </a:lnTo>
                  <a:lnTo>
                    <a:pt x="192" y="69"/>
                  </a:lnTo>
                  <a:lnTo>
                    <a:pt x="197" y="60"/>
                  </a:lnTo>
                  <a:lnTo>
                    <a:pt x="203" y="52"/>
                  </a:lnTo>
                  <a:lnTo>
                    <a:pt x="207" y="41"/>
                  </a:lnTo>
                  <a:lnTo>
                    <a:pt x="212" y="31"/>
                  </a:lnTo>
                  <a:lnTo>
                    <a:pt x="213" y="21"/>
                  </a:lnTo>
                  <a:lnTo>
                    <a:pt x="215" y="11"/>
                  </a:lnTo>
                  <a:lnTo>
                    <a:pt x="216" y="0"/>
                  </a:lnTo>
                  <a:lnTo>
                    <a:pt x="154" y="0"/>
                  </a:lnTo>
                  <a:lnTo>
                    <a:pt x="153" y="8"/>
                  </a:lnTo>
                  <a:lnTo>
                    <a:pt x="150" y="17"/>
                  </a:lnTo>
                  <a:lnTo>
                    <a:pt x="146" y="26"/>
                  </a:lnTo>
                  <a:lnTo>
                    <a:pt x="140" y="33"/>
                  </a:lnTo>
                  <a:lnTo>
                    <a:pt x="134" y="37"/>
                  </a:lnTo>
                  <a:lnTo>
                    <a:pt x="125" y="41"/>
                  </a:lnTo>
                  <a:lnTo>
                    <a:pt x="117" y="44"/>
                  </a:lnTo>
                  <a:lnTo>
                    <a:pt x="108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4" name="Freeform 58">
              <a:extLst>
                <a:ext uri="{FF2B5EF4-FFF2-40B4-BE49-F238E27FC236}">
                  <a16:creationId xmlns:a16="http://schemas.microsoft.com/office/drawing/2014/main" id="{A58CF3DA-C774-7D81-AB5B-3C2D0A09D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0975" y="3894138"/>
              <a:ext cx="193675" cy="96838"/>
            </a:xfrm>
            <a:custGeom>
              <a:avLst/>
              <a:gdLst>
                <a:gd name="T0" fmla="*/ 305 w 368"/>
                <a:gd name="T1" fmla="*/ 13 h 184"/>
                <a:gd name="T2" fmla="*/ 301 w 368"/>
                <a:gd name="T3" fmla="*/ 36 h 184"/>
                <a:gd name="T4" fmla="*/ 291 w 368"/>
                <a:gd name="T5" fmla="*/ 57 h 184"/>
                <a:gd name="T6" fmla="*/ 278 w 368"/>
                <a:gd name="T7" fmla="*/ 77 h 184"/>
                <a:gd name="T8" fmla="*/ 262 w 368"/>
                <a:gd name="T9" fmla="*/ 93 h 184"/>
                <a:gd name="T10" fmla="*/ 242 w 368"/>
                <a:gd name="T11" fmla="*/ 106 h 184"/>
                <a:gd name="T12" fmla="*/ 220 w 368"/>
                <a:gd name="T13" fmla="*/ 116 h 184"/>
                <a:gd name="T14" fmla="*/ 196 w 368"/>
                <a:gd name="T15" fmla="*/ 120 h 184"/>
                <a:gd name="T16" fmla="*/ 171 w 368"/>
                <a:gd name="T17" fmla="*/ 120 h 184"/>
                <a:gd name="T18" fmla="*/ 148 w 368"/>
                <a:gd name="T19" fmla="*/ 116 h 184"/>
                <a:gd name="T20" fmla="*/ 125 w 368"/>
                <a:gd name="T21" fmla="*/ 106 h 184"/>
                <a:gd name="T22" fmla="*/ 106 w 368"/>
                <a:gd name="T23" fmla="*/ 93 h 184"/>
                <a:gd name="T24" fmla="*/ 89 w 368"/>
                <a:gd name="T25" fmla="*/ 77 h 184"/>
                <a:gd name="T26" fmla="*/ 76 w 368"/>
                <a:gd name="T27" fmla="*/ 57 h 184"/>
                <a:gd name="T28" fmla="*/ 67 w 368"/>
                <a:gd name="T29" fmla="*/ 36 h 184"/>
                <a:gd name="T30" fmla="*/ 62 w 368"/>
                <a:gd name="T31" fmla="*/ 13 h 184"/>
                <a:gd name="T32" fmla="*/ 0 w 368"/>
                <a:gd name="T33" fmla="*/ 0 h 184"/>
                <a:gd name="T34" fmla="*/ 3 w 368"/>
                <a:gd name="T35" fmla="*/ 37 h 184"/>
                <a:gd name="T36" fmla="*/ 14 w 368"/>
                <a:gd name="T37" fmla="*/ 72 h 184"/>
                <a:gd name="T38" fmla="*/ 31 w 368"/>
                <a:gd name="T39" fmla="*/ 102 h 184"/>
                <a:gd name="T40" fmla="*/ 53 w 368"/>
                <a:gd name="T41" fmla="*/ 129 h 184"/>
                <a:gd name="T42" fmla="*/ 80 w 368"/>
                <a:gd name="T43" fmla="*/ 152 h 184"/>
                <a:gd name="T44" fmla="*/ 112 w 368"/>
                <a:gd name="T45" fmla="*/ 169 h 184"/>
                <a:gd name="T46" fmla="*/ 147 w 368"/>
                <a:gd name="T47" fmla="*/ 179 h 184"/>
                <a:gd name="T48" fmla="*/ 184 w 368"/>
                <a:gd name="T49" fmla="*/ 184 h 184"/>
                <a:gd name="T50" fmla="*/ 220 w 368"/>
                <a:gd name="T51" fmla="*/ 179 h 184"/>
                <a:gd name="T52" fmla="*/ 256 w 368"/>
                <a:gd name="T53" fmla="*/ 169 h 184"/>
                <a:gd name="T54" fmla="*/ 286 w 368"/>
                <a:gd name="T55" fmla="*/ 152 h 184"/>
                <a:gd name="T56" fmla="*/ 314 w 368"/>
                <a:gd name="T57" fmla="*/ 129 h 184"/>
                <a:gd name="T58" fmla="*/ 337 w 368"/>
                <a:gd name="T59" fmla="*/ 102 h 184"/>
                <a:gd name="T60" fmla="*/ 354 w 368"/>
                <a:gd name="T61" fmla="*/ 72 h 184"/>
                <a:gd name="T62" fmla="*/ 364 w 368"/>
                <a:gd name="T63" fmla="*/ 37 h 184"/>
                <a:gd name="T64" fmla="*/ 368 w 368"/>
                <a:gd name="T6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8" h="184">
                  <a:moveTo>
                    <a:pt x="305" y="0"/>
                  </a:moveTo>
                  <a:lnTo>
                    <a:pt x="305" y="13"/>
                  </a:lnTo>
                  <a:lnTo>
                    <a:pt x="304" y="24"/>
                  </a:lnTo>
                  <a:lnTo>
                    <a:pt x="301" y="36"/>
                  </a:lnTo>
                  <a:lnTo>
                    <a:pt x="296" y="47"/>
                  </a:lnTo>
                  <a:lnTo>
                    <a:pt x="291" y="57"/>
                  </a:lnTo>
                  <a:lnTo>
                    <a:pt x="285" y="67"/>
                  </a:lnTo>
                  <a:lnTo>
                    <a:pt x="278" y="77"/>
                  </a:lnTo>
                  <a:lnTo>
                    <a:pt x="271" y="86"/>
                  </a:lnTo>
                  <a:lnTo>
                    <a:pt x="262" y="93"/>
                  </a:lnTo>
                  <a:lnTo>
                    <a:pt x="252" y="100"/>
                  </a:lnTo>
                  <a:lnTo>
                    <a:pt x="242" y="106"/>
                  </a:lnTo>
                  <a:lnTo>
                    <a:pt x="232" y="112"/>
                  </a:lnTo>
                  <a:lnTo>
                    <a:pt x="220" y="116"/>
                  </a:lnTo>
                  <a:lnTo>
                    <a:pt x="209" y="119"/>
                  </a:lnTo>
                  <a:lnTo>
                    <a:pt x="196" y="120"/>
                  </a:lnTo>
                  <a:lnTo>
                    <a:pt x="184" y="122"/>
                  </a:lnTo>
                  <a:lnTo>
                    <a:pt x="171" y="120"/>
                  </a:lnTo>
                  <a:lnTo>
                    <a:pt x="160" y="119"/>
                  </a:lnTo>
                  <a:lnTo>
                    <a:pt x="148" y="116"/>
                  </a:lnTo>
                  <a:lnTo>
                    <a:pt x="137" y="112"/>
                  </a:lnTo>
                  <a:lnTo>
                    <a:pt x="125" y="106"/>
                  </a:lnTo>
                  <a:lnTo>
                    <a:pt x="115" y="100"/>
                  </a:lnTo>
                  <a:lnTo>
                    <a:pt x="106" y="93"/>
                  </a:lnTo>
                  <a:lnTo>
                    <a:pt x="98" y="86"/>
                  </a:lnTo>
                  <a:lnTo>
                    <a:pt x="89" y="77"/>
                  </a:lnTo>
                  <a:lnTo>
                    <a:pt x="82" y="67"/>
                  </a:lnTo>
                  <a:lnTo>
                    <a:pt x="76" y="57"/>
                  </a:lnTo>
                  <a:lnTo>
                    <a:pt x="72" y="47"/>
                  </a:lnTo>
                  <a:lnTo>
                    <a:pt x="67" y="36"/>
                  </a:lnTo>
                  <a:lnTo>
                    <a:pt x="65" y="24"/>
                  </a:lnTo>
                  <a:lnTo>
                    <a:pt x="62" y="13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3" y="37"/>
                  </a:lnTo>
                  <a:lnTo>
                    <a:pt x="7" y="54"/>
                  </a:lnTo>
                  <a:lnTo>
                    <a:pt x="14" y="72"/>
                  </a:lnTo>
                  <a:lnTo>
                    <a:pt x="21" y="87"/>
                  </a:lnTo>
                  <a:lnTo>
                    <a:pt x="31" y="102"/>
                  </a:lnTo>
                  <a:lnTo>
                    <a:pt x="42" y="116"/>
                  </a:lnTo>
                  <a:lnTo>
                    <a:pt x="53" y="129"/>
                  </a:lnTo>
                  <a:lnTo>
                    <a:pt x="66" y="142"/>
                  </a:lnTo>
                  <a:lnTo>
                    <a:pt x="80" y="152"/>
                  </a:lnTo>
                  <a:lnTo>
                    <a:pt x="96" y="161"/>
                  </a:lnTo>
                  <a:lnTo>
                    <a:pt x="112" y="169"/>
                  </a:lnTo>
                  <a:lnTo>
                    <a:pt x="129" y="175"/>
                  </a:lnTo>
                  <a:lnTo>
                    <a:pt x="147" y="179"/>
                  </a:lnTo>
                  <a:lnTo>
                    <a:pt x="165" y="182"/>
                  </a:lnTo>
                  <a:lnTo>
                    <a:pt x="184" y="184"/>
                  </a:lnTo>
                  <a:lnTo>
                    <a:pt x="203" y="182"/>
                  </a:lnTo>
                  <a:lnTo>
                    <a:pt x="220" y="179"/>
                  </a:lnTo>
                  <a:lnTo>
                    <a:pt x="239" y="175"/>
                  </a:lnTo>
                  <a:lnTo>
                    <a:pt x="256" y="169"/>
                  </a:lnTo>
                  <a:lnTo>
                    <a:pt x="272" y="161"/>
                  </a:lnTo>
                  <a:lnTo>
                    <a:pt x="286" y="152"/>
                  </a:lnTo>
                  <a:lnTo>
                    <a:pt x="301" y="142"/>
                  </a:lnTo>
                  <a:lnTo>
                    <a:pt x="314" y="129"/>
                  </a:lnTo>
                  <a:lnTo>
                    <a:pt x="325" y="116"/>
                  </a:lnTo>
                  <a:lnTo>
                    <a:pt x="337" y="102"/>
                  </a:lnTo>
                  <a:lnTo>
                    <a:pt x="345" y="87"/>
                  </a:lnTo>
                  <a:lnTo>
                    <a:pt x="354" y="72"/>
                  </a:lnTo>
                  <a:lnTo>
                    <a:pt x="360" y="54"/>
                  </a:lnTo>
                  <a:lnTo>
                    <a:pt x="364" y="37"/>
                  </a:lnTo>
                  <a:lnTo>
                    <a:pt x="367" y="19"/>
                  </a:lnTo>
                  <a:lnTo>
                    <a:pt x="368" y="0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055" name="Freeform 59">
            <a:extLst>
              <a:ext uri="{FF2B5EF4-FFF2-40B4-BE49-F238E27FC236}">
                <a16:creationId xmlns:a16="http://schemas.microsoft.com/office/drawing/2014/main" id="{2DFFDBD3-7F36-8A8D-3478-2BFDFDDD2516}"/>
              </a:ext>
            </a:extLst>
          </p:cNvPr>
          <p:cNvSpPr>
            <a:spLocks noEditPoints="1"/>
          </p:cNvSpPr>
          <p:nvPr/>
        </p:nvSpPr>
        <p:spPr bwMode="auto">
          <a:xfrm>
            <a:off x="671513" y="6011863"/>
            <a:ext cx="2755900" cy="222250"/>
          </a:xfrm>
          <a:custGeom>
            <a:avLst/>
            <a:gdLst>
              <a:gd name="T0" fmla="*/ 4971 w 5206"/>
              <a:gd name="T1" fmla="*/ 260 h 418"/>
              <a:gd name="T2" fmla="*/ 4831 w 5206"/>
              <a:gd name="T3" fmla="*/ 213 h 418"/>
              <a:gd name="T4" fmla="*/ 4970 w 5206"/>
              <a:gd name="T5" fmla="*/ 164 h 418"/>
              <a:gd name="T6" fmla="*/ 4797 w 5206"/>
              <a:gd name="T7" fmla="*/ 177 h 418"/>
              <a:gd name="T8" fmla="*/ 4751 w 5206"/>
              <a:gd name="T9" fmla="*/ 326 h 418"/>
              <a:gd name="T10" fmla="*/ 4710 w 5206"/>
              <a:gd name="T11" fmla="*/ 305 h 418"/>
              <a:gd name="T12" fmla="*/ 4520 w 5206"/>
              <a:gd name="T13" fmla="*/ 285 h 418"/>
              <a:gd name="T14" fmla="*/ 4536 w 5206"/>
              <a:gd name="T15" fmla="*/ 329 h 418"/>
              <a:gd name="T16" fmla="*/ 4245 w 5206"/>
              <a:gd name="T17" fmla="*/ 269 h 418"/>
              <a:gd name="T18" fmla="*/ 4293 w 5206"/>
              <a:gd name="T19" fmla="*/ 134 h 418"/>
              <a:gd name="T20" fmla="*/ 4366 w 5206"/>
              <a:gd name="T21" fmla="*/ 257 h 418"/>
              <a:gd name="T22" fmla="*/ 4404 w 5206"/>
              <a:gd name="T23" fmla="*/ 269 h 418"/>
              <a:gd name="T24" fmla="*/ 4277 w 5206"/>
              <a:gd name="T25" fmla="*/ 98 h 418"/>
              <a:gd name="T26" fmla="*/ 4226 w 5206"/>
              <a:gd name="T27" fmla="*/ 303 h 418"/>
              <a:gd name="T28" fmla="*/ 3956 w 5206"/>
              <a:gd name="T29" fmla="*/ 229 h 418"/>
              <a:gd name="T30" fmla="*/ 4071 w 5206"/>
              <a:gd name="T31" fmla="*/ 143 h 418"/>
              <a:gd name="T32" fmla="*/ 4064 w 5206"/>
              <a:gd name="T33" fmla="*/ 286 h 418"/>
              <a:gd name="T34" fmla="*/ 3987 w 5206"/>
              <a:gd name="T35" fmla="*/ 318 h 418"/>
              <a:gd name="T36" fmla="*/ 4144 w 5206"/>
              <a:gd name="T37" fmla="*/ 177 h 418"/>
              <a:gd name="T38" fmla="*/ 3758 w 5206"/>
              <a:gd name="T39" fmla="*/ 102 h 418"/>
              <a:gd name="T40" fmla="*/ 3724 w 5206"/>
              <a:gd name="T41" fmla="*/ 15 h 418"/>
              <a:gd name="T42" fmla="*/ 3616 w 5206"/>
              <a:gd name="T43" fmla="*/ 180 h 418"/>
              <a:gd name="T44" fmla="*/ 3386 w 5206"/>
              <a:gd name="T45" fmla="*/ 289 h 418"/>
              <a:gd name="T46" fmla="*/ 3365 w 5206"/>
              <a:gd name="T47" fmla="*/ 147 h 418"/>
              <a:gd name="T48" fmla="*/ 3488 w 5206"/>
              <a:gd name="T49" fmla="*/ 222 h 418"/>
              <a:gd name="T50" fmla="*/ 3347 w 5206"/>
              <a:gd name="T51" fmla="*/ 121 h 418"/>
              <a:gd name="T52" fmla="*/ 3494 w 5206"/>
              <a:gd name="T53" fmla="*/ 296 h 418"/>
              <a:gd name="T54" fmla="*/ 3426 w 5206"/>
              <a:gd name="T55" fmla="*/ 97 h 418"/>
              <a:gd name="T56" fmla="*/ 3220 w 5206"/>
              <a:gd name="T57" fmla="*/ 115 h 418"/>
              <a:gd name="T58" fmla="*/ 3102 w 5206"/>
              <a:gd name="T59" fmla="*/ 206 h 418"/>
              <a:gd name="T60" fmla="*/ 3135 w 5206"/>
              <a:gd name="T61" fmla="*/ 288 h 418"/>
              <a:gd name="T62" fmla="*/ 3243 w 5206"/>
              <a:gd name="T63" fmla="*/ 285 h 418"/>
              <a:gd name="T64" fmla="*/ 2949 w 5206"/>
              <a:gd name="T65" fmla="*/ 97 h 418"/>
              <a:gd name="T66" fmla="*/ 2941 w 5206"/>
              <a:gd name="T67" fmla="*/ 133 h 418"/>
              <a:gd name="T68" fmla="*/ 2984 w 5206"/>
              <a:gd name="T69" fmla="*/ 102 h 418"/>
              <a:gd name="T70" fmla="*/ 2683 w 5206"/>
              <a:gd name="T71" fmla="*/ 133 h 418"/>
              <a:gd name="T72" fmla="*/ 2658 w 5206"/>
              <a:gd name="T73" fmla="*/ 98 h 418"/>
              <a:gd name="T74" fmla="*/ 2608 w 5206"/>
              <a:gd name="T75" fmla="*/ 303 h 418"/>
              <a:gd name="T76" fmla="*/ 2697 w 5206"/>
              <a:gd name="T77" fmla="*/ 292 h 418"/>
              <a:gd name="T78" fmla="*/ 2462 w 5206"/>
              <a:gd name="T79" fmla="*/ 417 h 418"/>
              <a:gd name="T80" fmla="*/ 2523 w 5206"/>
              <a:gd name="T81" fmla="*/ 51 h 418"/>
              <a:gd name="T82" fmla="*/ 2483 w 5206"/>
              <a:gd name="T83" fmla="*/ 54 h 418"/>
              <a:gd name="T84" fmla="*/ 2318 w 5206"/>
              <a:gd name="T85" fmla="*/ 133 h 418"/>
              <a:gd name="T86" fmla="*/ 2294 w 5206"/>
              <a:gd name="T87" fmla="*/ 98 h 418"/>
              <a:gd name="T88" fmla="*/ 2244 w 5206"/>
              <a:gd name="T89" fmla="*/ 303 h 418"/>
              <a:gd name="T90" fmla="*/ 2333 w 5206"/>
              <a:gd name="T91" fmla="*/ 292 h 418"/>
              <a:gd name="T92" fmla="*/ 1910 w 5206"/>
              <a:gd name="T93" fmla="*/ 279 h 418"/>
              <a:gd name="T94" fmla="*/ 1930 w 5206"/>
              <a:gd name="T95" fmla="*/ 137 h 418"/>
              <a:gd name="T96" fmla="*/ 2026 w 5206"/>
              <a:gd name="T97" fmla="*/ 245 h 418"/>
              <a:gd name="T98" fmla="*/ 2045 w 5206"/>
              <a:gd name="T99" fmla="*/ 288 h 418"/>
              <a:gd name="T100" fmla="*/ 1954 w 5206"/>
              <a:gd name="T101" fmla="*/ 97 h 418"/>
              <a:gd name="T102" fmla="*/ 1863 w 5206"/>
              <a:gd name="T103" fmla="*/ 288 h 418"/>
              <a:gd name="T104" fmla="*/ 1469 w 5206"/>
              <a:gd name="T105" fmla="*/ 292 h 418"/>
              <a:gd name="T106" fmla="*/ 1404 w 5206"/>
              <a:gd name="T107" fmla="*/ 168 h 418"/>
              <a:gd name="T108" fmla="*/ 1545 w 5206"/>
              <a:gd name="T109" fmla="*/ 189 h 418"/>
              <a:gd name="T110" fmla="*/ 1541 w 5206"/>
              <a:gd name="T111" fmla="*/ 130 h 418"/>
              <a:gd name="T112" fmla="*/ 1352 w 5206"/>
              <a:gd name="T113" fmla="*/ 213 h 418"/>
              <a:gd name="T114" fmla="*/ 1541 w 5206"/>
              <a:gd name="T115" fmla="*/ 295 h 418"/>
              <a:gd name="T116" fmla="*/ 1161 w 5206"/>
              <a:gd name="T117" fmla="*/ 166 h 418"/>
              <a:gd name="T118" fmla="*/ 1300 w 5206"/>
              <a:gd name="T119" fmla="*/ 141 h 418"/>
              <a:gd name="T120" fmla="*/ 1057 w 5206"/>
              <a:gd name="T121" fmla="*/ 289 h 418"/>
              <a:gd name="T122" fmla="*/ 966 w 5206"/>
              <a:gd name="T123" fmla="*/ 102 h 418"/>
              <a:gd name="T124" fmla="*/ 412 w 5206"/>
              <a:gd name="T125" fmla="*/ 324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206" h="418">
                <a:moveTo>
                  <a:pt x="5088" y="286"/>
                </a:moveTo>
                <a:lnTo>
                  <a:pt x="5201" y="128"/>
                </a:lnTo>
                <a:lnTo>
                  <a:pt x="5201" y="102"/>
                </a:lnTo>
                <a:lnTo>
                  <a:pt x="5040" y="102"/>
                </a:lnTo>
                <a:lnTo>
                  <a:pt x="5040" y="138"/>
                </a:lnTo>
                <a:lnTo>
                  <a:pt x="5148" y="138"/>
                </a:lnTo>
                <a:lnTo>
                  <a:pt x="5034" y="298"/>
                </a:lnTo>
                <a:lnTo>
                  <a:pt x="5034" y="324"/>
                </a:lnTo>
                <a:lnTo>
                  <a:pt x="5206" y="324"/>
                </a:lnTo>
                <a:lnTo>
                  <a:pt x="5206" y="286"/>
                </a:lnTo>
                <a:lnTo>
                  <a:pt x="5088" y="286"/>
                </a:lnTo>
                <a:close/>
                <a:moveTo>
                  <a:pt x="4909" y="329"/>
                </a:moveTo>
                <a:lnTo>
                  <a:pt x="4909" y="329"/>
                </a:lnTo>
                <a:lnTo>
                  <a:pt x="4925" y="328"/>
                </a:lnTo>
                <a:lnTo>
                  <a:pt x="4941" y="325"/>
                </a:lnTo>
                <a:lnTo>
                  <a:pt x="4955" y="321"/>
                </a:lnTo>
                <a:lnTo>
                  <a:pt x="4968" y="313"/>
                </a:lnTo>
                <a:lnTo>
                  <a:pt x="4981" y="305"/>
                </a:lnTo>
                <a:lnTo>
                  <a:pt x="4993" y="295"/>
                </a:lnTo>
                <a:lnTo>
                  <a:pt x="5001" y="285"/>
                </a:lnTo>
                <a:lnTo>
                  <a:pt x="5010" y="272"/>
                </a:lnTo>
                <a:lnTo>
                  <a:pt x="4977" y="253"/>
                </a:lnTo>
                <a:lnTo>
                  <a:pt x="4971" y="260"/>
                </a:lnTo>
                <a:lnTo>
                  <a:pt x="4965" y="269"/>
                </a:lnTo>
                <a:lnTo>
                  <a:pt x="4958" y="275"/>
                </a:lnTo>
                <a:lnTo>
                  <a:pt x="4949" y="280"/>
                </a:lnTo>
                <a:lnTo>
                  <a:pt x="4941" y="285"/>
                </a:lnTo>
                <a:lnTo>
                  <a:pt x="4931" y="289"/>
                </a:lnTo>
                <a:lnTo>
                  <a:pt x="4921" y="290"/>
                </a:lnTo>
                <a:lnTo>
                  <a:pt x="4909" y="290"/>
                </a:lnTo>
                <a:lnTo>
                  <a:pt x="4900" y="290"/>
                </a:lnTo>
                <a:lnTo>
                  <a:pt x="4893" y="289"/>
                </a:lnTo>
                <a:lnTo>
                  <a:pt x="4886" y="288"/>
                </a:lnTo>
                <a:lnTo>
                  <a:pt x="4879" y="285"/>
                </a:lnTo>
                <a:lnTo>
                  <a:pt x="4872" y="282"/>
                </a:lnTo>
                <a:lnTo>
                  <a:pt x="4864" y="278"/>
                </a:lnTo>
                <a:lnTo>
                  <a:pt x="4859" y="273"/>
                </a:lnTo>
                <a:lnTo>
                  <a:pt x="4853" y="269"/>
                </a:lnTo>
                <a:lnTo>
                  <a:pt x="4849" y="263"/>
                </a:lnTo>
                <a:lnTo>
                  <a:pt x="4844" y="257"/>
                </a:lnTo>
                <a:lnTo>
                  <a:pt x="4840" y="250"/>
                </a:lnTo>
                <a:lnTo>
                  <a:pt x="4837" y="243"/>
                </a:lnTo>
                <a:lnTo>
                  <a:pt x="4834" y="236"/>
                </a:lnTo>
                <a:lnTo>
                  <a:pt x="4833" y="229"/>
                </a:lnTo>
                <a:lnTo>
                  <a:pt x="4831" y="222"/>
                </a:lnTo>
                <a:lnTo>
                  <a:pt x="4831" y="213"/>
                </a:lnTo>
                <a:lnTo>
                  <a:pt x="4831" y="204"/>
                </a:lnTo>
                <a:lnTo>
                  <a:pt x="4833" y="197"/>
                </a:lnTo>
                <a:lnTo>
                  <a:pt x="4834" y="189"/>
                </a:lnTo>
                <a:lnTo>
                  <a:pt x="4837" y="181"/>
                </a:lnTo>
                <a:lnTo>
                  <a:pt x="4840" y="174"/>
                </a:lnTo>
                <a:lnTo>
                  <a:pt x="4844" y="168"/>
                </a:lnTo>
                <a:lnTo>
                  <a:pt x="4849" y="163"/>
                </a:lnTo>
                <a:lnTo>
                  <a:pt x="4853" y="157"/>
                </a:lnTo>
                <a:lnTo>
                  <a:pt x="4859" y="151"/>
                </a:lnTo>
                <a:lnTo>
                  <a:pt x="4864" y="147"/>
                </a:lnTo>
                <a:lnTo>
                  <a:pt x="4872" y="143"/>
                </a:lnTo>
                <a:lnTo>
                  <a:pt x="4879" y="140"/>
                </a:lnTo>
                <a:lnTo>
                  <a:pt x="4886" y="137"/>
                </a:lnTo>
                <a:lnTo>
                  <a:pt x="4893" y="135"/>
                </a:lnTo>
                <a:lnTo>
                  <a:pt x="4900" y="134"/>
                </a:lnTo>
                <a:lnTo>
                  <a:pt x="4909" y="134"/>
                </a:lnTo>
                <a:lnTo>
                  <a:pt x="4921" y="134"/>
                </a:lnTo>
                <a:lnTo>
                  <a:pt x="4931" y="137"/>
                </a:lnTo>
                <a:lnTo>
                  <a:pt x="4941" y="140"/>
                </a:lnTo>
                <a:lnTo>
                  <a:pt x="4949" y="144"/>
                </a:lnTo>
                <a:lnTo>
                  <a:pt x="4957" y="150"/>
                </a:lnTo>
                <a:lnTo>
                  <a:pt x="4964" y="157"/>
                </a:lnTo>
                <a:lnTo>
                  <a:pt x="4970" y="164"/>
                </a:lnTo>
                <a:lnTo>
                  <a:pt x="4975" y="173"/>
                </a:lnTo>
                <a:lnTo>
                  <a:pt x="5007" y="154"/>
                </a:lnTo>
                <a:lnTo>
                  <a:pt x="5000" y="141"/>
                </a:lnTo>
                <a:lnTo>
                  <a:pt x="4991" y="130"/>
                </a:lnTo>
                <a:lnTo>
                  <a:pt x="4981" y="121"/>
                </a:lnTo>
                <a:lnTo>
                  <a:pt x="4968" y="112"/>
                </a:lnTo>
                <a:lnTo>
                  <a:pt x="4955" y="105"/>
                </a:lnTo>
                <a:lnTo>
                  <a:pt x="4941" y="101"/>
                </a:lnTo>
                <a:lnTo>
                  <a:pt x="4925" y="97"/>
                </a:lnTo>
                <a:lnTo>
                  <a:pt x="4909" y="97"/>
                </a:lnTo>
                <a:lnTo>
                  <a:pt x="4898" y="97"/>
                </a:lnTo>
                <a:lnTo>
                  <a:pt x="4885" y="98"/>
                </a:lnTo>
                <a:lnTo>
                  <a:pt x="4873" y="101"/>
                </a:lnTo>
                <a:lnTo>
                  <a:pt x="4863" y="105"/>
                </a:lnTo>
                <a:lnTo>
                  <a:pt x="4853" y="110"/>
                </a:lnTo>
                <a:lnTo>
                  <a:pt x="4843" y="115"/>
                </a:lnTo>
                <a:lnTo>
                  <a:pt x="4834" y="122"/>
                </a:lnTo>
                <a:lnTo>
                  <a:pt x="4826" y="130"/>
                </a:lnTo>
                <a:lnTo>
                  <a:pt x="4818" y="138"/>
                </a:lnTo>
                <a:lnTo>
                  <a:pt x="4811" y="147"/>
                </a:lnTo>
                <a:lnTo>
                  <a:pt x="4805" y="157"/>
                </a:lnTo>
                <a:lnTo>
                  <a:pt x="4801" y="167"/>
                </a:lnTo>
                <a:lnTo>
                  <a:pt x="4797" y="177"/>
                </a:lnTo>
                <a:lnTo>
                  <a:pt x="4795" y="189"/>
                </a:lnTo>
                <a:lnTo>
                  <a:pt x="4792" y="200"/>
                </a:lnTo>
                <a:lnTo>
                  <a:pt x="4792" y="213"/>
                </a:lnTo>
                <a:lnTo>
                  <a:pt x="4792" y="224"/>
                </a:lnTo>
                <a:lnTo>
                  <a:pt x="4795" y="236"/>
                </a:lnTo>
                <a:lnTo>
                  <a:pt x="4797" y="247"/>
                </a:lnTo>
                <a:lnTo>
                  <a:pt x="4801" y="259"/>
                </a:lnTo>
                <a:lnTo>
                  <a:pt x="4805" y="269"/>
                </a:lnTo>
                <a:lnTo>
                  <a:pt x="4811" y="279"/>
                </a:lnTo>
                <a:lnTo>
                  <a:pt x="4818" y="288"/>
                </a:lnTo>
                <a:lnTo>
                  <a:pt x="4826" y="296"/>
                </a:lnTo>
                <a:lnTo>
                  <a:pt x="4834" y="303"/>
                </a:lnTo>
                <a:lnTo>
                  <a:pt x="4843" y="309"/>
                </a:lnTo>
                <a:lnTo>
                  <a:pt x="4853" y="315"/>
                </a:lnTo>
                <a:lnTo>
                  <a:pt x="4863" y="321"/>
                </a:lnTo>
                <a:lnTo>
                  <a:pt x="4873" y="324"/>
                </a:lnTo>
                <a:lnTo>
                  <a:pt x="4885" y="326"/>
                </a:lnTo>
                <a:lnTo>
                  <a:pt x="4898" y="329"/>
                </a:lnTo>
                <a:lnTo>
                  <a:pt x="4909" y="329"/>
                </a:lnTo>
                <a:close/>
                <a:moveTo>
                  <a:pt x="4739" y="328"/>
                </a:moveTo>
                <a:lnTo>
                  <a:pt x="4739" y="328"/>
                </a:lnTo>
                <a:lnTo>
                  <a:pt x="4745" y="328"/>
                </a:lnTo>
                <a:lnTo>
                  <a:pt x="4751" y="326"/>
                </a:lnTo>
                <a:lnTo>
                  <a:pt x="4755" y="324"/>
                </a:lnTo>
                <a:lnTo>
                  <a:pt x="4759" y="321"/>
                </a:lnTo>
                <a:lnTo>
                  <a:pt x="4764" y="316"/>
                </a:lnTo>
                <a:lnTo>
                  <a:pt x="4765" y="311"/>
                </a:lnTo>
                <a:lnTo>
                  <a:pt x="4768" y="305"/>
                </a:lnTo>
                <a:lnTo>
                  <a:pt x="4768" y="299"/>
                </a:lnTo>
                <a:lnTo>
                  <a:pt x="4768" y="293"/>
                </a:lnTo>
                <a:lnTo>
                  <a:pt x="4765" y="289"/>
                </a:lnTo>
                <a:lnTo>
                  <a:pt x="4764" y="283"/>
                </a:lnTo>
                <a:lnTo>
                  <a:pt x="4759" y="279"/>
                </a:lnTo>
                <a:lnTo>
                  <a:pt x="4755" y="276"/>
                </a:lnTo>
                <a:lnTo>
                  <a:pt x="4751" y="273"/>
                </a:lnTo>
                <a:lnTo>
                  <a:pt x="4745" y="272"/>
                </a:lnTo>
                <a:lnTo>
                  <a:pt x="4739" y="270"/>
                </a:lnTo>
                <a:lnTo>
                  <a:pt x="4733" y="272"/>
                </a:lnTo>
                <a:lnTo>
                  <a:pt x="4728" y="273"/>
                </a:lnTo>
                <a:lnTo>
                  <a:pt x="4723" y="276"/>
                </a:lnTo>
                <a:lnTo>
                  <a:pt x="4719" y="279"/>
                </a:lnTo>
                <a:lnTo>
                  <a:pt x="4715" y="283"/>
                </a:lnTo>
                <a:lnTo>
                  <a:pt x="4712" y="289"/>
                </a:lnTo>
                <a:lnTo>
                  <a:pt x="4710" y="293"/>
                </a:lnTo>
                <a:lnTo>
                  <a:pt x="4710" y="299"/>
                </a:lnTo>
                <a:lnTo>
                  <a:pt x="4710" y="305"/>
                </a:lnTo>
                <a:lnTo>
                  <a:pt x="4712" y="311"/>
                </a:lnTo>
                <a:lnTo>
                  <a:pt x="4715" y="316"/>
                </a:lnTo>
                <a:lnTo>
                  <a:pt x="4719" y="321"/>
                </a:lnTo>
                <a:lnTo>
                  <a:pt x="4723" y="324"/>
                </a:lnTo>
                <a:lnTo>
                  <a:pt x="4728" y="326"/>
                </a:lnTo>
                <a:lnTo>
                  <a:pt x="4733" y="328"/>
                </a:lnTo>
                <a:lnTo>
                  <a:pt x="4739" y="328"/>
                </a:lnTo>
                <a:close/>
                <a:moveTo>
                  <a:pt x="4617" y="102"/>
                </a:moveTo>
                <a:lnTo>
                  <a:pt x="4617" y="102"/>
                </a:lnTo>
                <a:lnTo>
                  <a:pt x="4617" y="219"/>
                </a:lnTo>
                <a:lnTo>
                  <a:pt x="4615" y="237"/>
                </a:lnTo>
                <a:lnTo>
                  <a:pt x="4612" y="253"/>
                </a:lnTo>
                <a:lnTo>
                  <a:pt x="4610" y="259"/>
                </a:lnTo>
                <a:lnTo>
                  <a:pt x="4607" y="266"/>
                </a:lnTo>
                <a:lnTo>
                  <a:pt x="4602" y="270"/>
                </a:lnTo>
                <a:lnTo>
                  <a:pt x="4598" y="276"/>
                </a:lnTo>
                <a:lnTo>
                  <a:pt x="4589" y="283"/>
                </a:lnTo>
                <a:lnTo>
                  <a:pt x="4578" y="289"/>
                </a:lnTo>
                <a:lnTo>
                  <a:pt x="4566" y="292"/>
                </a:lnTo>
                <a:lnTo>
                  <a:pt x="4553" y="292"/>
                </a:lnTo>
                <a:lnTo>
                  <a:pt x="4540" y="292"/>
                </a:lnTo>
                <a:lnTo>
                  <a:pt x="4530" y="289"/>
                </a:lnTo>
                <a:lnTo>
                  <a:pt x="4520" y="285"/>
                </a:lnTo>
                <a:lnTo>
                  <a:pt x="4513" y="278"/>
                </a:lnTo>
                <a:lnTo>
                  <a:pt x="4506" y="270"/>
                </a:lnTo>
                <a:lnTo>
                  <a:pt x="4502" y="260"/>
                </a:lnTo>
                <a:lnTo>
                  <a:pt x="4499" y="249"/>
                </a:lnTo>
                <a:lnTo>
                  <a:pt x="4497" y="236"/>
                </a:lnTo>
                <a:lnTo>
                  <a:pt x="4497" y="102"/>
                </a:lnTo>
                <a:lnTo>
                  <a:pt x="4458" y="102"/>
                </a:lnTo>
                <a:lnTo>
                  <a:pt x="4458" y="237"/>
                </a:lnTo>
                <a:lnTo>
                  <a:pt x="4460" y="249"/>
                </a:lnTo>
                <a:lnTo>
                  <a:pt x="4461" y="259"/>
                </a:lnTo>
                <a:lnTo>
                  <a:pt x="4463" y="267"/>
                </a:lnTo>
                <a:lnTo>
                  <a:pt x="4466" y="276"/>
                </a:lnTo>
                <a:lnTo>
                  <a:pt x="4468" y="285"/>
                </a:lnTo>
                <a:lnTo>
                  <a:pt x="4473" y="292"/>
                </a:lnTo>
                <a:lnTo>
                  <a:pt x="4477" y="299"/>
                </a:lnTo>
                <a:lnTo>
                  <a:pt x="4483" y="305"/>
                </a:lnTo>
                <a:lnTo>
                  <a:pt x="4489" y="311"/>
                </a:lnTo>
                <a:lnTo>
                  <a:pt x="4494" y="315"/>
                </a:lnTo>
                <a:lnTo>
                  <a:pt x="4502" y="319"/>
                </a:lnTo>
                <a:lnTo>
                  <a:pt x="4510" y="324"/>
                </a:lnTo>
                <a:lnTo>
                  <a:pt x="4517" y="326"/>
                </a:lnTo>
                <a:lnTo>
                  <a:pt x="4526" y="328"/>
                </a:lnTo>
                <a:lnTo>
                  <a:pt x="4536" y="329"/>
                </a:lnTo>
                <a:lnTo>
                  <a:pt x="4545" y="329"/>
                </a:lnTo>
                <a:lnTo>
                  <a:pt x="4556" y="329"/>
                </a:lnTo>
                <a:lnTo>
                  <a:pt x="4568" y="326"/>
                </a:lnTo>
                <a:lnTo>
                  <a:pt x="4578" y="325"/>
                </a:lnTo>
                <a:lnTo>
                  <a:pt x="4586" y="321"/>
                </a:lnTo>
                <a:lnTo>
                  <a:pt x="4595" y="315"/>
                </a:lnTo>
                <a:lnTo>
                  <a:pt x="4604" y="309"/>
                </a:lnTo>
                <a:lnTo>
                  <a:pt x="4611" y="301"/>
                </a:lnTo>
                <a:lnTo>
                  <a:pt x="4617" y="292"/>
                </a:lnTo>
                <a:lnTo>
                  <a:pt x="4617" y="324"/>
                </a:lnTo>
                <a:lnTo>
                  <a:pt x="4656" y="324"/>
                </a:lnTo>
                <a:lnTo>
                  <a:pt x="4656" y="102"/>
                </a:lnTo>
                <a:lnTo>
                  <a:pt x="4617" y="102"/>
                </a:lnTo>
                <a:close/>
                <a:moveTo>
                  <a:pt x="4301" y="292"/>
                </a:moveTo>
                <a:lnTo>
                  <a:pt x="4301" y="292"/>
                </a:lnTo>
                <a:lnTo>
                  <a:pt x="4293" y="290"/>
                </a:lnTo>
                <a:lnTo>
                  <a:pt x="4284" y="290"/>
                </a:lnTo>
                <a:lnTo>
                  <a:pt x="4277" y="288"/>
                </a:lnTo>
                <a:lnTo>
                  <a:pt x="4270" y="286"/>
                </a:lnTo>
                <a:lnTo>
                  <a:pt x="4262" y="282"/>
                </a:lnTo>
                <a:lnTo>
                  <a:pt x="4257" y="279"/>
                </a:lnTo>
                <a:lnTo>
                  <a:pt x="4251" y="273"/>
                </a:lnTo>
                <a:lnTo>
                  <a:pt x="4245" y="269"/>
                </a:lnTo>
                <a:lnTo>
                  <a:pt x="4239" y="263"/>
                </a:lnTo>
                <a:lnTo>
                  <a:pt x="4235" y="257"/>
                </a:lnTo>
                <a:lnTo>
                  <a:pt x="4232" y="250"/>
                </a:lnTo>
                <a:lnTo>
                  <a:pt x="4228" y="245"/>
                </a:lnTo>
                <a:lnTo>
                  <a:pt x="4226" y="236"/>
                </a:lnTo>
                <a:lnTo>
                  <a:pt x="4224" y="229"/>
                </a:lnTo>
                <a:lnTo>
                  <a:pt x="4222" y="222"/>
                </a:lnTo>
                <a:lnTo>
                  <a:pt x="4222" y="213"/>
                </a:lnTo>
                <a:lnTo>
                  <a:pt x="4222" y="204"/>
                </a:lnTo>
                <a:lnTo>
                  <a:pt x="4224" y="197"/>
                </a:lnTo>
                <a:lnTo>
                  <a:pt x="4226" y="189"/>
                </a:lnTo>
                <a:lnTo>
                  <a:pt x="4228" y="181"/>
                </a:lnTo>
                <a:lnTo>
                  <a:pt x="4232" y="174"/>
                </a:lnTo>
                <a:lnTo>
                  <a:pt x="4235" y="168"/>
                </a:lnTo>
                <a:lnTo>
                  <a:pt x="4239" y="163"/>
                </a:lnTo>
                <a:lnTo>
                  <a:pt x="4245" y="157"/>
                </a:lnTo>
                <a:lnTo>
                  <a:pt x="4251" y="151"/>
                </a:lnTo>
                <a:lnTo>
                  <a:pt x="4257" y="147"/>
                </a:lnTo>
                <a:lnTo>
                  <a:pt x="4262" y="143"/>
                </a:lnTo>
                <a:lnTo>
                  <a:pt x="4270" y="140"/>
                </a:lnTo>
                <a:lnTo>
                  <a:pt x="4277" y="137"/>
                </a:lnTo>
                <a:lnTo>
                  <a:pt x="4284" y="135"/>
                </a:lnTo>
                <a:lnTo>
                  <a:pt x="4293" y="134"/>
                </a:lnTo>
                <a:lnTo>
                  <a:pt x="4301" y="134"/>
                </a:lnTo>
                <a:lnTo>
                  <a:pt x="4309" y="134"/>
                </a:lnTo>
                <a:lnTo>
                  <a:pt x="4317" y="135"/>
                </a:lnTo>
                <a:lnTo>
                  <a:pt x="4324" y="137"/>
                </a:lnTo>
                <a:lnTo>
                  <a:pt x="4332" y="140"/>
                </a:lnTo>
                <a:lnTo>
                  <a:pt x="4339" y="143"/>
                </a:lnTo>
                <a:lnTo>
                  <a:pt x="4345" y="147"/>
                </a:lnTo>
                <a:lnTo>
                  <a:pt x="4352" y="151"/>
                </a:lnTo>
                <a:lnTo>
                  <a:pt x="4356" y="157"/>
                </a:lnTo>
                <a:lnTo>
                  <a:pt x="4362" y="163"/>
                </a:lnTo>
                <a:lnTo>
                  <a:pt x="4366" y="168"/>
                </a:lnTo>
                <a:lnTo>
                  <a:pt x="4370" y="174"/>
                </a:lnTo>
                <a:lnTo>
                  <a:pt x="4373" y="181"/>
                </a:lnTo>
                <a:lnTo>
                  <a:pt x="4376" y="189"/>
                </a:lnTo>
                <a:lnTo>
                  <a:pt x="4378" y="197"/>
                </a:lnTo>
                <a:lnTo>
                  <a:pt x="4379" y="204"/>
                </a:lnTo>
                <a:lnTo>
                  <a:pt x="4379" y="213"/>
                </a:lnTo>
                <a:lnTo>
                  <a:pt x="4379" y="222"/>
                </a:lnTo>
                <a:lnTo>
                  <a:pt x="4378" y="229"/>
                </a:lnTo>
                <a:lnTo>
                  <a:pt x="4376" y="236"/>
                </a:lnTo>
                <a:lnTo>
                  <a:pt x="4373" y="245"/>
                </a:lnTo>
                <a:lnTo>
                  <a:pt x="4370" y="250"/>
                </a:lnTo>
                <a:lnTo>
                  <a:pt x="4366" y="257"/>
                </a:lnTo>
                <a:lnTo>
                  <a:pt x="4362" y="263"/>
                </a:lnTo>
                <a:lnTo>
                  <a:pt x="4356" y="269"/>
                </a:lnTo>
                <a:lnTo>
                  <a:pt x="4352" y="273"/>
                </a:lnTo>
                <a:lnTo>
                  <a:pt x="4345" y="279"/>
                </a:lnTo>
                <a:lnTo>
                  <a:pt x="4339" y="282"/>
                </a:lnTo>
                <a:lnTo>
                  <a:pt x="4332" y="286"/>
                </a:lnTo>
                <a:lnTo>
                  <a:pt x="4324" y="288"/>
                </a:lnTo>
                <a:lnTo>
                  <a:pt x="4317" y="290"/>
                </a:lnTo>
                <a:lnTo>
                  <a:pt x="4309" y="290"/>
                </a:lnTo>
                <a:lnTo>
                  <a:pt x="4301" y="292"/>
                </a:lnTo>
                <a:close/>
                <a:moveTo>
                  <a:pt x="4301" y="329"/>
                </a:moveTo>
                <a:lnTo>
                  <a:pt x="4301" y="329"/>
                </a:lnTo>
                <a:lnTo>
                  <a:pt x="4313" y="329"/>
                </a:lnTo>
                <a:lnTo>
                  <a:pt x="4324" y="326"/>
                </a:lnTo>
                <a:lnTo>
                  <a:pt x="4336" y="324"/>
                </a:lnTo>
                <a:lnTo>
                  <a:pt x="4346" y="321"/>
                </a:lnTo>
                <a:lnTo>
                  <a:pt x="4356" y="315"/>
                </a:lnTo>
                <a:lnTo>
                  <a:pt x="4366" y="309"/>
                </a:lnTo>
                <a:lnTo>
                  <a:pt x="4375" y="303"/>
                </a:lnTo>
                <a:lnTo>
                  <a:pt x="4383" y="296"/>
                </a:lnTo>
                <a:lnTo>
                  <a:pt x="4391" y="288"/>
                </a:lnTo>
                <a:lnTo>
                  <a:pt x="4398" y="279"/>
                </a:lnTo>
                <a:lnTo>
                  <a:pt x="4404" y="269"/>
                </a:lnTo>
                <a:lnTo>
                  <a:pt x="4409" y="259"/>
                </a:lnTo>
                <a:lnTo>
                  <a:pt x="4412" y="247"/>
                </a:lnTo>
                <a:lnTo>
                  <a:pt x="4415" y="236"/>
                </a:lnTo>
                <a:lnTo>
                  <a:pt x="4418" y="224"/>
                </a:lnTo>
                <a:lnTo>
                  <a:pt x="4418" y="213"/>
                </a:lnTo>
                <a:lnTo>
                  <a:pt x="4418" y="200"/>
                </a:lnTo>
                <a:lnTo>
                  <a:pt x="4415" y="189"/>
                </a:lnTo>
                <a:lnTo>
                  <a:pt x="4412" y="177"/>
                </a:lnTo>
                <a:lnTo>
                  <a:pt x="4409" y="167"/>
                </a:lnTo>
                <a:lnTo>
                  <a:pt x="4404" y="157"/>
                </a:lnTo>
                <a:lnTo>
                  <a:pt x="4398" y="147"/>
                </a:lnTo>
                <a:lnTo>
                  <a:pt x="4391" y="138"/>
                </a:lnTo>
                <a:lnTo>
                  <a:pt x="4383" y="130"/>
                </a:lnTo>
                <a:lnTo>
                  <a:pt x="4375" y="122"/>
                </a:lnTo>
                <a:lnTo>
                  <a:pt x="4366" y="115"/>
                </a:lnTo>
                <a:lnTo>
                  <a:pt x="4356" y="110"/>
                </a:lnTo>
                <a:lnTo>
                  <a:pt x="4346" y="105"/>
                </a:lnTo>
                <a:lnTo>
                  <a:pt x="4336" y="101"/>
                </a:lnTo>
                <a:lnTo>
                  <a:pt x="4324" y="98"/>
                </a:lnTo>
                <a:lnTo>
                  <a:pt x="4313" y="97"/>
                </a:lnTo>
                <a:lnTo>
                  <a:pt x="4301" y="97"/>
                </a:lnTo>
                <a:lnTo>
                  <a:pt x="4288" y="97"/>
                </a:lnTo>
                <a:lnTo>
                  <a:pt x="4277" y="98"/>
                </a:lnTo>
                <a:lnTo>
                  <a:pt x="4265" y="101"/>
                </a:lnTo>
                <a:lnTo>
                  <a:pt x="4255" y="105"/>
                </a:lnTo>
                <a:lnTo>
                  <a:pt x="4245" y="110"/>
                </a:lnTo>
                <a:lnTo>
                  <a:pt x="4235" y="115"/>
                </a:lnTo>
                <a:lnTo>
                  <a:pt x="4226" y="122"/>
                </a:lnTo>
                <a:lnTo>
                  <a:pt x="4218" y="130"/>
                </a:lnTo>
                <a:lnTo>
                  <a:pt x="4211" y="138"/>
                </a:lnTo>
                <a:lnTo>
                  <a:pt x="4203" y="147"/>
                </a:lnTo>
                <a:lnTo>
                  <a:pt x="4198" y="157"/>
                </a:lnTo>
                <a:lnTo>
                  <a:pt x="4193" y="167"/>
                </a:lnTo>
                <a:lnTo>
                  <a:pt x="4189" y="177"/>
                </a:lnTo>
                <a:lnTo>
                  <a:pt x="4186" y="189"/>
                </a:lnTo>
                <a:lnTo>
                  <a:pt x="4185" y="200"/>
                </a:lnTo>
                <a:lnTo>
                  <a:pt x="4183" y="213"/>
                </a:lnTo>
                <a:lnTo>
                  <a:pt x="4185" y="224"/>
                </a:lnTo>
                <a:lnTo>
                  <a:pt x="4186" y="236"/>
                </a:lnTo>
                <a:lnTo>
                  <a:pt x="4189" y="247"/>
                </a:lnTo>
                <a:lnTo>
                  <a:pt x="4193" y="259"/>
                </a:lnTo>
                <a:lnTo>
                  <a:pt x="4198" y="269"/>
                </a:lnTo>
                <a:lnTo>
                  <a:pt x="4203" y="279"/>
                </a:lnTo>
                <a:lnTo>
                  <a:pt x="4211" y="288"/>
                </a:lnTo>
                <a:lnTo>
                  <a:pt x="4218" y="296"/>
                </a:lnTo>
                <a:lnTo>
                  <a:pt x="4226" y="303"/>
                </a:lnTo>
                <a:lnTo>
                  <a:pt x="4235" y="309"/>
                </a:lnTo>
                <a:lnTo>
                  <a:pt x="4245" y="315"/>
                </a:lnTo>
                <a:lnTo>
                  <a:pt x="4255" y="321"/>
                </a:lnTo>
                <a:lnTo>
                  <a:pt x="4265" y="324"/>
                </a:lnTo>
                <a:lnTo>
                  <a:pt x="4277" y="326"/>
                </a:lnTo>
                <a:lnTo>
                  <a:pt x="4288" y="329"/>
                </a:lnTo>
                <a:lnTo>
                  <a:pt x="4301" y="329"/>
                </a:lnTo>
                <a:close/>
                <a:moveTo>
                  <a:pt x="4032" y="292"/>
                </a:moveTo>
                <a:lnTo>
                  <a:pt x="4032" y="292"/>
                </a:lnTo>
                <a:lnTo>
                  <a:pt x="4025" y="292"/>
                </a:lnTo>
                <a:lnTo>
                  <a:pt x="4016" y="290"/>
                </a:lnTo>
                <a:lnTo>
                  <a:pt x="4009" y="289"/>
                </a:lnTo>
                <a:lnTo>
                  <a:pt x="4002" y="286"/>
                </a:lnTo>
                <a:lnTo>
                  <a:pt x="3995" y="283"/>
                </a:lnTo>
                <a:lnTo>
                  <a:pt x="3987" y="279"/>
                </a:lnTo>
                <a:lnTo>
                  <a:pt x="3982" y="275"/>
                </a:lnTo>
                <a:lnTo>
                  <a:pt x="3976" y="269"/>
                </a:lnTo>
                <a:lnTo>
                  <a:pt x="3972" y="263"/>
                </a:lnTo>
                <a:lnTo>
                  <a:pt x="3967" y="257"/>
                </a:lnTo>
                <a:lnTo>
                  <a:pt x="3963" y="252"/>
                </a:lnTo>
                <a:lnTo>
                  <a:pt x="3960" y="245"/>
                </a:lnTo>
                <a:lnTo>
                  <a:pt x="3957" y="237"/>
                </a:lnTo>
                <a:lnTo>
                  <a:pt x="3956" y="229"/>
                </a:lnTo>
                <a:lnTo>
                  <a:pt x="3954" y="222"/>
                </a:lnTo>
                <a:lnTo>
                  <a:pt x="3953" y="213"/>
                </a:lnTo>
                <a:lnTo>
                  <a:pt x="3954" y="204"/>
                </a:lnTo>
                <a:lnTo>
                  <a:pt x="3956" y="196"/>
                </a:lnTo>
                <a:lnTo>
                  <a:pt x="3957" y="189"/>
                </a:lnTo>
                <a:lnTo>
                  <a:pt x="3960" y="181"/>
                </a:lnTo>
                <a:lnTo>
                  <a:pt x="3963" y="174"/>
                </a:lnTo>
                <a:lnTo>
                  <a:pt x="3967" y="168"/>
                </a:lnTo>
                <a:lnTo>
                  <a:pt x="3972" y="161"/>
                </a:lnTo>
                <a:lnTo>
                  <a:pt x="3976" y="155"/>
                </a:lnTo>
                <a:lnTo>
                  <a:pt x="3982" y="151"/>
                </a:lnTo>
                <a:lnTo>
                  <a:pt x="3987" y="147"/>
                </a:lnTo>
                <a:lnTo>
                  <a:pt x="3995" y="143"/>
                </a:lnTo>
                <a:lnTo>
                  <a:pt x="4002" y="140"/>
                </a:lnTo>
                <a:lnTo>
                  <a:pt x="4009" y="137"/>
                </a:lnTo>
                <a:lnTo>
                  <a:pt x="4016" y="135"/>
                </a:lnTo>
                <a:lnTo>
                  <a:pt x="4025" y="134"/>
                </a:lnTo>
                <a:lnTo>
                  <a:pt x="4032" y="134"/>
                </a:lnTo>
                <a:lnTo>
                  <a:pt x="4041" y="134"/>
                </a:lnTo>
                <a:lnTo>
                  <a:pt x="4049" y="135"/>
                </a:lnTo>
                <a:lnTo>
                  <a:pt x="4057" y="137"/>
                </a:lnTo>
                <a:lnTo>
                  <a:pt x="4064" y="140"/>
                </a:lnTo>
                <a:lnTo>
                  <a:pt x="4071" y="143"/>
                </a:lnTo>
                <a:lnTo>
                  <a:pt x="4077" y="147"/>
                </a:lnTo>
                <a:lnTo>
                  <a:pt x="4082" y="151"/>
                </a:lnTo>
                <a:lnTo>
                  <a:pt x="4088" y="155"/>
                </a:lnTo>
                <a:lnTo>
                  <a:pt x="4094" y="161"/>
                </a:lnTo>
                <a:lnTo>
                  <a:pt x="4098" y="168"/>
                </a:lnTo>
                <a:lnTo>
                  <a:pt x="4103" y="174"/>
                </a:lnTo>
                <a:lnTo>
                  <a:pt x="4106" y="181"/>
                </a:lnTo>
                <a:lnTo>
                  <a:pt x="4108" y="189"/>
                </a:lnTo>
                <a:lnTo>
                  <a:pt x="4110" y="196"/>
                </a:lnTo>
                <a:lnTo>
                  <a:pt x="4111" y="204"/>
                </a:lnTo>
                <a:lnTo>
                  <a:pt x="4111" y="213"/>
                </a:lnTo>
                <a:lnTo>
                  <a:pt x="4111" y="222"/>
                </a:lnTo>
                <a:lnTo>
                  <a:pt x="4110" y="229"/>
                </a:lnTo>
                <a:lnTo>
                  <a:pt x="4108" y="237"/>
                </a:lnTo>
                <a:lnTo>
                  <a:pt x="4106" y="245"/>
                </a:lnTo>
                <a:lnTo>
                  <a:pt x="4103" y="252"/>
                </a:lnTo>
                <a:lnTo>
                  <a:pt x="4098" y="257"/>
                </a:lnTo>
                <a:lnTo>
                  <a:pt x="4094" y="263"/>
                </a:lnTo>
                <a:lnTo>
                  <a:pt x="4088" y="269"/>
                </a:lnTo>
                <a:lnTo>
                  <a:pt x="4082" y="275"/>
                </a:lnTo>
                <a:lnTo>
                  <a:pt x="4077" y="279"/>
                </a:lnTo>
                <a:lnTo>
                  <a:pt x="4071" y="283"/>
                </a:lnTo>
                <a:lnTo>
                  <a:pt x="4064" y="286"/>
                </a:lnTo>
                <a:lnTo>
                  <a:pt x="4057" y="289"/>
                </a:lnTo>
                <a:lnTo>
                  <a:pt x="4049" y="290"/>
                </a:lnTo>
                <a:lnTo>
                  <a:pt x="4041" y="292"/>
                </a:lnTo>
                <a:lnTo>
                  <a:pt x="4032" y="292"/>
                </a:lnTo>
                <a:close/>
                <a:moveTo>
                  <a:pt x="4038" y="97"/>
                </a:moveTo>
                <a:lnTo>
                  <a:pt x="4038" y="97"/>
                </a:lnTo>
                <a:lnTo>
                  <a:pt x="4023" y="97"/>
                </a:lnTo>
                <a:lnTo>
                  <a:pt x="4010" y="99"/>
                </a:lnTo>
                <a:lnTo>
                  <a:pt x="3999" y="102"/>
                </a:lnTo>
                <a:lnTo>
                  <a:pt x="3987" y="108"/>
                </a:lnTo>
                <a:lnTo>
                  <a:pt x="3977" y="114"/>
                </a:lnTo>
                <a:lnTo>
                  <a:pt x="3969" y="121"/>
                </a:lnTo>
                <a:lnTo>
                  <a:pt x="3960" y="130"/>
                </a:lnTo>
                <a:lnTo>
                  <a:pt x="3953" y="140"/>
                </a:lnTo>
                <a:lnTo>
                  <a:pt x="3953" y="13"/>
                </a:lnTo>
                <a:lnTo>
                  <a:pt x="3915" y="13"/>
                </a:lnTo>
                <a:lnTo>
                  <a:pt x="3915" y="324"/>
                </a:lnTo>
                <a:lnTo>
                  <a:pt x="3953" y="324"/>
                </a:lnTo>
                <a:lnTo>
                  <a:pt x="3953" y="285"/>
                </a:lnTo>
                <a:lnTo>
                  <a:pt x="3960" y="295"/>
                </a:lnTo>
                <a:lnTo>
                  <a:pt x="3969" y="303"/>
                </a:lnTo>
                <a:lnTo>
                  <a:pt x="3977" y="311"/>
                </a:lnTo>
                <a:lnTo>
                  <a:pt x="3987" y="318"/>
                </a:lnTo>
                <a:lnTo>
                  <a:pt x="3999" y="322"/>
                </a:lnTo>
                <a:lnTo>
                  <a:pt x="4010" y="326"/>
                </a:lnTo>
                <a:lnTo>
                  <a:pt x="4023" y="328"/>
                </a:lnTo>
                <a:lnTo>
                  <a:pt x="4038" y="329"/>
                </a:lnTo>
                <a:lnTo>
                  <a:pt x="4049" y="329"/>
                </a:lnTo>
                <a:lnTo>
                  <a:pt x="4059" y="326"/>
                </a:lnTo>
                <a:lnTo>
                  <a:pt x="4071" y="324"/>
                </a:lnTo>
                <a:lnTo>
                  <a:pt x="4081" y="321"/>
                </a:lnTo>
                <a:lnTo>
                  <a:pt x="4091" y="315"/>
                </a:lnTo>
                <a:lnTo>
                  <a:pt x="4100" y="309"/>
                </a:lnTo>
                <a:lnTo>
                  <a:pt x="4108" y="303"/>
                </a:lnTo>
                <a:lnTo>
                  <a:pt x="4117" y="296"/>
                </a:lnTo>
                <a:lnTo>
                  <a:pt x="4124" y="288"/>
                </a:lnTo>
                <a:lnTo>
                  <a:pt x="4131" y="279"/>
                </a:lnTo>
                <a:lnTo>
                  <a:pt x="4136" y="269"/>
                </a:lnTo>
                <a:lnTo>
                  <a:pt x="4142" y="259"/>
                </a:lnTo>
                <a:lnTo>
                  <a:pt x="4144" y="247"/>
                </a:lnTo>
                <a:lnTo>
                  <a:pt x="4147" y="236"/>
                </a:lnTo>
                <a:lnTo>
                  <a:pt x="4150" y="224"/>
                </a:lnTo>
                <a:lnTo>
                  <a:pt x="4150" y="213"/>
                </a:lnTo>
                <a:lnTo>
                  <a:pt x="4150" y="200"/>
                </a:lnTo>
                <a:lnTo>
                  <a:pt x="4147" y="189"/>
                </a:lnTo>
                <a:lnTo>
                  <a:pt x="4144" y="177"/>
                </a:lnTo>
                <a:lnTo>
                  <a:pt x="4142" y="167"/>
                </a:lnTo>
                <a:lnTo>
                  <a:pt x="4136" y="157"/>
                </a:lnTo>
                <a:lnTo>
                  <a:pt x="4131" y="147"/>
                </a:lnTo>
                <a:lnTo>
                  <a:pt x="4124" y="138"/>
                </a:lnTo>
                <a:lnTo>
                  <a:pt x="4117" y="130"/>
                </a:lnTo>
                <a:lnTo>
                  <a:pt x="4108" y="122"/>
                </a:lnTo>
                <a:lnTo>
                  <a:pt x="4100" y="115"/>
                </a:lnTo>
                <a:lnTo>
                  <a:pt x="4091" y="110"/>
                </a:lnTo>
                <a:lnTo>
                  <a:pt x="4081" y="105"/>
                </a:lnTo>
                <a:lnTo>
                  <a:pt x="4071" y="101"/>
                </a:lnTo>
                <a:lnTo>
                  <a:pt x="4059" y="98"/>
                </a:lnTo>
                <a:lnTo>
                  <a:pt x="4049" y="97"/>
                </a:lnTo>
                <a:lnTo>
                  <a:pt x="4038" y="97"/>
                </a:lnTo>
                <a:close/>
                <a:moveTo>
                  <a:pt x="3818" y="324"/>
                </a:moveTo>
                <a:lnTo>
                  <a:pt x="3818" y="324"/>
                </a:lnTo>
                <a:lnTo>
                  <a:pt x="3856" y="324"/>
                </a:lnTo>
                <a:lnTo>
                  <a:pt x="3856" y="0"/>
                </a:lnTo>
                <a:lnTo>
                  <a:pt x="3818" y="0"/>
                </a:lnTo>
                <a:lnTo>
                  <a:pt x="3818" y="324"/>
                </a:lnTo>
                <a:close/>
                <a:moveTo>
                  <a:pt x="3720" y="324"/>
                </a:moveTo>
                <a:lnTo>
                  <a:pt x="3720" y="324"/>
                </a:lnTo>
                <a:lnTo>
                  <a:pt x="3758" y="324"/>
                </a:lnTo>
                <a:lnTo>
                  <a:pt x="3758" y="102"/>
                </a:lnTo>
                <a:lnTo>
                  <a:pt x="3720" y="102"/>
                </a:lnTo>
                <a:lnTo>
                  <a:pt x="3720" y="324"/>
                </a:lnTo>
                <a:close/>
                <a:moveTo>
                  <a:pt x="3738" y="62"/>
                </a:moveTo>
                <a:lnTo>
                  <a:pt x="3738" y="62"/>
                </a:lnTo>
                <a:lnTo>
                  <a:pt x="3744" y="61"/>
                </a:lnTo>
                <a:lnTo>
                  <a:pt x="3748" y="59"/>
                </a:lnTo>
                <a:lnTo>
                  <a:pt x="3753" y="58"/>
                </a:lnTo>
                <a:lnTo>
                  <a:pt x="3757" y="54"/>
                </a:lnTo>
                <a:lnTo>
                  <a:pt x="3760" y="51"/>
                </a:lnTo>
                <a:lnTo>
                  <a:pt x="3763" y="46"/>
                </a:lnTo>
                <a:lnTo>
                  <a:pt x="3764" y="41"/>
                </a:lnTo>
                <a:lnTo>
                  <a:pt x="3764" y="36"/>
                </a:lnTo>
                <a:lnTo>
                  <a:pt x="3764" y="31"/>
                </a:lnTo>
                <a:lnTo>
                  <a:pt x="3763" y="26"/>
                </a:lnTo>
                <a:lnTo>
                  <a:pt x="3760" y="22"/>
                </a:lnTo>
                <a:lnTo>
                  <a:pt x="3757" y="18"/>
                </a:lnTo>
                <a:lnTo>
                  <a:pt x="3753" y="15"/>
                </a:lnTo>
                <a:lnTo>
                  <a:pt x="3748" y="12"/>
                </a:lnTo>
                <a:lnTo>
                  <a:pt x="3744" y="10"/>
                </a:lnTo>
                <a:lnTo>
                  <a:pt x="3738" y="9"/>
                </a:lnTo>
                <a:lnTo>
                  <a:pt x="3734" y="10"/>
                </a:lnTo>
                <a:lnTo>
                  <a:pt x="3728" y="12"/>
                </a:lnTo>
                <a:lnTo>
                  <a:pt x="3724" y="15"/>
                </a:lnTo>
                <a:lnTo>
                  <a:pt x="3720" y="18"/>
                </a:lnTo>
                <a:lnTo>
                  <a:pt x="3717" y="22"/>
                </a:lnTo>
                <a:lnTo>
                  <a:pt x="3715" y="26"/>
                </a:lnTo>
                <a:lnTo>
                  <a:pt x="3714" y="31"/>
                </a:lnTo>
                <a:lnTo>
                  <a:pt x="3712" y="36"/>
                </a:lnTo>
                <a:lnTo>
                  <a:pt x="3714" y="41"/>
                </a:lnTo>
                <a:lnTo>
                  <a:pt x="3715" y="46"/>
                </a:lnTo>
                <a:lnTo>
                  <a:pt x="3717" y="51"/>
                </a:lnTo>
                <a:lnTo>
                  <a:pt x="3720" y="54"/>
                </a:lnTo>
                <a:lnTo>
                  <a:pt x="3724" y="58"/>
                </a:lnTo>
                <a:lnTo>
                  <a:pt x="3728" y="59"/>
                </a:lnTo>
                <a:lnTo>
                  <a:pt x="3734" y="61"/>
                </a:lnTo>
                <a:lnTo>
                  <a:pt x="3738" y="62"/>
                </a:lnTo>
                <a:close/>
                <a:moveTo>
                  <a:pt x="3612" y="140"/>
                </a:moveTo>
                <a:lnTo>
                  <a:pt x="3612" y="140"/>
                </a:lnTo>
                <a:lnTo>
                  <a:pt x="3612" y="102"/>
                </a:lnTo>
                <a:lnTo>
                  <a:pt x="3574" y="102"/>
                </a:lnTo>
                <a:lnTo>
                  <a:pt x="3574" y="324"/>
                </a:lnTo>
                <a:lnTo>
                  <a:pt x="3612" y="324"/>
                </a:lnTo>
                <a:lnTo>
                  <a:pt x="3612" y="206"/>
                </a:lnTo>
                <a:lnTo>
                  <a:pt x="3613" y="197"/>
                </a:lnTo>
                <a:lnTo>
                  <a:pt x="3614" y="189"/>
                </a:lnTo>
                <a:lnTo>
                  <a:pt x="3616" y="180"/>
                </a:lnTo>
                <a:lnTo>
                  <a:pt x="3619" y="173"/>
                </a:lnTo>
                <a:lnTo>
                  <a:pt x="3622" y="167"/>
                </a:lnTo>
                <a:lnTo>
                  <a:pt x="3626" y="161"/>
                </a:lnTo>
                <a:lnTo>
                  <a:pt x="3630" y="157"/>
                </a:lnTo>
                <a:lnTo>
                  <a:pt x="3635" y="153"/>
                </a:lnTo>
                <a:lnTo>
                  <a:pt x="3645" y="145"/>
                </a:lnTo>
                <a:lnTo>
                  <a:pt x="3656" y="141"/>
                </a:lnTo>
                <a:lnTo>
                  <a:pt x="3669" y="138"/>
                </a:lnTo>
                <a:lnTo>
                  <a:pt x="3682" y="138"/>
                </a:lnTo>
                <a:lnTo>
                  <a:pt x="3682" y="98"/>
                </a:lnTo>
                <a:lnTo>
                  <a:pt x="3671" y="98"/>
                </a:lnTo>
                <a:lnTo>
                  <a:pt x="3661" y="99"/>
                </a:lnTo>
                <a:lnTo>
                  <a:pt x="3650" y="102"/>
                </a:lnTo>
                <a:lnTo>
                  <a:pt x="3642" y="107"/>
                </a:lnTo>
                <a:lnTo>
                  <a:pt x="3633" y="112"/>
                </a:lnTo>
                <a:lnTo>
                  <a:pt x="3625" y="120"/>
                </a:lnTo>
                <a:lnTo>
                  <a:pt x="3619" y="128"/>
                </a:lnTo>
                <a:lnTo>
                  <a:pt x="3612" y="140"/>
                </a:lnTo>
                <a:close/>
                <a:moveTo>
                  <a:pt x="3410" y="292"/>
                </a:moveTo>
                <a:lnTo>
                  <a:pt x="3410" y="292"/>
                </a:lnTo>
                <a:lnTo>
                  <a:pt x="3401" y="292"/>
                </a:lnTo>
                <a:lnTo>
                  <a:pt x="3394" y="290"/>
                </a:lnTo>
                <a:lnTo>
                  <a:pt x="3386" y="289"/>
                </a:lnTo>
                <a:lnTo>
                  <a:pt x="3378" y="286"/>
                </a:lnTo>
                <a:lnTo>
                  <a:pt x="3371" y="283"/>
                </a:lnTo>
                <a:lnTo>
                  <a:pt x="3365" y="279"/>
                </a:lnTo>
                <a:lnTo>
                  <a:pt x="3360" y="275"/>
                </a:lnTo>
                <a:lnTo>
                  <a:pt x="3354" y="269"/>
                </a:lnTo>
                <a:lnTo>
                  <a:pt x="3348" y="263"/>
                </a:lnTo>
                <a:lnTo>
                  <a:pt x="3344" y="257"/>
                </a:lnTo>
                <a:lnTo>
                  <a:pt x="3339" y="252"/>
                </a:lnTo>
                <a:lnTo>
                  <a:pt x="3337" y="245"/>
                </a:lnTo>
                <a:lnTo>
                  <a:pt x="3334" y="237"/>
                </a:lnTo>
                <a:lnTo>
                  <a:pt x="3332" y="229"/>
                </a:lnTo>
                <a:lnTo>
                  <a:pt x="3331" y="222"/>
                </a:lnTo>
                <a:lnTo>
                  <a:pt x="3331" y="213"/>
                </a:lnTo>
                <a:lnTo>
                  <a:pt x="3331" y="204"/>
                </a:lnTo>
                <a:lnTo>
                  <a:pt x="3332" y="196"/>
                </a:lnTo>
                <a:lnTo>
                  <a:pt x="3334" y="189"/>
                </a:lnTo>
                <a:lnTo>
                  <a:pt x="3337" y="181"/>
                </a:lnTo>
                <a:lnTo>
                  <a:pt x="3339" y="174"/>
                </a:lnTo>
                <a:lnTo>
                  <a:pt x="3344" y="168"/>
                </a:lnTo>
                <a:lnTo>
                  <a:pt x="3348" y="161"/>
                </a:lnTo>
                <a:lnTo>
                  <a:pt x="3354" y="155"/>
                </a:lnTo>
                <a:lnTo>
                  <a:pt x="3360" y="151"/>
                </a:lnTo>
                <a:lnTo>
                  <a:pt x="3365" y="147"/>
                </a:lnTo>
                <a:lnTo>
                  <a:pt x="3371" y="143"/>
                </a:lnTo>
                <a:lnTo>
                  <a:pt x="3378" y="140"/>
                </a:lnTo>
                <a:lnTo>
                  <a:pt x="3386" y="137"/>
                </a:lnTo>
                <a:lnTo>
                  <a:pt x="3394" y="135"/>
                </a:lnTo>
                <a:lnTo>
                  <a:pt x="3401" y="134"/>
                </a:lnTo>
                <a:lnTo>
                  <a:pt x="3410" y="134"/>
                </a:lnTo>
                <a:lnTo>
                  <a:pt x="3419" y="134"/>
                </a:lnTo>
                <a:lnTo>
                  <a:pt x="3426" y="135"/>
                </a:lnTo>
                <a:lnTo>
                  <a:pt x="3433" y="137"/>
                </a:lnTo>
                <a:lnTo>
                  <a:pt x="3442" y="140"/>
                </a:lnTo>
                <a:lnTo>
                  <a:pt x="3447" y="143"/>
                </a:lnTo>
                <a:lnTo>
                  <a:pt x="3455" y="147"/>
                </a:lnTo>
                <a:lnTo>
                  <a:pt x="3460" y="151"/>
                </a:lnTo>
                <a:lnTo>
                  <a:pt x="3466" y="155"/>
                </a:lnTo>
                <a:lnTo>
                  <a:pt x="3470" y="161"/>
                </a:lnTo>
                <a:lnTo>
                  <a:pt x="3475" y="168"/>
                </a:lnTo>
                <a:lnTo>
                  <a:pt x="3479" y="174"/>
                </a:lnTo>
                <a:lnTo>
                  <a:pt x="3482" y="181"/>
                </a:lnTo>
                <a:lnTo>
                  <a:pt x="3485" y="189"/>
                </a:lnTo>
                <a:lnTo>
                  <a:pt x="3488" y="196"/>
                </a:lnTo>
                <a:lnTo>
                  <a:pt x="3488" y="204"/>
                </a:lnTo>
                <a:lnTo>
                  <a:pt x="3489" y="213"/>
                </a:lnTo>
                <a:lnTo>
                  <a:pt x="3488" y="222"/>
                </a:lnTo>
                <a:lnTo>
                  <a:pt x="3488" y="229"/>
                </a:lnTo>
                <a:lnTo>
                  <a:pt x="3485" y="237"/>
                </a:lnTo>
                <a:lnTo>
                  <a:pt x="3482" y="245"/>
                </a:lnTo>
                <a:lnTo>
                  <a:pt x="3479" y="252"/>
                </a:lnTo>
                <a:lnTo>
                  <a:pt x="3475" y="257"/>
                </a:lnTo>
                <a:lnTo>
                  <a:pt x="3470" y="263"/>
                </a:lnTo>
                <a:lnTo>
                  <a:pt x="3466" y="269"/>
                </a:lnTo>
                <a:lnTo>
                  <a:pt x="3460" y="275"/>
                </a:lnTo>
                <a:lnTo>
                  <a:pt x="3455" y="279"/>
                </a:lnTo>
                <a:lnTo>
                  <a:pt x="3447" y="283"/>
                </a:lnTo>
                <a:lnTo>
                  <a:pt x="3442" y="286"/>
                </a:lnTo>
                <a:lnTo>
                  <a:pt x="3433" y="289"/>
                </a:lnTo>
                <a:lnTo>
                  <a:pt x="3426" y="290"/>
                </a:lnTo>
                <a:lnTo>
                  <a:pt x="3419" y="292"/>
                </a:lnTo>
                <a:lnTo>
                  <a:pt x="3410" y="292"/>
                </a:lnTo>
                <a:close/>
                <a:moveTo>
                  <a:pt x="3414" y="97"/>
                </a:moveTo>
                <a:lnTo>
                  <a:pt x="3414" y="97"/>
                </a:lnTo>
                <a:lnTo>
                  <a:pt x="3401" y="97"/>
                </a:lnTo>
                <a:lnTo>
                  <a:pt x="3388" y="99"/>
                </a:lnTo>
                <a:lnTo>
                  <a:pt x="3377" y="102"/>
                </a:lnTo>
                <a:lnTo>
                  <a:pt x="3365" y="108"/>
                </a:lnTo>
                <a:lnTo>
                  <a:pt x="3355" y="114"/>
                </a:lnTo>
                <a:lnTo>
                  <a:pt x="3347" y="121"/>
                </a:lnTo>
                <a:lnTo>
                  <a:pt x="3338" y="130"/>
                </a:lnTo>
                <a:lnTo>
                  <a:pt x="3331" y="140"/>
                </a:lnTo>
                <a:lnTo>
                  <a:pt x="3331" y="102"/>
                </a:lnTo>
                <a:lnTo>
                  <a:pt x="3292" y="102"/>
                </a:lnTo>
                <a:lnTo>
                  <a:pt x="3292" y="413"/>
                </a:lnTo>
                <a:lnTo>
                  <a:pt x="3331" y="413"/>
                </a:lnTo>
                <a:lnTo>
                  <a:pt x="3331" y="285"/>
                </a:lnTo>
                <a:lnTo>
                  <a:pt x="3338" y="295"/>
                </a:lnTo>
                <a:lnTo>
                  <a:pt x="3347" y="303"/>
                </a:lnTo>
                <a:lnTo>
                  <a:pt x="3355" y="311"/>
                </a:lnTo>
                <a:lnTo>
                  <a:pt x="3365" y="318"/>
                </a:lnTo>
                <a:lnTo>
                  <a:pt x="3377" y="322"/>
                </a:lnTo>
                <a:lnTo>
                  <a:pt x="3388" y="326"/>
                </a:lnTo>
                <a:lnTo>
                  <a:pt x="3401" y="328"/>
                </a:lnTo>
                <a:lnTo>
                  <a:pt x="3414" y="329"/>
                </a:lnTo>
                <a:lnTo>
                  <a:pt x="3426" y="329"/>
                </a:lnTo>
                <a:lnTo>
                  <a:pt x="3437" y="326"/>
                </a:lnTo>
                <a:lnTo>
                  <a:pt x="3449" y="324"/>
                </a:lnTo>
                <a:lnTo>
                  <a:pt x="3459" y="321"/>
                </a:lnTo>
                <a:lnTo>
                  <a:pt x="3468" y="315"/>
                </a:lnTo>
                <a:lnTo>
                  <a:pt x="3478" y="309"/>
                </a:lnTo>
                <a:lnTo>
                  <a:pt x="3486" y="303"/>
                </a:lnTo>
                <a:lnTo>
                  <a:pt x="3494" y="296"/>
                </a:lnTo>
                <a:lnTo>
                  <a:pt x="3502" y="288"/>
                </a:lnTo>
                <a:lnTo>
                  <a:pt x="3508" y="279"/>
                </a:lnTo>
                <a:lnTo>
                  <a:pt x="3514" y="269"/>
                </a:lnTo>
                <a:lnTo>
                  <a:pt x="3518" y="259"/>
                </a:lnTo>
                <a:lnTo>
                  <a:pt x="3522" y="247"/>
                </a:lnTo>
                <a:lnTo>
                  <a:pt x="3525" y="236"/>
                </a:lnTo>
                <a:lnTo>
                  <a:pt x="3527" y="224"/>
                </a:lnTo>
                <a:lnTo>
                  <a:pt x="3527" y="213"/>
                </a:lnTo>
                <a:lnTo>
                  <a:pt x="3527" y="200"/>
                </a:lnTo>
                <a:lnTo>
                  <a:pt x="3525" y="189"/>
                </a:lnTo>
                <a:lnTo>
                  <a:pt x="3522" y="177"/>
                </a:lnTo>
                <a:lnTo>
                  <a:pt x="3518" y="167"/>
                </a:lnTo>
                <a:lnTo>
                  <a:pt x="3514" y="157"/>
                </a:lnTo>
                <a:lnTo>
                  <a:pt x="3508" y="147"/>
                </a:lnTo>
                <a:lnTo>
                  <a:pt x="3502" y="138"/>
                </a:lnTo>
                <a:lnTo>
                  <a:pt x="3494" y="130"/>
                </a:lnTo>
                <a:lnTo>
                  <a:pt x="3486" y="122"/>
                </a:lnTo>
                <a:lnTo>
                  <a:pt x="3478" y="115"/>
                </a:lnTo>
                <a:lnTo>
                  <a:pt x="3468" y="110"/>
                </a:lnTo>
                <a:lnTo>
                  <a:pt x="3459" y="105"/>
                </a:lnTo>
                <a:lnTo>
                  <a:pt x="3449" y="101"/>
                </a:lnTo>
                <a:lnTo>
                  <a:pt x="3437" y="98"/>
                </a:lnTo>
                <a:lnTo>
                  <a:pt x="3426" y="97"/>
                </a:lnTo>
                <a:lnTo>
                  <a:pt x="3414" y="97"/>
                </a:lnTo>
                <a:close/>
                <a:moveTo>
                  <a:pt x="3122" y="161"/>
                </a:moveTo>
                <a:lnTo>
                  <a:pt x="3122" y="161"/>
                </a:lnTo>
                <a:lnTo>
                  <a:pt x="3123" y="154"/>
                </a:lnTo>
                <a:lnTo>
                  <a:pt x="3125" y="148"/>
                </a:lnTo>
                <a:lnTo>
                  <a:pt x="3129" y="144"/>
                </a:lnTo>
                <a:lnTo>
                  <a:pt x="3134" y="140"/>
                </a:lnTo>
                <a:lnTo>
                  <a:pt x="3141" y="137"/>
                </a:lnTo>
                <a:lnTo>
                  <a:pt x="3146" y="134"/>
                </a:lnTo>
                <a:lnTo>
                  <a:pt x="3154" y="133"/>
                </a:lnTo>
                <a:lnTo>
                  <a:pt x="3161" y="133"/>
                </a:lnTo>
                <a:lnTo>
                  <a:pt x="3168" y="133"/>
                </a:lnTo>
                <a:lnTo>
                  <a:pt x="3175" y="134"/>
                </a:lnTo>
                <a:lnTo>
                  <a:pt x="3182" y="135"/>
                </a:lnTo>
                <a:lnTo>
                  <a:pt x="3190" y="138"/>
                </a:lnTo>
                <a:lnTo>
                  <a:pt x="3195" y="143"/>
                </a:lnTo>
                <a:lnTo>
                  <a:pt x="3201" y="147"/>
                </a:lnTo>
                <a:lnTo>
                  <a:pt x="3206" y="154"/>
                </a:lnTo>
                <a:lnTo>
                  <a:pt x="3208" y="160"/>
                </a:lnTo>
                <a:lnTo>
                  <a:pt x="3242" y="143"/>
                </a:lnTo>
                <a:lnTo>
                  <a:pt x="3236" y="133"/>
                </a:lnTo>
                <a:lnTo>
                  <a:pt x="3229" y="122"/>
                </a:lnTo>
                <a:lnTo>
                  <a:pt x="3220" y="115"/>
                </a:lnTo>
                <a:lnTo>
                  <a:pt x="3210" y="108"/>
                </a:lnTo>
                <a:lnTo>
                  <a:pt x="3200" y="104"/>
                </a:lnTo>
                <a:lnTo>
                  <a:pt x="3187" y="99"/>
                </a:lnTo>
                <a:lnTo>
                  <a:pt x="3175" y="97"/>
                </a:lnTo>
                <a:lnTo>
                  <a:pt x="3161" y="97"/>
                </a:lnTo>
                <a:lnTo>
                  <a:pt x="3145" y="98"/>
                </a:lnTo>
                <a:lnTo>
                  <a:pt x="3131" y="101"/>
                </a:lnTo>
                <a:lnTo>
                  <a:pt x="3116" y="107"/>
                </a:lnTo>
                <a:lnTo>
                  <a:pt x="3105" y="114"/>
                </a:lnTo>
                <a:lnTo>
                  <a:pt x="3100" y="120"/>
                </a:lnTo>
                <a:lnTo>
                  <a:pt x="3096" y="124"/>
                </a:lnTo>
                <a:lnTo>
                  <a:pt x="3092" y="130"/>
                </a:lnTo>
                <a:lnTo>
                  <a:pt x="3089" y="135"/>
                </a:lnTo>
                <a:lnTo>
                  <a:pt x="3086" y="141"/>
                </a:lnTo>
                <a:lnTo>
                  <a:pt x="3085" y="148"/>
                </a:lnTo>
                <a:lnTo>
                  <a:pt x="3083" y="155"/>
                </a:lnTo>
                <a:lnTo>
                  <a:pt x="3083" y="163"/>
                </a:lnTo>
                <a:lnTo>
                  <a:pt x="3083" y="170"/>
                </a:lnTo>
                <a:lnTo>
                  <a:pt x="3085" y="176"/>
                </a:lnTo>
                <a:lnTo>
                  <a:pt x="3086" y="181"/>
                </a:lnTo>
                <a:lnTo>
                  <a:pt x="3087" y="187"/>
                </a:lnTo>
                <a:lnTo>
                  <a:pt x="3095" y="197"/>
                </a:lnTo>
                <a:lnTo>
                  <a:pt x="3102" y="206"/>
                </a:lnTo>
                <a:lnTo>
                  <a:pt x="3112" y="211"/>
                </a:lnTo>
                <a:lnTo>
                  <a:pt x="3122" y="217"/>
                </a:lnTo>
                <a:lnTo>
                  <a:pt x="3134" y="222"/>
                </a:lnTo>
                <a:lnTo>
                  <a:pt x="3145" y="224"/>
                </a:lnTo>
                <a:lnTo>
                  <a:pt x="3168" y="232"/>
                </a:lnTo>
                <a:lnTo>
                  <a:pt x="3188" y="239"/>
                </a:lnTo>
                <a:lnTo>
                  <a:pt x="3195" y="243"/>
                </a:lnTo>
                <a:lnTo>
                  <a:pt x="3201" y="249"/>
                </a:lnTo>
                <a:lnTo>
                  <a:pt x="3204" y="252"/>
                </a:lnTo>
                <a:lnTo>
                  <a:pt x="3206" y="255"/>
                </a:lnTo>
                <a:lnTo>
                  <a:pt x="3207" y="259"/>
                </a:lnTo>
                <a:lnTo>
                  <a:pt x="3207" y="263"/>
                </a:lnTo>
                <a:lnTo>
                  <a:pt x="3207" y="270"/>
                </a:lnTo>
                <a:lnTo>
                  <a:pt x="3204" y="276"/>
                </a:lnTo>
                <a:lnTo>
                  <a:pt x="3200" y="282"/>
                </a:lnTo>
                <a:lnTo>
                  <a:pt x="3194" y="286"/>
                </a:lnTo>
                <a:lnTo>
                  <a:pt x="3188" y="289"/>
                </a:lnTo>
                <a:lnTo>
                  <a:pt x="3180" y="292"/>
                </a:lnTo>
                <a:lnTo>
                  <a:pt x="3172" y="292"/>
                </a:lnTo>
                <a:lnTo>
                  <a:pt x="3164" y="293"/>
                </a:lnTo>
                <a:lnTo>
                  <a:pt x="3154" y="292"/>
                </a:lnTo>
                <a:lnTo>
                  <a:pt x="3144" y="290"/>
                </a:lnTo>
                <a:lnTo>
                  <a:pt x="3135" y="288"/>
                </a:lnTo>
                <a:lnTo>
                  <a:pt x="3128" y="283"/>
                </a:lnTo>
                <a:lnTo>
                  <a:pt x="3122" y="279"/>
                </a:lnTo>
                <a:lnTo>
                  <a:pt x="3116" y="273"/>
                </a:lnTo>
                <a:lnTo>
                  <a:pt x="3112" y="266"/>
                </a:lnTo>
                <a:lnTo>
                  <a:pt x="3108" y="259"/>
                </a:lnTo>
                <a:lnTo>
                  <a:pt x="3074" y="278"/>
                </a:lnTo>
                <a:lnTo>
                  <a:pt x="3080" y="289"/>
                </a:lnTo>
                <a:lnTo>
                  <a:pt x="3087" y="299"/>
                </a:lnTo>
                <a:lnTo>
                  <a:pt x="3096" y="308"/>
                </a:lnTo>
                <a:lnTo>
                  <a:pt x="3108" y="315"/>
                </a:lnTo>
                <a:lnTo>
                  <a:pt x="3119" y="321"/>
                </a:lnTo>
                <a:lnTo>
                  <a:pt x="3132" y="325"/>
                </a:lnTo>
                <a:lnTo>
                  <a:pt x="3148" y="328"/>
                </a:lnTo>
                <a:lnTo>
                  <a:pt x="3164" y="329"/>
                </a:lnTo>
                <a:lnTo>
                  <a:pt x="3181" y="328"/>
                </a:lnTo>
                <a:lnTo>
                  <a:pt x="3197" y="325"/>
                </a:lnTo>
                <a:lnTo>
                  <a:pt x="3210" y="319"/>
                </a:lnTo>
                <a:lnTo>
                  <a:pt x="3223" y="312"/>
                </a:lnTo>
                <a:lnTo>
                  <a:pt x="3229" y="306"/>
                </a:lnTo>
                <a:lnTo>
                  <a:pt x="3233" y="302"/>
                </a:lnTo>
                <a:lnTo>
                  <a:pt x="3237" y="296"/>
                </a:lnTo>
                <a:lnTo>
                  <a:pt x="3240" y="290"/>
                </a:lnTo>
                <a:lnTo>
                  <a:pt x="3243" y="285"/>
                </a:lnTo>
                <a:lnTo>
                  <a:pt x="3244" y="278"/>
                </a:lnTo>
                <a:lnTo>
                  <a:pt x="3246" y="270"/>
                </a:lnTo>
                <a:lnTo>
                  <a:pt x="3246" y="263"/>
                </a:lnTo>
                <a:lnTo>
                  <a:pt x="3246" y="256"/>
                </a:lnTo>
                <a:lnTo>
                  <a:pt x="3244" y="249"/>
                </a:lnTo>
                <a:lnTo>
                  <a:pt x="3243" y="243"/>
                </a:lnTo>
                <a:lnTo>
                  <a:pt x="3242" y="237"/>
                </a:lnTo>
                <a:lnTo>
                  <a:pt x="3234" y="227"/>
                </a:lnTo>
                <a:lnTo>
                  <a:pt x="3227" y="219"/>
                </a:lnTo>
                <a:lnTo>
                  <a:pt x="3217" y="213"/>
                </a:lnTo>
                <a:lnTo>
                  <a:pt x="3207" y="207"/>
                </a:lnTo>
                <a:lnTo>
                  <a:pt x="3195" y="203"/>
                </a:lnTo>
                <a:lnTo>
                  <a:pt x="3184" y="200"/>
                </a:lnTo>
                <a:lnTo>
                  <a:pt x="3161" y="193"/>
                </a:lnTo>
                <a:lnTo>
                  <a:pt x="3141" y="186"/>
                </a:lnTo>
                <a:lnTo>
                  <a:pt x="3134" y="181"/>
                </a:lnTo>
                <a:lnTo>
                  <a:pt x="3128" y="177"/>
                </a:lnTo>
                <a:lnTo>
                  <a:pt x="3125" y="173"/>
                </a:lnTo>
                <a:lnTo>
                  <a:pt x="3123" y="170"/>
                </a:lnTo>
                <a:lnTo>
                  <a:pt x="3122" y="166"/>
                </a:lnTo>
                <a:lnTo>
                  <a:pt x="3122" y="161"/>
                </a:lnTo>
                <a:close/>
                <a:moveTo>
                  <a:pt x="2949" y="97"/>
                </a:moveTo>
                <a:lnTo>
                  <a:pt x="2949" y="97"/>
                </a:lnTo>
                <a:lnTo>
                  <a:pt x="2938" y="97"/>
                </a:lnTo>
                <a:lnTo>
                  <a:pt x="2926" y="98"/>
                </a:lnTo>
                <a:lnTo>
                  <a:pt x="2916" y="101"/>
                </a:lnTo>
                <a:lnTo>
                  <a:pt x="2907" y="105"/>
                </a:lnTo>
                <a:lnTo>
                  <a:pt x="2899" y="111"/>
                </a:lnTo>
                <a:lnTo>
                  <a:pt x="2890" y="117"/>
                </a:lnTo>
                <a:lnTo>
                  <a:pt x="2883" y="125"/>
                </a:lnTo>
                <a:lnTo>
                  <a:pt x="2877" y="134"/>
                </a:lnTo>
                <a:lnTo>
                  <a:pt x="2877" y="102"/>
                </a:lnTo>
                <a:lnTo>
                  <a:pt x="2838" y="102"/>
                </a:lnTo>
                <a:lnTo>
                  <a:pt x="2838" y="324"/>
                </a:lnTo>
                <a:lnTo>
                  <a:pt x="2877" y="324"/>
                </a:lnTo>
                <a:lnTo>
                  <a:pt x="2877" y="206"/>
                </a:lnTo>
                <a:lnTo>
                  <a:pt x="2877" y="189"/>
                </a:lnTo>
                <a:lnTo>
                  <a:pt x="2882" y="173"/>
                </a:lnTo>
                <a:lnTo>
                  <a:pt x="2884" y="166"/>
                </a:lnTo>
                <a:lnTo>
                  <a:pt x="2887" y="160"/>
                </a:lnTo>
                <a:lnTo>
                  <a:pt x="2892" y="154"/>
                </a:lnTo>
                <a:lnTo>
                  <a:pt x="2896" y="150"/>
                </a:lnTo>
                <a:lnTo>
                  <a:pt x="2905" y="143"/>
                </a:lnTo>
                <a:lnTo>
                  <a:pt x="2916" y="137"/>
                </a:lnTo>
                <a:lnTo>
                  <a:pt x="2928" y="134"/>
                </a:lnTo>
                <a:lnTo>
                  <a:pt x="2941" y="133"/>
                </a:lnTo>
                <a:lnTo>
                  <a:pt x="2954" y="134"/>
                </a:lnTo>
                <a:lnTo>
                  <a:pt x="2964" y="137"/>
                </a:lnTo>
                <a:lnTo>
                  <a:pt x="2974" y="141"/>
                </a:lnTo>
                <a:lnTo>
                  <a:pt x="2981" y="148"/>
                </a:lnTo>
                <a:lnTo>
                  <a:pt x="2988" y="155"/>
                </a:lnTo>
                <a:lnTo>
                  <a:pt x="2992" y="166"/>
                </a:lnTo>
                <a:lnTo>
                  <a:pt x="2995" y="177"/>
                </a:lnTo>
                <a:lnTo>
                  <a:pt x="2997" y="190"/>
                </a:lnTo>
                <a:lnTo>
                  <a:pt x="2997" y="324"/>
                </a:lnTo>
                <a:lnTo>
                  <a:pt x="3034" y="324"/>
                </a:lnTo>
                <a:lnTo>
                  <a:pt x="3034" y="187"/>
                </a:lnTo>
                <a:lnTo>
                  <a:pt x="3034" y="177"/>
                </a:lnTo>
                <a:lnTo>
                  <a:pt x="3033" y="167"/>
                </a:lnTo>
                <a:lnTo>
                  <a:pt x="3031" y="158"/>
                </a:lnTo>
                <a:lnTo>
                  <a:pt x="3028" y="150"/>
                </a:lnTo>
                <a:lnTo>
                  <a:pt x="3026" y="141"/>
                </a:lnTo>
                <a:lnTo>
                  <a:pt x="3021" y="134"/>
                </a:lnTo>
                <a:lnTo>
                  <a:pt x="3017" y="127"/>
                </a:lnTo>
                <a:lnTo>
                  <a:pt x="3011" y="121"/>
                </a:lnTo>
                <a:lnTo>
                  <a:pt x="3005" y="115"/>
                </a:lnTo>
                <a:lnTo>
                  <a:pt x="2998" y="110"/>
                </a:lnTo>
                <a:lnTo>
                  <a:pt x="2991" y="105"/>
                </a:lnTo>
                <a:lnTo>
                  <a:pt x="2984" y="102"/>
                </a:lnTo>
                <a:lnTo>
                  <a:pt x="2975" y="99"/>
                </a:lnTo>
                <a:lnTo>
                  <a:pt x="2968" y="98"/>
                </a:lnTo>
                <a:lnTo>
                  <a:pt x="2958" y="97"/>
                </a:lnTo>
                <a:lnTo>
                  <a:pt x="2949" y="97"/>
                </a:lnTo>
                <a:close/>
                <a:moveTo>
                  <a:pt x="2683" y="133"/>
                </a:moveTo>
                <a:lnTo>
                  <a:pt x="2683" y="133"/>
                </a:lnTo>
                <a:lnTo>
                  <a:pt x="2696" y="134"/>
                </a:lnTo>
                <a:lnTo>
                  <a:pt x="2707" y="137"/>
                </a:lnTo>
                <a:lnTo>
                  <a:pt x="2719" y="141"/>
                </a:lnTo>
                <a:lnTo>
                  <a:pt x="2729" y="148"/>
                </a:lnTo>
                <a:lnTo>
                  <a:pt x="2738" y="157"/>
                </a:lnTo>
                <a:lnTo>
                  <a:pt x="2745" y="168"/>
                </a:lnTo>
                <a:lnTo>
                  <a:pt x="2750" y="181"/>
                </a:lnTo>
                <a:lnTo>
                  <a:pt x="2755" y="197"/>
                </a:lnTo>
                <a:lnTo>
                  <a:pt x="2606" y="197"/>
                </a:lnTo>
                <a:lnTo>
                  <a:pt x="2609" y="183"/>
                </a:lnTo>
                <a:lnTo>
                  <a:pt x="2615" y="170"/>
                </a:lnTo>
                <a:lnTo>
                  <a:pt x="2622" y="160"/>
                </a:lnTo>
                <a:lnTo>
                  <a:pt x="2631" y="150"/>
                </a:lnTo>
                <a:lnTo>
                  <a:pt x="2641" y="143"/>
                </a:lnTo>
                <a:lnTo>
                  <a:pt x="2654" y="137"/>
                </a:lnTo>
                <a:lnTo>
                  <a:pt x="2668" y="134"/>
                </a:lnTo>
                <a:lnTo>
                  <a:pt x="2683" y="133"/>
                </a:lnTo>
                <a:close/>
                <a:moveTo>
                  <a:pt x="2606" y="230"/>
                </a:moveTo>
                <a:lnTo>
                  <a:pt x="2606" y="230"/>
                </a:lnTo>
                <a:lnTo>
                  <a:pt x="2792" y="230"/>
                </a:lnTo>
                <a:lnTo>
                  <a:pt x="2794" y="222"/>
                </a:lnTo>
                <a:lnTo>
                  <a:pt x="2794" y="213"/>
                </a:lnTo>
                <a:lnTo>
                  <a:pt x="2792" y="201"/>
                </a:lnTo>
                <a:lnTo>
                  <a:pt x="2791" y="190"/>
                </a:lnTo>
                <a:lnTo>
                  <a:pt x="2789" y="180"/>
                </a:lnTo>
                <a:lnTo>
                  <a:pt x="2785" y="168"/>
                </a:lnTo>
                <a:lnTo>
                  <a:pt x="2781" y="158"/>
                </a:lnTo>
                <a:lnTo>
                  <a:pt x="2776" y="148"/>
                </a:lnTo>
                <a:lnTo>
                  <a:pt x="2771" y="140"/>
                </a:lnTo>
                <a:lnTo>
                  <a:pt x="2763" y="131"/>
                </a:lnTo>
                <a:lnTo>
                  <a:pt x="2756" y="124"/>
                </a:lnTo>
                <a:lnTo>
                  <a:pt x="2748" y="117"/>
                </a:lnTo>
                <a:lnTo>
                  <a:pt x="2738" y="111"/>
                </a:lnTo>
                <a:lnTo>
                  <a:pt x="2729" y="105"/>
                </a:lnTo>
                <a:lnTo>
                  <a:pt x="2717" y="101"/>
                </a:lnTo>
                <a:lnTo>
                  <a:pt x="2707" y="98"/>
                </a:lnTo>
                <a:lnTo>
                  <a:pt x="2696" y="97"/>
                </a:lnTo>
                <a:lnTo>
                  <a:pt x="2683" y="97"/>
                </a:lnTo>
                <a:lnTo>
                  <a:pt x="2670" y="97"/>
                </a:lnTo>
                <a:lnTo>
                  <a:pt x="2658" y="98"/>
                </a:lnTo>
                <a:lnTo>
                  <a:pt x="2647" y="101"/>
                </a:lnTo>
                <a:lnTo>
                  <a:pt x="2635" y="105"/>
                </a:lnTo>
                <a:lnTo>
                  <a:pt x="2625" y="110"/>
                </a:lnTo>
                <a:lnTo>
                  <a:pt x="2615" y="115"/>
                </a:lnTo>
                <a:lnTo>
                  <a:pt x="2606" y="122"/>
                </a:lnTo>
                <a:lnTo>
                  <a:pt x="2598" y="130"/>
                </a:lnTo>
                <a:lnTo>
                  <a:pt x="2591" y="138"/>
                </a:lnTo>
                <a:lnTo>
                  <a:pt x="2585" y="147"/>
                </a:lnTo>
                <a:lnTo>
                  <a:pt x="2579" y="157"/>
                </a:lnTo>
                <a:lnTo>
                  <a:pt x="2575" y="167"/>
                </a:lnTo>
                <a:lnTo>
                  <a:pt x="2570" y="177"/>
                </a:lnTo>
                <a:lnTo>
                  <a:pt x="2569" y="189"/>
                </a:lnTo>
                <a:lnTo>
                  <a:pt x="2566" y="200"/>
                </a:lnTo>
                <a:lnTo>
                  <a:pt x="2566" y="213"/>
                </a:lnTo>
                <a:lnTo>
                  <a:pt x="2566" y="224"/>
                </a:lnTo>
                <a:lnTo>
                  <a:pt x="2569" y="237"/>
                </a:lnTo>
                <a:lnTo>
                  <a:pt x="2570" y="249"/>
                </a:lnTo>
                <a:lnTo>
                  <a:pt x="2575" y="259"/>
                </a:lnTo>
                <a:lnTo>
                  <a:pt x="2579" y="269"/>
                </a:lnTo>
                <a:lnTo>
                  <a:pt x="2585" y="279"/>
                </a:lnTo>
                <a:lnTo>
                  <a:pt x="2592" y="288"/>
                </a:lnTo>
                <a:lnTo>
                  <a:pt x="2599" y="296"/>
                </a:lnTo>
                <a:lnTo>
                  <a:pt x="2608" y="303"/>
                </a:lnTo>
                <a:lnTo>
                  <a:pt x="2617" y="311"/>
                </a:lnTo>
                <a:lnTo>
                  <a:pt x="2627" y="316"/>
                </a:lnTo>
                <a:lnTo>
                  <a:pt x="2637" y="321"/>
                </a:lnTo>
                <a:lnTo>
                  <a:pt x="2648" y="324"/>
                </a:lnTo>
                <a:lnTo>
                  <a:pt x="2660" y="326"/>
                </a:lnTo>
                <a:lnTo>
                  <a:pt x="2673" y="329"/>
                </a:lnTo>
                <a:lnTo>
                  <a:pt x="2686" y="329"/>
                </a:lnTo>
                <a:lnTo>
                  <a:pt x="2702" y="328"/>
                </a:lnTo>
                <a:lnTo>
                  <a:pt x="2717" y="326"/>
                </a:lnTo>
                <a:lnTo>
                  <a:pt x="2730" y="322"/>
                </a:lnTo>
                <a:lnTo>
                  <a:pt x="2743" y="315"/>
                </a:lnTo>
                <a:lnTo>
                  <a:pt x="2755" y="308"/>
                </a:lnTo>
                <a:lnTo>
                  <a:pt x="2766" y="299"/>
                </a:lnTo>
                <a:lnTo>
                  <a:pt x="2775" y="290"/>
                </a:lnTo>
                <a:lnTo>
                  <a:pt x="2784" y="279"/>
                </a:lnTo>
                <a:lnTo>
                  <a:pt x="2750" y="260"/>
                </a:lnTo>
                <a:lnTo>
                  <a:pt x="2746" y="267"/>
                </a:lnTo>
                <a:lnTo>
                  <a:pt x="2740" y="273"/>
                </a:lnTo>
                <a:lnTo>
                  <a:pt x="2733" y="279"/>
                </a:lnTo>
                <a:lnTo>
                  <a:pt x="2726" y="283"/>
                </a:lnTo>
                <a:lnTo>
                  <a:pt x="2717" y="288"/>
                </a:lnTo>
                <a:lnTo>
                  <a:pt x="2707" y="290"/>
                </a:lnTo>
                <a:lnTo>
                  <a:pt x="2697" y="292"/>
                </a:lnTo>
                <a:lnTo>
                  <a:pt x="2686" y="293"/>
                </a:lnTo>
                <a:lnTo>
                  <a:pt x="2671" y="292"/>
                </a:lnTo>
                <a:lnTo>
                  <a:pt x="2657" y="289"/>
                </a:lnTo>
                <a:lnTo>
                  <a:pt x="2645" y="283"/>
                </a:lnTo>
                <a:lnTo>
                  <a:pt x="2634" y="276"/>
                </a:lnTo>
                <a:lnTo>
                  <a:pt x="2624" y="267"/>
                </a:lnTo>
                <a:lnTo>
                  <a:pt x="2615" y="257"/>
                </a:lnTo>
                <a:lnTo>
                  <a:pt x="2609" y="245"/>
                </a:lnTo>
                <a:lnTo>
                  <a:pt x="2606" y="230"/>
                </a:lnTo>
                <a:close/>
                <a:moveTo>
                  <a:pt x="2481" y="336"/>
                </a:moveTo>
                <a:lnTo>
                  <a:pt x="2481" y="336"/>
                </a:lnTo>
                <a:lnTo>
                  <a:pt x="2481" y="349"/>
                </a:lnTo>
                <a:lnTo>
                  <a:pt x="2478" y="358"/>
                </a:lnTo>
                <a:lnTo>
                  <a:pt x="2475" y="367"/>
                </a:lnTo>
                <a:lnTo>
                  <a:pt x="2470" y="372"/>
                </a:lnTo>
                <a:lnTo>
                  <a:pt x="2464" y="377"/>
                </a:lnTo>
                <a:lnTo>
                  <a:pt x="2455" y="380"/>
                </a:lnTo>
                <a:lnTo>
                  <a:pt x="2445" y="381"/>
                </a:lnTo>
                <a:lnTo>
                  <a:pt x="2434" y="381"/>
                </a:lnTo>
                <a:lnTo>
                  <a:pt x="2434" y="418"/>
                </a:lnTo>
                <a:lnTo>
                  <a:pt x="2444" y="418"/>
                </a:lnTo>
                <a:lnTo>
                  <a:pt x="2454" y="418"/>
                </a:lnTo>
                <a:lnTo>
                  <a:pt x="2462" y="417"/>
                </a:lnTo>
                <a:lnTo>
                  <a:pt x="2471" y="415"/>
                </a:lnTo>
                <a:lnTo>
                  <a:pt x="2478" y="413"/>
                </a:lnTo>
                <a:lnTo>
                  <a:pt x="2486" y="410"/>
                </a:lnTo>
                <a:lnTo>
                  <a:pt x="2493" y="405"/>
                </a:lnTo>
                <a:lnTo>
                  <a:pt x="2498" y="400"/>
                </a:lnTo>
                <a:lnTo>
                  <a:pt x="2503" y="395"/>
                </a:lnTo>
                <a:lnTo>
                  <a:pt x="2507" y="388"/>
                </a:lnTo>
                <a:lnTo>
                  <a:pt x="2511" y="382"/>
                </a:lnTo>
                <a:lnTo>
                  <a:pt x="2514" y="374"/>
                </a:lnTo>
                <a:lnTo>
                  <a:pt x="2517" y="365"/>
                </a:lnTo>
                <a:lnTo>
                  <a:pt x="2519" y="357"/>
                </a:lnTo>
                <a:lnTo>
                  <a:pt x="2520" y="346"/>
                </a:lnTo>
                <a:lnTo>
                  <a:pt x="2520" y="336"/>
                </a:lnTo>
                <a:lnTo>
                  <a:pt x="2520" y="102"/>
                </a:lnTo>
                <a:lnTo>
                  <a:pt x="2481" y="102"/>
                </a:lnTo>
                <a:lnTo>
                  <a:pt x="2481" y="336"/>
                </a:lnTo>
                <a:close/>
                <a:moveTo>
                  <a:pt x="2501" y="62"/>
                </a:moveTo>
                <a:lnTo>
                  <a:pt x="2501" y="62"/>
                </a:lnTo>
                <a:lnTo>
                  <a:pt x="2506" y="61"/>
                </a:lnTo>
                <a:lnTo>
                  <a:pt x="2511" y="59"/>
                </a:lnTo>
                <a:lnTo>
                  <a:pt x="2516" y="58"/>
                </a:lnTo>
                <a:lnTo>
                  <a:pt x="2519" y="54"/>
                </a:lnTo>
                <a:lnTo>
                  <a:pt x="2523" y="51"/>
                </a:lnTo>
                <a:lnTo>
                  <a:pt x="2524" y="46"/>
                </a:lnTo>
                <a:lnTo>
                  <a:pt x="2526" y="41"/>
                </a:lnTo>
                <a:lnTo>
                  <a:pt x="2527" y="36"/>
                </a:lnTo>
                <a:lnTo>
                  <a:pt x="2526" y="31"/>
                </a:lnTo>
                <a:lnTo>
                  <a:pt x="2524" y="26"/>
                </a:lnTo>
                <a:lnTo>
                  <a:pt x="2523" y="22"/>
                </a:lnTo>
                <a:lnTo>
                  <a:pt x="2519" y="18"/>
                </a:lnTo>
                <a:lnTo>
                  <a:pt x="2516" y="15"/>
                </a:lnTo>
                <a:lnTo>
                  <a:pt x="2511" y="12"/>
                </a:lnTo>
                <a:lnTo>
                  <a:pt x="2506" y="10"/>
                </a:lnTo>
                <a:lnTo>
                  <a:pt x="2501" y="9"/>
                </a:lnTo>
                <a:lnTo>
                  <a:pt x="2496" y="10"/>
                </a:lnTo>
                <a:lnTo>
                  <a:pt x="2491" y="12"/>
                </a:lnTo>
                <a:lnTo>
                  <a:pt x="2486" y="15"/>
                </a:lnTo>
                <a:lnTo>
                  <a:pt x="2483" y="18"/>
                </a:lnTo>
                <a:lnTo>
                  <a:pt x="2480" y="22"/>
                </a:lnTo>
                <a:lnTo>
                  <a:pt x="2477" y="26"/>
                </a:lnTo>
                <a:lnTo>
                  <a:pt x="2475" y="31"/>
                </a:lnTo>
                <a:lnTo>
                  <a:pt x="2475" y="36"/>
                </a:lnTo>
                <a:lnTo>
                  <a:pt x="2475" y="41"/>
                </a:lnTo>
                <a:lnTo>
                  <a:pt x="2477" y="46"/>
                </a:lnTo>
                <a:lnTo>
                  <a:pt x="2480" y="51"/>
                </a:lnTo>
                <a:lnTo>
                  <a:pt x="2483" y="54"/>
                </a:lnTo>
                <a:lnTo>
                  <a:pt x="2486" y="58"/>
                </a:lnTo>
                <a:lnTo>
                  <a:pt x="2491" y="59"/>
                </a:lnTo>
                <a:lnTo>
                  <a:pt x="2496" y="61"/>
                </a:lnTo>
                <a:lnTo>
                  <a:pt x="2501" y="62"/>
                </a:lnTo>
                <a:close/>
                <a:moveTo>
                  <a:pt x="2318" y="133"/>
                </a:moveTo>
                <a:lnTo>
                  <a:pt x="2318" y="133"/>
                </a:lnTo>
                <a:lnTo>
                  <a:pt x="2331" y="134"/>
                </a:lnTo>
                <a:lnTo>
                  <a:pt x="2343" y="137"/>
                </a:lnTo>
                <a:lnTo>
                  <a:pt x="2354" y="141"/>
                </a:lnTo>
                <a:lnTo>
                  <a:pt x="2365" y="148"/>
                </a:lnTo>
                <a:lnTo>
                  <a:pt x="2373" y="157"/>
                </a:lnTo>
                <a:lnTo>
                  <a:pt x="2380" y="168"/>
                </a:lnTo>
                <a:lnTo>
                  <a:pt x="2386" y="181"/>
                </a:lnTo>
                <a:lnTo>
                  <a:pt x="2390" y="197"/>
                </a:lnTo>
                <a:lnTo>
                  <a:pt x="2242" y="197"/>
                </a:lnTo>
                <a:lnTo>
                  <a:pt x="2245" y="183"/>
                </a:lnTo>
                <a:lnTo>
                  <a:pt x="2251" y="170"/>
                </a:lnTo>
                <a:lnTo>
                  <a:pt x="2258" y="160"/>
                </a:lnTo>
                <a:lnTo>
                  <a:pt x="2267" y="150"/>
                </a:lnTo>
                <a:lnTo>
                  <a:pt x="2278" y="143"/>
                </a:lnTo>
                <a:lnTo>
                  <a:pt x="2290" y="137"/>
                </a:lnTo>
                <a:lnTo>
                  <a:pt x="2304" y="134"/>
                </a:lnTo>
                <a:lnTo>
                  <a:pt x="2318" y="133"/>
                </a:lnTo>
                <a:close/>
                <a:moveTo>
                  <a:pt x="2242" y="230"/>
                </a:moveTo>
                <a:lnTo>
                  <a:pt x="2242" y="230"/>
                </a:lnTo>
                <a:lnTo>
                  <a:pt x="2428" y="230"/>
                </a:lnTo>
                <a:lnTo>
                  <a:pt x="2429" y="222"/>
                </a:lnTo>
                <a:lnTo>
                  <a:pt x="2429" y="213"/>
                </a:lnTo>
                <a:lnTo>
                  <a:pt x="2429" y="201"/>
                </a:lnTo>
                <a:lnTo>
                  <a:pt x="2428" y="190"/>
                </a:lnTo>
                <a:lnTo>
                  <a:pt x="2425" y="180"/>
                </a:lnTo>
                <a:lnTo>
                  <a:pt x="2422" y="168"/>
                </a:lnTo>
                <a:lnTo>
                  <a:pt x="2418" y="158"/>
                </a:lnTo>
                <a:lnTo>
                  <a:pt x="2412" y="148"/>
                </a:lnTo>
                <a:lnTo>
                  <a:pt x="2406" y="140"/>
                </a:lnTo>
                <a:lnTo>
                  <a:pt x="2399" y="131"/>
                </a:lnTo>
                <a:lnTo>
                  <a:pt x="2392" y="124"/>
                </a:lnTo>
                <a:lnTo>
                  <a:pt x="2383" y="117"/>
                </a:lnTo>
                <a:lnTo>
                  <a:pt x="2375" y="111"/>
                </a:lnTo>
                <a:lnTo>
                  <a:pt x="2365" y="105"/>
                </a:lnTo>
                <a:lnTo>
                  <a:pt x="2354" y="101"/>
                </a:lnTo>
                <a:lnTo>
                  <a:pt x="2343" y="98"/>
                </a:lnTo>
                <a:lnTo>
                  <a:pt x="2331" y="97"/>
                </a:lnTo>
                <a:lnTo>
                  <a:pt x="2318" y="97"/>
                </a:lnTo>
                <a:lnTo>
                  <a:pt x="2306" y="97"/>
                </a:lnTo>
                <a:lnTo>
                  <a:pt x="2294" y="98"/>
                </a:lnTo>
                <a:lnTo>
                  <a:pt x="2282" y="101"/>
                </a:lnTo>
                <a:lnTo>
                  <a:pt x="2271" y="105"/>
                </a:lnTo>
                <a:lnTo>
                  <a:pt x="2261" y="110"/>
                </a:lnTo>
                <a:lnTo>
                  <a:pt x="2251" y="115"/>
                </a:lnTo>
                <a:lnTo>
                  <a:pt x="2242" y="122"/>
                </a:lnTo>
                <a:lnTo>
                  <a:pt x="2235" y="130"/>
                </a:lnTo>
                <a:lnTo>
                  <a:pt x="2228" y="138"/>
                </a:lnTo>
                <a:lnTo>
                  <a:pt x="2221" y="147"/>
                </a:lnTo>
                <a:lnTo>
                  <a:pt x="2215" y="157"/>
                </a:lnTo>
                <a:lnTo>
                  <a:pt x="2210" y="167"/>
                </a:lnTo>
                <a:lnTo>
                  <a:pt x="2208" y="177"/>
                </a:lnTo>
                <a:lnTo>
                  <a:pt x="2205" y="189"/>
                </a:lnTo>
                <a:lnTo>
                  <a:pt x="2203" y="200"/>
                </a:lnTo>
                <a:lnTo>
                  <a:pt x="2202" y="213"/>
                </a:lnTo>
                <a:lnTo>
                  <a:pt x="2203" y="224"/>
                </a:lnTo>
                <a:lnTo>
                  <a:pt x="2205" y="237"/>
                </a:lnTo>
                <a:lnTo>
                  <a:pt x="2208" y="249"/>
                </a:lnTo>
                <a:lnTo>
                  <a:pt x="2210" y="259"/>
                </a:lnTo>
                <a:lnTo>
                  <a:pt x="2215" y="269"/>
                </a:lnTo>
                <a:lnTo>
                  <a:pt x="2221" y="279"/>
                </a:lnTo>
                <a:lnTo>
                  <a:pt x="2228" y="288"/>
                </a:lnTo>
                <a:lnTo>
                  <a:pt x="2235" y="296"/>
                </a:lnTo>
                <a:lnTo>
                  <a:pt x="2244" y="303"/>
                </a:lnTo>
                <a:lnTo>
                  <a:pt x="2252" y="311"/>
                </a:lnTo>
                <a:lnTo>
                  <a:pt x="2262" y="316"/>
                </a:lnTo>
                <a:lnTo>
                  <a:pt x="2272" y="321"/>
                </a:lnTo>
                <a:lnTo>
                  <a:pt x="2284" y="324"/>
                </a:lnTo>
                <a:lnTo>
                  <a:pt x="2295" y="326"/>
                </a:lnTo>
                <a:lnTo>
                  <a:pt x="2308" y="329"/>
                </a:lnTo>
                <a:lnTo>
                  <a:pt x="2321" y="329"/>
                </a:lnTo>
                <a:lnTo>
                  <a:pt x="2337" y="328"/>
                </a:lnTo>
                <a:lnTo>
                  <a:pt x="2353" y="326"/>
                </a:lnTo>
                <a:lnTo>
                  <a:pt x="2366" y="322"/>
                </a:lnTo>
                <a:lnTo>
                  <a:pt x="2379" y="315"/>
                </a:lnTo>
                <a:lnTo>
                  <a:pt x="2392" y="308"/>
                </a:lnTo>
                <a:lnTo>
                  <a:pt x="2402" y="299"/>
                </a:lnTo>
                <a:lnTo>
                  <a:pt x="2411" y="290"/>
                </a:lnTo>
                <a:lnTo>
                  <a:pt x="2419" y="279"/>
                </a:lnTo>
                <a:lnTo>
                  <a:pt x="2386" y="260"/>
                </a:lnTo>
                <a:lnTo>
                  <a:pt x="2382" y="267"/>
                </a:lnTo>
                <a:lnTo>
                  <a:pt x="2376" y="273"/>
                </a:lnTo>
                <a:lnTo>
                  <a:pt x="2369" y="279"/>
                </a:lnTo>
                <a:lnTo>
                  <a:pt x="2362" y="283"/>
                </a:lnTo>
                <a:lnTo>
                  <a:pt x="2353" y="288"/>
                </a:lnTo>
                <a:lnTo>
                  <a:pt x="2343" y="290"/>
                </a:lnTo>
                <a:lnTo>
                  <a:pt x="2333" y="292"/>
                </a:lnTo>
                <a:lnTo>
                  <a:pt x="2323" y="293"/>
                </a:lnTo>
                <a:lnTo>
                  <a:pt x="2307" y="292"/>
                </a:lnTo>
                <a:lnTo>
                  <a:pt x="2294" y="289"/>
                </a:lnTo>
                <a:lnTo>
                  <a:pt x="2281" y="283"/>
                </a:lnTo>
                <a:lnTo>
                  <a:pt x="2270" y="276"/>
                </a:lnTo>
                <a:lnTo>
                  <a:pt x="2259" y="267"/>
                </a:lnTo>
                <a:lnTo>
                  <a:pt x="2252" y="257"/>
                </a:lnTo>
                <a:lnTo>
                  <a:pt x="2245" y="245"/>
                </a:lnTo>
                <a:lnTo>
                  <a:pt x="2242" y="230"/>
                </a:lnTo>
                <a:close/>
                <a:moveTo>
                  <a:pt x="2117" y="324"/>
                </a:moveTo>
                <a:lnTo>
                  <a:pt x="2117" y="324"/>
                </a:lnTo>
                <a:lnTo>
                  <a:pt x="2156" y="324"/>
                </a:lnTo>
                <a:lnTo>
                  <a:pt x="2156" y="0"/>
                </a:lnTo>
                <a:lnTo>
                  <a:pt x="2117" y="0"/>
                </a:lnTo>
                <a:lnTo>
                  <a:pt x="2117" y="324"/>
                </a:lnTo>
                <a:close/>
                <a:moveTo>
                  <a:pt x="1954" y="292"/>
                </a:moveTo>
                <a:lnTo>
                  <a:pt x="1954" y="292"/>
                </a:lnTo>
                <a:lnTo>
                  <a:pt x="1946" y="290"/>
                </a:lnTo>
                <a:lnTo>
                  <a:pt x="1938" y="290"/>
                </a:lnTo>
                <a:lnTo>
                  <a:pt x="1930" y="288"/>
                </a:lnTo>
                <a:lnTo>
                  <a:pt x="1922" y="286"/>
                </a:lnTo>
                <a:lnTo>
                  <a:pt x="1917" y="282"/>
                </a:lnTo>
                <a:lnTo>
                  <a:pt x="1910" y="279"/>
                </a:lnTo>
                <a:lnTo>
                  <a:pt x="1904" y="273"/>
                </a:lnTo>
                <a:lnTo>
                  <a:pt x="1898" y="269"/>
                </a:lnTo>
                <a:lnTo>
                  <a:pt x="1894" y="263"/>
                </a:lnTo>
                <a:lnTo>
                  <a:pt x="1889" y="257"/>
                </a:lnTo>
                <a:lnTo>
                  <a:pt x="1885" y="250"/>
                </a:lnTo>
                <a:lnTo>
                  <a:pt x="1882" y="245"/>
                </a:lnTo>
                <a:lnTo>
                  <a:pt x="1879" y="236"/>
                </a:lnTo>
                <a:lnTo>
                  <a:pt x="1876" y="229"/>
                </a:lnTo>
                <a:lnTo>
                  <a:pt x="1876" y="222"/>
                </a:lnTo>
                <a:lnTo>
                  <a:pt x="1875" y="213"/>
                </a:lnTo>
                <a:lnTo>
                  <a:pt x="1876" y="204"/>
                </a:lnTo>
                <a:lnTo>
                  <a:pt x="1876" y="197"/>
                </a:lnTo>
                <a:lnTo>
                  <a:pt x="1879" y="189"/>
                </a:lnTo>
                <a:lnTo>
                  <a:pt x="1882" y="181"/>
                </a:lnTo>
                <a:lnTo>
                  <a:pt x="1885" y="174"/>
                </a:lnTo>
                <a:lnTo>
                  <a:pt x="1889" y="168"/>
                </a:lnTo>
                <a:lnTo>
                  <a:pt x="1894" y="163"/>
                </a:lnTo>
                <a:lnTo>
                  <a:pt x="1898" y="157"/>
                </a:lnTo>
                <a:lnTo>
                  <a:pt x="1904" y="151"/>
                </a:lnTo>
                <a:lnTo>
                  <a:pt x="1910" y="147"/>
                </a:lnTo>
                <a:lnTo>
                  <a:pt x="1917" y="143"/>
                </a:lnTo>
                <a:lnTo>
                  <a:pt x="1922" y="140"/>
                </a:lnTo>
                <a:lnTo>
                  <a:pt x="1930" y="137"/>
                </a:lnTo>
                <a:lnTo>
                  <a:pt x="1938" y="135"/>
                </a:lnTo>
                <a:lnTo>
                  <a:pt x="1946" y="134"/>
                </a:lnTo>
                <a:lnTo>
                  <a:pt x="1954" y="134"/>
                </a:lnTo>
                <a:lnTo>
                  <a:pt x="1961" y="134"/>
                </a:lnTo>
                <a:lnTo>
                  <a:pt x="1970" y="135"/>
                </a:lnTo>
                <a:lnTo>
                  <a:pt x="1977" y="137"/>
                </a:lnTo>
                <a:lnTo>
                  <a:pt x="1984" y="140"/>
                </a:lnTo>
                <a:lnTo>
                  <a:pt x="1992" y="143"/>
                </a:lnTo>
                <a:lnTo>
                  <a:pt x="1999" y="147"/>
                </a:lnTo>
                <a:lnTo>
                  <a:pt x="2005" y="151"/>
                </a:lnTo>
                <a:lnTo>
                  <a:pt x="2010" y="157"/>
                </a:lnTo>
                <a:lnTo>
                  <a:pt x="2015" y="163"/>
                </a:lnTo>
                <a:lnTo>
                  <a:pt x="2019" y="168"/>
                </a:lnTo>
                <a:lnTo>
                  <a:pt x="2023" y="174"/>
                </a:lnTo>
                <a:lnTo>
                  <a:pt x="2026" y="181"/>
                </a:lnTo>
                <a:lnTo>
                  <a:pt x="2029" y="189"/>
                </a:lnTo>
                <a:lnTo>
                  <a:pt x="2030" y="197"/>
                </a:lnTo>
                <a:lnTo>
                  <a:pt x="2032" y="204"/>
                </a:lnTo>
                <a:lnTo>
                  <a:pt x="2032" y="213"/>
                </a:lnTo>
                <a:lnTo>
                  <a:pt x="2032" y="222"/>
                </a:lnTo>
                <a:lnTo>
                  <a:pt x="2030" y="229"/>
                </a:lnTo>
                <a:lnTo>
                  <a:pt x="2029" y="236"/>
                </a:lnTo>
                <a:lnTo>
                  <a:pt x="2026" y="245"/>
                </a:lnTo>
                <a:lnTo>
                  <a:pt x="2023" y="250"/>
                </a:lnTo>
                <a:lnTo>
                  <a:pt x="2019" y="257"/>
                </a:lnTo>
                <a:lnTo>
                  <a:pt x="2015" y="263"/>
                </a:lnTo>
                <a:lnTo>
                  <a:pt x="2010" y="269"/>
                </a:lnTo>
                <a:lnTo>
                  <a:pt x="2005" y="273"/>
                </a:lnTo>
                <a:lnTo>
                  <a:pt x="1999" y="279"/>
                </a:lnTo>
                <a:lnTo>
                  <a:pt x="1992" y="282"/>
                </a:lnTo>
                <a:lnTo>
                  <a:pt x="1984" y="286"/>
                </a:lnTo>
                <a:lnTo>
                  <a:pt x="1977" y="288"/>
                </a:lnTo>
                <a:lnTo>
                  <a:pt x="1970" y="290"/>
                </a:lnTo>
                <a:lnTo>
                  <a:pt x="1961" y="290"/>
                </a:lnTo>
                <a:lnTo>
                  <a:pt x="1954" y="292"/>
                </a:lnTo>
                <a:close/>
                <a:moveTo>
                  <a:pt x="1954" y="329"/>
                </a:moveTo>
                <a:lnTo>
                  <a:pt x="1954" y="329"/>
                </a:lnTo>
                <a:lnTo>
                  <a:pt x="1966" y="329"/>
                </a:lnTo>
                <a:lnTo>
                  <a:pt x="1977" y="326"/>
                </a:lnTo>
                <a:lnTo>
                  <a:pt x="1989" y="324"/>
                </a:lnTo>
                <a:lnTo>
                  <a:pt x="1999" y="321"/>
                </a:lnTo>
                <a:lnTo>
                  <a:pt x="2010" y="315"/>
                </a:lnTo>
                <a:lnTo>
                  <a:pt x="2019" y="309"/>
                </a:lnTo>
                <a:lnTo>
                  <a:pt x="2029" y="303"/>
                </a:lnTo>
                <a:lnTo>
                  <a:pt x="2036" y="296"/>
                </a:lnTo>
                <a:lnTo>
                  <a:pt x="2045" y="288"/>
                </a:lnTo>
                <a:lnTo>
                  <a:pt x="2051" y="279"/>
                </a:lnTo>
                <a:lnTo>
                  <a:pt x="2056" y="269"/>
                </a:lnTo>
                <a:lnTo>
                  <a:pt x="2062" y="259"/>
                </a:lnTo>
                <a:lnTo>
                  <a:pt x="2066" y="247"/>
                </a:lnTo>
                <a:lnTo>
                  <a:pt x="2069" y="236"/>
                </a:lnTo>
                <a:lnTo>
                  <a:pt x="2071" y="224"/>
                </a:lnTo>
                <a:lnTo>
                  <a:pt x="2071" y="213"/>
                </a:lnTo>
                <a:lnTo>
                  <a:pt x="2071" y="200"/>
                </a:lnTo>
                <a:lnTo>
                  <a:pt x="2069" y="189"/>
                </a:lnTo>
                <a:lnTo>
                  <a:pt x="2066" y="177"/>
                </a:lnTo>
                <a:lnTo>
                  <a:pt x="2062" y="167"/>
                </a:lnTo>
                <a:lnTo>
                  <a:pt x="2056" y="157"/>
                </a:lnTo>
                <a:lnTo>
                  <a:pt x="2051" y="147"/>
                </a:lnTo>
                <a:lnTo>
                  <a:pt x="2045" y="138"/>
                </a:lnTo>
                <a:lnTo>
                  <a:pt x="2036" y="130"/>
                </a:lnTo>
                <a:lnTo>
                  <a:pt x="2029" y="122"/>
                </a:lnTo>
                <a:lnTo>
                  <a:pt x="2019" y="115"/>
                </a:lnTo>
                <a:lnTo>
                  <a:pt x="2010" y="110"/>
                </a:lnTo>
                <a:lnTo>
                  <a:pt x="1999" y="105"/>
                </a:lnTo>
                <a:lnTo>
                  <a:pt x="1989" y="101"/>
                </a:lnTo>
                <a:lnTo>
                  <a:pt x="1977" y="98"/>
                </a:lnTo>
                <a:lnTo>
                  <a:pt x="1966" y="97"/>
                </a:lnTo>
                <a:lnTo>
                  <a:pt x="1954" y="97"/>
                </a:lnTo>
                <a:lnTo>
                  <a:pt x="1941" y="97"/>
                </a:lnTo>
                <a:lnTo>
                  <a:pt x="1930" y="98"/>
                </a:lnTo>
                <a:lnTo>
                  <a:pt x="1920" y="101"/>
                </a:lnTo>
                <a:lnTo>
                  <a:pt x="1908" y="105"/>
                </a:lnTo>
                <a:lnTo>
                  <a:pt x="1898" y="110"/>
                </a:lnTo>
                <a:lnTo>
                  <a:pt x="1888" y="115"/>
                </a:lnTo>
                <a:lnTo>
                  <a:pt x="1879" y="122"/>
                </a:lnTo>
                <a:lnTo>
                  <a:pt x="1871" y="130"/>
                </a:lnTo>
                <a:lnTo>
                  <a:pt x="1863" y="138"/>
                </a:lnTo>
                <a:lnTo>
                  <a:pt x="1856" y="147"/>
                </a:lnTo>
                <a:lnTo>
                  <a:pt x="1850" y="157"/>
                </a:lnTo>
                <a:lnTo>
                  <a:pt x="1846" y="167"/>
                </a:lnTo>
                <a:lnTo>
                  <a:pt x="1842" y="177"/>
                </a:lnTo>
                <a:lnTo>
                  <a:pt x="1839" y="189"/>
                </a:lnTo>
                <a:lnTo>
                  <a:pt x="1838" y="200"/>
                </a:lnTo>
                <a:lnTo>
                  <a:pt x="1838" y="213"/>
                </a:lnTo>
                <a:lnTo>
                  <a:pt x="1838" y="224"/>
                </a:lnTo>
                <a:lnTo>
                  <a:pt x="1839" y="236"/>
                </a:lnTo>
                <a:lnTo>
                  <a:pt x="1842" y="247"/>
                </a:lnTo>
                <a:lnTo>
                  <a:pt x="1846" y="259"/>
                </a:lnTo>
                <a:lnTo>
                  <a:pt x="1850" y="269"/>
                </a:lnTo>
                <a:lnTo>
                  <a:pt x="1856" y="279"/>
                </a:lnTo>
                <a:lnTo>
                  <a:pt x="1863" y="288"/>
                </a:lnTo>
                <a:lnTo>
                  <a:pt x="1871" y="296"/>
                </a:lnTo>
                <a:lnTo>
                  <a:pt x="1879" y="303"/>
                </a:lnTo>
                <a:lnTo>
                  <a:pt x="1888" y="309"/>
                </a:lnTo>
                <a:lnTo>
                  <a:pt x="1898" y="315"/>
                </a:lnTo>
                <a:lnTo>
                  <a:pt x="1908" y="321"/>
                </a:lnTo>
                <a:lnTo>
                  <a:pt x="1920" y="324"/>
                </a:lnTo>
                <a:lnTo>
                  <a:pt x="1930" y="326"/>
                </a:lnTo>
                <a:lnTo>
                  <a:pt x="1941" y="329"/>
                </a:lnTo>
                <a:lnTo>
                  <a:pt x="1954" y="329"/>
                </a:lnTo>
                <a:close/>
                <a:moveTo>
                  <a:pt x="1833" y="324"/>
                </a:moveTo>
                <a:lnTo>
                  <a:pt x="1833" y="324"/>
                </a:lnTo>
                <a:lnTo>
                  <a:pt x="1724" y="209"/>
                </a:lnTo>
                <a:lnTo>
                  <a:pt x="1830" y="102"/>
                </a:lnTo>
                <a:lnTo>
                  <a:pt x="1780" y="102"/>
                </a:lnTo>
                <a:lnTo>
                  <a:pt x="1685" y="200"/>
                </a:lnTo>
                <a:lnTo>
                  <a:pt x="1685" y="13"/>
                </a:lnTo>
                <a:lnTo>
                  <a:pt x="1646" y="13"/>
                </a:lnTo>
                <a:lnTo>
                  <a:pt x="1646" y="324"/>
                </a:lnTo>
                <a:lnTo>
                  <a:pt x="1685" y="324"/>
                </a:lnTo>
                <a:lnTo>
                  <a:pt x="1685" y="219"/>
                </a:lnTo>
                <a:lnTo>
                  <a:pt x="1786" y="324"/>
                </a:lnTo>
                <a:lnTo>
                  <a:pt x="1833" y="324"/>
                </a:lnTo>
                <a:close/>
                <a:moveTo>
                  <a:pt x="1469" y="292"/>
                </a:moveTo>
                <a:lnTo>
                  <a:pt x="1469" y="292"/>
                </a:lnTo>
                <a:lnTo>
                  <a:pt x="1462" y="292"/>
                </a:lnTo>
                <a:lnTo>
                  <a:pt x="1453" y="290"/>
                </a:lnTo>
                <a:lnTo>
                  <a:pt x="1446" y="289"/>
                </a:lnTo>
                <a:lnTo>
                  <a:pt x="1439" y="286"/>
                </a:lnTo>
                <a:lnTo>
                  <a:pt x="1431" y="283"/>
                </a:lnTo>
                <a:lnTo>
                  <a:pt x="1424" y="279"/>
                </a:lnTo>
                <a:lnTo>
                  <a:pt x="1418" y="275"/>
                </a:lnTo>
                <a:lnTo>
                  <a:pt x="1413" y="269"/>
                </a:lnTo>
                <a:lnTo>
                  <a:pt x="1408" y="263"/>
                </a:lnTo>
                <a:lnTo>
                  <a:pt x="1404" y="257"/>
                </a:lnTo>
                <a:lnTo>
                  <a:pt x="1400" y="252"/>
                </a:lnTo>
                <a:lnTo>
                  <a:pt x="1397" y="245"/>
                </a:lnTo>
                <a:lnTo>
                  <a:pt x="1394" y="237"/>
                </a:lnTo>
                <a:lnTo>
                  <a:pt x="1393" y="229"/>
                </a:lnTo>
                <a:lnTo>
                  <a:pt x="1391" y="222"/>
                </a:lnTo>
                <a:lnTo>
                  <a:pt x="1391" y="213"/>
                </a:lnTo>
                <a:lnTo>
                  <a:pt x="1391" y="204"/>
                </a:lnTo>
                <a:lnTo>
                  <a:pt x="1393" y="196"/>
                </a:lnTo>
                <a:lnTo>
                  <a:pt x="1394" y="189"/>
                </a:lnTo>
                <a:lnTo>
                  <a:pt x="1397" y="181"/>
                </a:lnTo>
                <a:lnTo>
                  <a:pt x="1400" y="174"/>
                </a:lnTo>
                <a:lnTo>
                  <a:pt x="1404" y="168"/>
                </a:lnTo>
                <a:lnTo>
                  <a:pt x="1408" y="161"/>
                </a:lnTo>
                <a:lnTo>
                  <a:pt x="1413" y="155"/>
                </a:lnTo>
                <a:lnTo>
                  <a:pt x="1418" y="151"/>
                </a:lnTo>
                <a:lnTo>
                  <a:pt x="1424" y="147"/>
                </a:lnTo>
                <a:lnTo>
                  <a:pt x="1431" y="143"/>
                </a:lnTo>
                <a:lnTo>
                  <a:pt x="1439" y="140"/>
                </a:lnTo>
                <a:lnTo>
                  <a:pt x="1446" y="137"/>
                </a:lnTo>
                <a:lnTo>
                  <a:pt x="1453" y="135"/>
                </a:lnTo>
                <a:lnTo>
                  <a:pt x="1462" y="134"/>
                </a:lnTo>
                <a:lnTo>
                  <a:pt x="1469" y="134"/>
                </a:lnTo>
                <a:lnTo>
                  <a:pt x="1478" y="134"/>
                </a:lnTo>
                <a:lnTo>
                  <a:pt x="1486" y="135"/>
                </a:lnTo>
                <a:lnTo>
                  <a:pt x="1493" y="137"/>
                </a:lnTo>
                <a:lnTo>
                  <a:pt x="1501" y="140"/>
                </a:lnTo>
                <a:lnTo>
                  <a:pt x="1508" y="143"/>
                </a:lnTo>
                <a:lnTo>
                  <a:pt x="1514" y="147"/>
                </a:lnTo>
                <a:lnTo>
                  <a:pt x="1521" y="151"/>
                </a:lnTo>
                <a:lnTo>
                  <a:pt x="1525" y="155"/>
                </a:lnTo>
                <a:lnTo>
                  <a:pt x="1531" y="161"/>
                </a:lnTo>
                <a:lnTo>
                  <a:pt x="1535" y="168"/>
                </a:lnTo>
                <a:lnTo>
                  <a:pt x="1539" y="174"/>
                </a:lnTo>
                <a:lnTo>
                  <a:pt x="1542" y="181"/>
                </a:lnTo>
                <a:lnTo>
                  <a:pt x="1545" y="189"/>
                </a:lnTo>
                <a:lnTo>
                  <a:pt x="1547" y="196"/>
                </a:lnTo>
                <a:lnTo>
                  <a:pt x="1548" y="204"/>
                </a:lnTo>
                <a:lnTo>
                  <a:pt x="1548" y="213"/>
                </a:lnTo>
                <a:lnTo>
                  <a:pt x="1548" y="222"/>
                </a:lnTo>
                <a:lnTo>
                  <a:pt x="1547" y="229"/>
                </a:lnTo>
                <a:lnTo>
                  <a:pt x="1545" y="237"/>
                </a:lnTo>
                <a:lnTo>
                  <a:pt x="1542" y="245"/>
                </a:lnTo>
                <a:lnTo>
                  <a:pt x="1539" y="252"/>
                </a:lnTo>
                <a:lnTo>
                  <a:pt x="1535" y="257"/>
                </a:lnTo>
                <a:lnTo>
                  <a:pt x="1531" y="263"/>
                </a:lnTo>
                <a:lnTo>
                  <a:pt x="1525" y="269"/>
                </a:lnTo>
                <a:lnTo>
                  <a:pt x="1521" y="275"/>
                </a:lnTo>
                <a:lnTo>
                  <a:pt x="1514" y="279"/>
                </a:lnTo>
                <a:lnTo>
                  <a:pt x="1508" y="283"/>
                </a:lnTo>
                <a:lnTo>
                  <a:pt x="1501" y="286"/>
                </a:lnTo>
                <a:lnTo>
                  <a:pt x="1493" y="289"/>
                </a:lnTo>
                <a:lnTo>
                  <a:pt x="1486" y="290"/>
                </a:lnTo>
                <a:lnTo>
                  <a:pt x="1478" y="292"/>
                </a:lnTo>
                <a:lnTo>
                  <a:pt x="1469" y="292"/>
                </a:lnTo>
                <a:close/>
                <a:moveTo>
                  <a:pt x="1548" y="102"/>
                </a:moveTo>
                <a:lnTo>
                  <a:pt x="1548" y="102"/>
                </a:lnTo>
                <a:lnTo>
                  <a:pt x="1548" y="140"/>
                </a:lnTo>
                <a:lnTo>
                  <a:pt x="1541" y="130"/>
                </a:lnTo>
                <a:lnTo>
                  <a:pt x="1534" y="121"/>
                </a:lnTo>
                <a:lnTo>
                  <a:pt x="1524" y="114"/>
                </a:lnTo>
                <a:lnTo>
                  <a:pt x="1514" y="108"/>
                </a:lnTo>
                <a:lnTo>
                  <a:pt x="1503" y="102"/>
                </a:lnTo>
                <a:lnTo>
                  <a:pt x="1490" y="99"/>
                </a:lnTo>
                <a:lnTo>
                  <a:pt x="1478" y="97"/>
                </a:lnTo>
                <a:lnTo>
                  <a:pt x="1465" y="97"/>
                </a:lnTo>
                <a:lnTo>
                  <a:pt x="1453" y="97"/>
                </a:lnTo>
                <a:lnTo>
                  <a:pt x="1442" y="98"/>
                </a:lnTo>
                <a:lnTo>
                  <a:pt x="1431" y="101"/>
                </a:lnTo>
                <a:lnTo>
                  <a:pt x="1421" y="105"/>
                </a:lnTo>
                <a:lnTo>
                  <a:pt x="1411" y="110"/>
                </a:lnTo>
                <a:lnTo>
                  <a:pt x="1401" y="115"/>
                </a:lnTo>
                <a:lnTo>
                  <a:pt x="1393" y="122"/>
                </a:lnTo>
                <a:lnTo>
                  <a:pt x="1385" y="130"/>
                </a:lnTo>
                <a:lnTo>
                  <a:pt x="1378" y="138"/>
                </a:lnTo>
                <a:lnTo>
                  <a:pt x="1371" y="147"/>
                </a:lnTo>
                <a:lnTo>
                  <a:pt x="1365" y="157"/>
                </a:lnTo>
                <a:lnTo>
                  <a:pt x="1361" y="167"/>
                </a:lnTo>
                <a:lnTo>
                  <a:pt x="1357" y="177"/>
                </a:lnTo>
                <a:lnTo>
                  <a:pt x="1354" y="189"/>
                </a:lnTo>
                <a:lnTo>
                  <a:pt x="1352" y="200"/>
                </a:lnTo>
                <a:lnTo>
                  <a:pt x="1352" y="213"/>
                </a:lnTo>
                <a:lnTo>
                  <a:pt x="1352" y="224"/>
                </a:lnTo>
                <a:lnTo>
                  <a:pt x="1354" y="236"/>
                </a:lnTo>
                <a:lnTo>
                  <a:pt x="1357" y="247"/>
                </a:lnTo>
                <a:lnTo>
                  <a:pt x="1361" y="259"/>
                </a:lnTo>
                <a:lnTo>
                  <a:pt x="1365" y="269"/>
                </a:lnTo>
                <a:lnTo>
                  <a:pt x="1371" y="279"/>
                </a:lnTo>
                <a:lnTo>
                  <a:pt x="1378" y="288"/>
                </a:lnTo>
                <a:lnTo>
                  <a:pt x="1385" y="296"/>
                </a:lnTo>
                <a:lnTo>
                  <a:pt x="1393" y="303"/>
                </a:lnTo>
                <a:lnTo>
                  <a:pt x="1401" y="309"/>
                </a:lnTo>
                <a:lnTo>
                  <a:pt x="1411" y="315"/>
                </a:lnTo>
                <a:lnTo>
                  <a:pt x="1421" y="321"/>
                </a:lnTo>
                <a:lnTo>
                  <a:pt x="1431" y="324"/>
                </a:lnTo>
                <a:lnTo>
                  <a:pt x="1442" y="326"/>
                </a:lnTo>
                <a:lnTo>
                  <a:pt x="1453" y="329"/>
                </a:lnTo>
                <a:lnTo>
                  <a:pt x="1465" y="329"/>
                </a:lnTo>
                <a:lnTo>
                  <a:pt x="1478" y="328"/>
                </a:lnTo>
                <a:lnTo>
                  <a:pt x="1490" y="326"/>
                </a:lnTo>
                <a:lnTo>
                  <a:pt x="1503" y="322"/>
                </a:lnTo>
                <a:lnTo>
                  <a:pt x="1514" y="318"/>
                </a:lnTo>
                <a:lnTo>
                  <a:pt x="1524" y="311"/>
                </a:lnTo>
                <a:lnTo>
                  <a:pt x="1534" y="303"/>
                </a:lnTo>
                <a:lnTo>
                  <a:pt x="1541" y="295"/>
                </a:lnTo>
                <a:lnTo>
                  <a:pt x="1548" y="285"/>
                </a:lnTo>
                <a:lnTo>
                  <a:pt x="1548" y="324"/>
                </a:lnTo>
                <a:lnTo>
                  <a:pt x="1587" y="324"/>
                </a:lnTo>
                <a:lnTo>
                  <a:pt x="1587" y="102"/>
                </a:lnTo>
                <a:lnTo>
                  <a:pt x="1548" y="102"/>
                </a:lnTo>
                <a:close/>
                <a:moveTo>
                  <a:pt x="1224" y="97"/>
                </a:moveTo>
                <a:lnTo>
                  <a:pt x="1224" y="97"/>
                </a:lnTo>
                <a:lnTo>
                  <a:pt x="1213" y="97"/>
                </a:lnTo>
                <a:lnTo>
                  <a:pt x="1202" y="98"/>
                </a:lnTo>
                <a:lnTo>
                  <a:pt x="1192" y="101"/>
                </a:lnTo>
                <a:lnTo>
                  <a:pt x="1182" y="105"/>
                </a:lnTo>
                <a:lnTo>
                  <a:pt x="1174" y="111"/>
                </a:lnTo>
                <a:lnTo>
                  <a:pt x="1166" y="117"/>
                </a:lnTo>
                <a:lnTo>
                  <a:pt x="1159" y="125"/>
                </a:lnTo>
                <a:lnTo>
                  <a:pt x="1152" y="134"/>
                </a:lnTo>
                <a:lnTo>
                  <a:pt x="1152" y="102"/>
                </a:lnTo>
                <a:lnTo>
                  <a:pt x="1113" y="102"/>
                </a:lnTo>
                <a:lnTo>
                  <a:pt x="1113" y="324"/>
                </a:lnTo>
                <a:lnTo>
                  <a:pt x="1152" y="324"/>
                </a:lnTo>
                <a:lnTo>
                  <a:pt x="1152" y="206"/>
                </a:lnTo>
                <a:lnTo>
                  <a:pt x="1154" y="189"/>
                </a:lnTo>
                <a:lnTo>
                  <a:pt x="1158" y="173"/>
                </a:lnTo>
                <a:lnTo>
                  <a:pt x="1161" y="166"/>
                </a:lnTo>
                <a:lnTo>
                  <a:pt x="1164" y="160"/>
                </a:lnTo>
                <a:lnTo>
                  <a:pt x="1166" y="154"/>
                </a:lnTo>
                <a:lnTo>
                  <a:pt x="1171" y="150"/>
                </a:lnTo>
                <a:lnTo>
                  <a:pt x="1181" y="143"/>
                </a:lnTo>
                <a:lnTo>
                  <a:pt x="1192" y="137"/>
                </a:lnTo>
                <a:lnTo>
                  <a:pt x="1204" y="134"/>
                </a:lnTo>
                <a:lnTo>
                  <a:pt x="1217" y="133"/>
                </a:lnTo>
                <a:lnTo>
                  <a:pt x="1228" y="134"/>
                </a:lnTo>
                <a:lnTo>
                  <a:pt x="1240" y="137"/>
                </a:lnTo>
                <a:lnTo>
                  <a:pt x="1250" y="141"/>
                </a:lnTo>
                <a:lnTo>
                  <a:pt x="1257" y="148"/>
                </a:lnTo>
                <a:lnTo>
                  <a:pt x="1263" y="155"/>
                </a:lnTo>
                <a:lnTo>
                  <a:pt x="1269" y="166"/>
                </a:lnTo>
                <a:lnTo>
                  <a:pt x="1272" y="177"/>
                </a:lnTo>
                <a:lnTo>
                  <a:pt x="1272" y="190"/>
                </a:lnTo>
                <a:lnTo>
                  <a:pt x="1272" y="324"/>
                </a:lnTo>
                <a:lnTo>
                  <a:pt x="1310" y="324"/>
                </a:lnTo>
                <a:lnTo>
                  <a:pt x="1310" y="187"/>
                </a:lnTo>
                <a:lnTo>
                  <a:pt x="1310" y="177"/>
                </a:lnTo>
                <a:lnTo>
                  <a:pt x="1309" y="167"/>
                </a:lnTo>
                <a:lnTo>
                  <a:pt x="1308" y="158"/>
                </a:lnTo>
                <a:lnTo>
                  <a:pt x="1305" y="150"/>
                </a:lnTo>
                <a:lnTo>
                  <a:pt x="1300" y="141"/>
                </a:lnTo>
                <a:lnTo>
                  <a:pt x="1298" y="134"/>
                </a:lnTo>
                <a:lnTo>
                  <a:pt x="1292" y="127"/>
                </a:lnTo>
                <a:lnTo>
                  <a:pt x="1287" y="121"/>
                </a:lnTo>
                <a:lnTo>
                  <a:pt x="1282" y="115"/>
                </a:lnTo>
                <a:lnTo>
                  <a:pt x="1274" y="110"/>
                </a:lnTo>
                <a:lnTo>
                  <a:pt x="1267" y="105"/>
                </a:lnTo>
                <a:lnTo>
                  <a:pt x="1260" y="102"/>
                </a:lnTo>
                <a:lnTo>
                  <a:pt x="1251" y="99"/>
                </a:lnTo>
                <a:lnTo>
                  <a:pt x="1243" y="98"/>
                </a:lnTo>
                <a:lnTo>
                  <a:pt x="1234" y="97"/>
                </a:lnTo>
                <a:lnTo>
                  <a:pt x="1224" y="97"/>
                </a:lnTo>
                <a:close/>
                <a:moveTo>
                  <a:pt x="1030" y="328"/>
                </a:moveTo>
                <a:lnTo>
                  <a:pt x="1030" y="328"/>
                </a:lnTo>
                <a:lnTo>
                  <a:pt x="1035" y="328"/>
                </a:lnTo>
                <a:lnTo>
                  <a:pt x="1041" y="326"/>
                </a:lnTo>
                <a:lnTo>
                  <a:pt x="1047" y="324"/>
                </a:lnTo>
                <a:lnTo>
                  <a:pt x="1051" y="321"/>
                </a:lnTo>
                <a:lnTo>
                  <a:pt x="1054" y="316"/>
                </a:lnTo>
                <a:lnTo>
                  <a:pt x="1057" y="311"/>
                </a:lnTo>
                <a:lnTo>
                  <a:pt x="1058" y="305"/>
                </a:lnTo>
                <a:lnTo>
                  <a:pt x="1058" y="299"/>
                </a:lnTo>
                <a:lnTo>
                  <a:pt x="1058" y="293"/>
                </a:lnTo>
                <a:lnTo>
                  <a:pt x="1057" y="289"/>
                </a:lnTo>
                <a:lnTo>
                  <a:pt x="1054" y="283"/>
                </a:lnTo>
                <a:lnTo>
                  <a:pt x="1051" y="279"/>
                </a:lnTo>
                <a:lnTo>
                  <a:pt x="1047" y="276"/>
                </a:lnTo>
                <a:lnTo>
                  <a:pt x="1041" y="273"/>
                </a:lnTo>
                <a:lnTo>
                  <a:pt x="1035" y="272"/>
                </a:lnTo>
                <a:lnTo>
                  <a:pt x="1030" y="270"/>
                </a:lnTo>
                <a:lnTo>
                  <a:pt x="1024" y="272"/>
                </a:lnTo>
                <a:lnTo>
                  <a:pt x="1018" y="273"/>
                </a:lnTo>
                <a:lnTo>
                  <a:pt x="1014" y="276"/>
                </a:lnTo>
                <a:lnTo>
                  <a:pt x="1010" y="279"/>
                </a:lnTo>
                <a:lnTo>
                  <a:pt x="1007" y="283"/>
                </a:lnTo>
                <a:lnTo>
                  <a:pt x="1004" y="289"/>
                </a:lnTo>
                <a:lnTo>
                  <a:pt x="1002" y="293"/>
                </a:lnTo>
                <a:lnTo>
                  <a:pt x="1001" y="299"/>
                </a:lnTo>
                <a:lnTo>
                  <a:pt x="1002" y="305"/>
                </a:lnTo>
                <a:lnTo>
                  <a:pt x="1004" y="311"/>
                </a:lnTo>
                <a:lnTo>
                  <a:pt x="1007" y="316"/>
                </a:lnTo>
                <a:lnTo>
                  <a:pt x="1010" y="321"/>
                </a:lnTo>
                <a:lnTo>
                  <a:pt x="1014" y="324"/>
                </a:lnTo>
                <a:lnTo>
                  <a:pt x="1018" y="326"/>
                </a:lnTo>
                <a:lnTo>
                  <a:pt x="1024" y="328"/>
                </a:lnTo>
                <a:lnTo>
                  <a:pt x="1030" y="328"/>
                </a:lnTo>
                <a:close/>
                <a:moveTo>
                  <a:pt x="966" y="102"/>
                </a:moveTo>
                <a:lnTo>
                  <a:pt x="966" y="102"/>
                </a:lnTo>
                <a:lnTo>
                  <a:pt x="917" y="270"/>
                </a:lnTo>
                <a:lnTo>
                  <a:pt x="864" y="102"/>
                </a:lnTo>
                <a:lnTo>
                  <a:pt x="827" y="102"/>
                </a:lnTo>
                <a:lnTo>
                  <a:pt x="775" y="270"/>
                </a:lnTo>
                <a:lnTo>
                  <a:pt x="726" y="102"/>
                </a:lnTo>
                <a:lnTo>
                  <a:pt x="686" y="102"/>
                </a:lnTo>
                <a:lnTo>
                  <a:pt x="755" y="324"/>
                </a:lnTo>
                <a:lnTo>
                  <a:pt x="794" y="324"/>
                </a:lnTo>
                <a:lnTo>
                  <a:pt x="845" y="160"/>
                </a:lnTo>
                <a:lnTo>
                  <a:pt x="897" y="324"/>
                </a:lnTo>
                <a:lnTo>
                  <a:pt x="938" y="324"/>
                </a:lnTo>
                <a:lnTo>
                  <a:pt x="1007" y="102"/>
                </a:lnTo>
                <a:lnTo>
                  <a:pt x="966" y="102"/>
                </a:lnTo>
                <a:close/>
                <a:moveTo>
                  <a:pt x="624" y="102"/>
                </a:moveTo>
                <a:lnTo>
                  <a:pt x="624" y="102"/>
                </a:lnTo>
                <a:lnTo>
                  <a:pt x="575" y="270"/>
                </a:lnTo>
                <a:lnTo>
                  <a:pt x="521" y="102"/>
                </a:lnTo>
                <a:lnTo>
                  <a:pt x="485" y="102"/>
                </a:lnTo>
                <a:lnTo>
                  <a:pt x="432" y="270"/>
                </a:lnTo>
                <a:lnTo>
                  <a:pt x="383" y="102"/>
                </a:lnTo>
                <a:lnTo>
                  <a:pt x="343" y="102"/>
                </a:lnTo>
                <a:lnTo>
                  <a:pt x="412" y="324"/>
                </a:lnTo>
                <a:lnTo>
                  <a:pt x="451" y="324"/>
                </a:lnTo>
                <a:lnTo>
                  <a:pt x="504" y="160"/>
                </a:lnTo>
                <a:lnTo>
                  <a:pt x="556" y="324"/>
                </a:lnTo>
                <a:lnTo>
                  <a:pt x="595" y="324"/>
                </a:lnTo>
                <a:lnTo>
                  <a:pt x="664" y="102"/>
                </a:lnTo>
                <a:lnTo>
                  <a:pt x="624" y="102"/>
                </a:lnTo>
                <a:close/>
                <a:moveTo>
                  <a:pt x="281" y="102"/>
                </a:moveTo>
                <a:lnTo>
                  <a:pt x="281" y="102"/>
                </a:lnTo>
                <a:lnTo>
                  <a:pt x="232" y="270"/>
                </a:lnTo>
                <a:lnTo>
                  <a:pt x="180" y="102"/>
                </a:lnTo>
                <a:lnTo>
                  <a:pt x="143" y="102"/>
                </a:lnTo>
                <a:lnTo>
                  <a:pt x="89" y="270"/>
                </a:lnTo>
                <a:lnTo>
                  <a:pt x="40" y="102"/>
                </a:lnTo>
                <a:lnTo>
                  <a:pt x="0" y="102"/>
                </a:lnTo>
                <a:lnTo>
                  <a:pt x="69" y="324"/>
                </a:lnTo>
                <a:lnTo>
                  <a:pt x="110" y="324"/>
                </a:lnTo>
                <a:lnTo>
                  <a:pt x="161" y="160"/>
                </a:lnTo>
                <a:lnTo>
                  <a:pt x="213" y="324"/>
                </a:lnTo>
                <a:lnTo>
                  <a:pt x="252" y="324"/>
                </a:lnTo>
                <a:lnTo>
                  <a:pt x="321" y="102"/>
                </a:lnTo>
                <a:lnTo>
                  <a:pt x="281" y="1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5" name="Skupina 1064">
            <a:extLst>
              <a:ext uri="{FF2B5EF4-FFF2-40B4-BE49-F238E27FC236}">
                <a16:creationId xmlns:a16="http://schemas.microsoft.com/office/drawing/2014/main" id="{28687763-0AAB-594D-5CD1-220B1AB2F886}"/>
              </a:ext>
            </a:extLst>
          </p:cNvPr>
          <p:cNvGrpSpPr/>
          <p:nvPr/>
        </p:nvGrpSpPr>
        <p:grpSpPr>
          <a:xfrm>
            <a:off x="658813" y="3203575"/>
            <a:ext cx="4930775" cy="1236663"/>
            <a:chOff x="658813" y="3203575"/>
            <a:chExt cx="4930775" cy="1236663"/>
          </a:xfrm>
        </p:grpSpPr>
        <p:sp>
          <p:nvSpPr>
            <p:cNvPr id="1056" name="Freeform 60">
              <a:extLst>
                <a:ext uri="{FF2B5EF4-FFF2-40B4-BE49-F238E27FC236}">
                  <a16:creationId xmlns:a16="http://schemas.microsoft.com/office/drawing/2014/main" id="{D92F7977-7015-6586-C4BB-CAD5DACB10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438" y="3786188"/>
              <a:ext cx="2851150" cy="654050"/>
            </a:xfrm>
            <a:custGeom>
              <a:avLst/>
              <a:gdLst>
                <a:gd name="T0" fmla="*/ 5198 w 5390"/>
                <a:gd name="T1" fmla="*/ 1199 h 1235"/>
                <a:gd name="T2" fmla="*/ 5338 w 5390"/>
                <a:gd name="T3" fmla="*/ 1086 h 1235"/>
                <a:gd name="T4" fmla="*/ 5390 w 5390"/>
                <a:gd name="T5" fmla="*/ 905 h 1235"/>
                <a:gd name="T6" fmla="*/ 5119 w 5390"/>
                <a:gd name="T7" fmla="*/ 966 h 1235"/>
                <a:gd name="T8" fmla="*/ 4966 w 5390"/>
                <a:gd name="T9" fmla="*/ 995 h 1235"/>
                <a:gd name="T10" fmla="*/ 4884 w 5390"/>
                <a:gd name="T11" fmla="*/ 906 h 1235"/>
                <a:gd name="T12" fmla="*/ 4657 w 5390"/>
                <a:gd name="T13" fmla="*/ 1011 h 1235"/>
                <a:gd name="T14" fmla="*/ 4759 w 5390"/>
                <a:gd name="T15" fmla="*/ 1156 h 1235"/>
                <a:gd name="T16" fmla="*/ 4936 w 5390"/>
                <a:gd name="T17" fmla="*/ 1229 h 1235"/>
                <a:gd name="T18" fmla="*/ 3908 w 5390"/>
                <a:gd name="T19" fmla="*/ 971 h 1235"/>
                <a:gd name="T20" fmla="*/ 3776 w 5390"/>
                <a:gd name="T21" fmla="*/ 742 h 1235"/>
                <a:gd name="T22" fmla="*/ 3908 w 5390"/>
                <a:gd name="T23" fmla="*/ 515 h 1235"/>
                <a:gd name="T24" fmla="*/ 4176 w 5390"/>
                <a:gd name="T25" fmla="*/ 527 h 1235"/>
                <a:gd name="T26" fmla="*/ 4285 w 5390"/>
                <a:gd name="T27" fmla="*/ 771 h 1235"/>
                <a:gd name="T28" fmla="*/ 4133 w 5390"/>
                <a:gd name="T29" fmla="*/ 981 h 1235"/>
                <a:gd name="T30" fmla="*/ 4156 w 5390"/>
                <a:gd name="T31" fmla="*/ 1221 h 1235"/>
                <a:gd name="T32" fmla="*/ 4383 w 5390"/>
                <a:gd name="T33" fmla="*/ 1093 h 1235"/>
                <a:gd name="T34" fmla="*/ 4513 w 5390"/>
                <a:gd name="T35" fmla="*/ 867 h 1235"/>
                <a:gd name="T36" fmla="*/ 4506 w 5390"/>
                <a:gd name="T37" fmla="*/ 594 h 1235"/>
                <a:gd name="T38" fmla="*/ 4366 w 5390"/>
                <a:gd name="T39" fmla="*/ 376 h 1235"/>
                <a:gd name="T40" fmla="*/ 4131 w 5390"/>
                <a:gd name="T41" fmla="*/ 260 h 1235"/>
                <a:gd name="T42" fmla="*/ 3859 w 5390"/>
                <a:gd name="T43" fmla="*/ 279 h 1235"/>
                <a:gd name="T44" fmla="*/ 3647 w 5390"/>
                <a:gd name="T45" fmla="*/ 426 h 1235"/>
                <a:gd name="T46" fmla="*/ 3539 w 5390"/>
                <a:gd name="T47" fmla="*/ 666 h 1235"/>
                <a:gd name="T48" fmla="*/ 3573 w 5390"/>
                <a:gd name="T49" fmla="*/ 936 h 1235"/>
                <a:gd name="T50" fmla="*/ 3732 w 5390"/>
                <a:gd name="T51" fmla="*/ 1139 h 1235"/>
                <a:gd name="T52" fmla="*/ 3980 w 5390"/>
                <a:gd name="T53" fmla="*/ 1233 h 1235"/>
                <a:gd name="T54" fmla="*/ 3168 w 5390"/>
                <a:gd name="T55" fmla="*/ 846 h 1235"/>
                <a:gd name="T56" fmla="*/ 3217 w 5390"/>
                <a:gd name="T57" fmla="*/ 910 h 1235"/>
                <a:gd name="T58" fmla="*/ 3182 w 5390"/>
                <a:gd name="T59" fmla="*/ 986 h 1235"/>
                <a:gd name="T60" fmla="*/ 3152 w 5390"/>
                <a:gd name="T61" fmla="*/ 497 h 1235"/>
                <a:gd name="T62" fmla="*/ 3185 w 5390"/>
                <a:gd name="T63" fmla="*/ 577 h 1235"/>
                <a:gd name="T64" fmla="*/ 2985 w 5390"/>
                <a:gd name="T65" fmla="*/ 635 h 1235"/>
                <a:gd name="T66" fmla="*/ 3400 w 5390"/>
                <a:gd name="T67" fmla="*/ 658 h 1235"/>
                <a:gd name="T68" fmla="*/ 3427 w 5390"/>
                <a:gd name="T69" fmla="*/ 508 h 1235"/>
                <a:gd name="T70" fmla="*/ 3371 w 5390"/>
                <a:gd name="T71" fmla="*/ 370 h 1235"/>
                <a:gd name="T72" fmla="*/ 3116 w 5390"/>
                <a:gd name="T73" fmla="*/ 270 h 1235"/>
                <a:gd name="T74" fmla="*/ 3351 w 5390"/>
                <a:gd name="T75" fmla="*/ 1156 h 1235"/>
                <a:gd name="T76" fmla="*/ 3443 w 5390"/>
                <a:gd name="T77" fmla="*/ 1040 h 1235"/>
                <a:gd name="T78" fmla="*/ 3452 w 5390"/>
                <a:gd name="T79" fmla="*/ 870 h 1235"/>
                <a:gd name="T80" fmla="*/ 3354 w 5390"/>
                <a:gd name="T81" fmla="*/ 735 h 1235"/>
                <a:gd name="T82" fmla="*/ 1667 w 5390"/>
                <a:gd name="T83" fmla="*/ 1215 h 1235"/>
                <a:gd name="T84" fmla="*/ 1233 w 5390"/>
                <a:gd name="T85" fmla="*/ 501 h 1235"/>
                <a:gd name="T86" fmla="*/ 1292 w 5390"/>
                <a:gd name="T87" fmla="*/ 589 h 1235"/>
                <a:gd name="T88" fmla="*/ 1250 w 5390"/>
                <a:gd name="T89" fmla="*/ 689 h 1235"/>
                <a:gd name="T90" fmla="*/ 1568 w 5390"/>
                <a:gd name="T91" fmla="*/ 1215 h 1235"/>
                <a:gd name="T92" fmla="*/ 1509 w 5390"/>
                <a:gd name="T93" fmla="*/ 718 h 1235"/>
                <a:gd name="T94" fmla="*/ 1525 w 5390"/>
                <a:gd name="T95" fmla="*/ 511 h 1235"/>
                <a:gd name="T96" fmla="*/ 1436 w 5390"/>
                <a:gd name="T97" fmla="*/ 362 h 1235"/>
                <a:gd name="T98" fmla="*/ 1280 w 5390"/>
                <a:gd name="T99" fmla="*/ 280 h 1235"/>
                <a:gd name="T100" fmla="*/ 1309 w 5390"/>
                <a:gd name="T101" fmla="*/ 1215 h 1235"/>
                <a:gd name="T102" fmla="*/ 367 w 5390"/>
                <a:gd name="T103" fmla="*/ 702 h 1235"/>
                <a:gd name="T104" fmla="*/ 436 w 5390"/>
                <a:gd name="T105" fmla="*/ 528 h 1235"/>
                <a:gd name="T106" fmla="*/ 459 w 5390"/>
                <a:gd name="T107" fmla="*/ 632 h 1235"/>
                <a:gd name="T108" fmla="*/ 387 w 5390"/>
                <a:gd name="T109" fmla="*/ 701 h 1235"/>
                <a:gd name="T110" fmla="*/ 403 w 5390"/>
                <a:gd name="T111" fmla="*/ 930 h 1235"/>
                <a:gd name="T112" fmla="*/ 572 w 5390"/>
                <a:gd name="T113" fmla="*/ 869 h 1235"/>
                <a:gd name="T114" fmla="*/ 680 w 5390"/>
                <a:gd name="T115" fmla="*/ 735 h 1235"/>
                <a:gd name="T116" fmla="*/ 703 w 5390"/>
                <a:gd name="T117" fmla="*/ 547 h 1235"/>
                <a:gd name="T118" fmla="*/ 629 w 5390"/>
                <a:gd name="T119" fmla="*/ 386 h 1235"/>
                <a:gd name="T120" fmla="*/ 485 w 5390"/>
                <a:gd name="T121" fmla="*/ 289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90" h="1235">
                  <a:moveTo>
                    <a:pt x="5015" y="1235"/>
                  </a:moveTo>
                  <a:lnTo>
                    <a:pt x="5036" y="1235"/>
                  </a:lnTo>
                  <a:lnTo>
                    <a:pt x="5056" y="1233"/>
                  </a:lnTo>
                  <a:lnTo>
                    <a:pt x="5074" y="1232"/>
                  </a:lnTo>
                  <a:lnTo>
                    <a:pt x="5095" y="1229"/>
                  </a:lnTo>
                  <a:lnTo>
                    <a:pt x="5113" y="1226"/>
                  </a:lnTo>
                  <a:lnTo>
                    <a:pt x="5131" y="1222"/>
                  </a:lnTo>
                  <a:lnTo>
                    <a:pt x="5149" y="1218"/>
                  </a:lnTo>
                  <a:lnTo>
                    <a:pt x="5165" y="1212"/>
                  </a:lnTo>
                  <a:lnTo>
                    <a:pt x="5182" y="1206"/>
                  </a:lnTo>
                  <a:lnTo>
                    <a:pt x="5198" y="1199"/>
                  </a:lnTo>
                  <a:lnTo>
                    <a:pt x="5214" y="1192"/>
                  </a:lnTo>
                  <a:lnTo>
                    <a:pt x="5230" y="1185"/>
                  </a:lnTo>
                  <a:lnTo>
                    <a:pt x="5244" y="1176"/>
                  </a:lnTo>
                  <a:lnTo>
                    <a:pt x="5259" y="1166"/>
                  </a:lnTo>
                  <a:lnTo>
                    <a:pt x="5272" y="1156"/>
                  </a:lnTo>
                  <a:lnTo>
                    <a:pt x="5285" y="1146"/>
                  </a:lnTo>
                  <a:lnTo>
                    <a:pt x="5296" y="1134"/>
                  </a:lnTo>
                  <a:lnTo>
                    <a:pt x="5308" y="1123"/>
                  </a:lnTo>
                  <a:lnTo>
                    <a:pt x="5319" y="1111"/>
                  </a:lnTo>
                  <a:lnTo>
                    <a:pt x="5329" y="1098"/>
                  </a:lnTo>
                  <a:lnTo>
                    <a:pt x="5338" y="1086"/>
                  </a:lnTo>
                  <a:lnTo>
                    <a:pt x="5347" y="1071"/>
                  </a:lnTo>
                  <a:lnTo>
                    <a:pt x="5355" y="1057"/>
                  </a:lnTo>
                  <a:lnTo>
                    <a:pt x="5362" y="1041"/>
                  </a:lnTo>
                  <a:lnTo>
                    <a:pt x="5368" y="1027"/>
                  </a:lnTo>
                  <a:lnTo>
                    <a:pt x="5374" y="1011"/>
                  </a:lnTo>
                  <a:lnTo>
                    <a:pt x="5380" y="994"/>
                  </a:lnTo>
                  <a:lnTo>
                    <a:pt x="5383" y="976"/>
                  </a:lnTo>
                  <a:lnTo>
                    <a:pt x="5387" y="959"/>
                  </a:lnTo>
                  <a:lnTo>
                    <a:pt x="5388" y="942"/>
                  </a:lnTo>
                  <a:lnTo>
                    <a:pt x="5390" y="923"/>
                  </a:lnTo>
                  <a:lnTo>
                    <a:pt x="5390" y="905"/>
                  </a:lnTo>
                  <a:lnTo>
                    <a:pt x="5390" y="270"/>
                  </a:lnTo>
                  <a:lnTo>
                    <a:pt x="5148" y="270"/>
                  </a:lnTo>
                  <a:lnTo>
                    <a:pt x="5148" y="882"/>
                  </a:lnTo>
                  <a:lnTo>
                    <a:pt x="5148" y="895"/>
                  </a:lnTo>
                  <a:lnTo>
                    <a:pt x="5146" y="906"/>
                  </a:lnTo>
                  <a:lnTo>
                    <a:pt x="5144" y="918"/>
                  </a:lnTo>
                  <a:lnTo>
                    <a:pt x="5141" y="929"/>
                  </a:lnTo>
                  <a:lnTo>
                    <a:pt x="5138" y="939"/>
                  </a:lnTo>
                  <a:lnTo>
                    <a:pt x="5132" y="949"/>
                  </a:lnTo>
                  <a:lnTo>
                    <a:pt x="5126" y="958"/>
                  </a:lnTo>
                  <a:lnTo>
                    <a:pt x="5119" y="966"/>
                  </a:lnTo>
                  <a:lnTo>
                    <a:pt x="5110" y="974"/>
                  </a:lnTo>
                  <a:lnTo>
                    <a:pt x="5100" y="981"/>
                  </a:lnTo>
                  <a:lnTo>
                    <a:pt x="5090" y="986"/>
                  </a:lnTo>
                  <a:lnTo>
                    <a:pt x="5077" y="991"/>
                  </a:lnTo>
                  <a:lnTo>
                    <a:pt x="5064" y="995"/>
                  </a:lnTo>
                  <a:lnTo>
                    <a:pt x="5050" y="998"/>
                  </a:lnTo>
                  <a:lnTo>
                    <a:pt x="5033" y="999"/>
                  </a:lnTo>
                  <a:lnTo>
                    <a:pt x="5015" y="1001"/>
                  </a:lnTo>
                  <a:lnTo>
                    <a:pt x="4998" y="999"/>
                  </a:lnTo>
                  <a:lnTo>
                    <a:pt x="4981" y="998"/>
                  </a:lnTo>
                  <a:lnTo>
                    <a:pt x="4966" y="995"/>
                  </a:lnTo>
                  <a:lnTo>
                    <a:pt x="4954" y="991"/>
                  </a:lnTo>
                  <a:lnTo>
                    <a:pt x="4941" y="986"/>
                  </a:lnTo>
                  <a:lnTo>
                    <a:pt x="4930" y="981"/>
                  </a:lnTo>
                  <a:lnTo>
                    <a:pt x="4920" y="974"/>
                  </a:lnTo>
                  <a:lnTo>
                    <a:pt x="4912" y="966"/>
                  </a:lnTo>
                  <a:lnTo>
                    <a:pt x="4905" y="958"/>
                  </a:lnTo>
                  <a:lnTo>
                    <a:pt x="4899" y="949"/>
                  </a:lnTo>
                  <a:lnTo>
                    <a:pt x="4893" y="939"/>
                  </a:lnTo>
                  <a:lnTo>
                    <a:pt x="4890" y="929"/>
                  </a:lnTo>
                  <a:lnTo>
                    <a:pt x="4886" y="918"/>
                  </a:lnTo>
                  <a:lnTo>
                    <a:pt x="4884" y="906"/>
                  </a:lnTo>
                  <a:lnTo>
                    <a:pt x="4883" y="895"/>
                  </a:lnTo>
                  <a:lnTo>
                    <a:pt x="4883" y="882"/>
                  </a:lnTo>
                  <a:lnTo>
                    <a:pt x="4883" y="270"/>
                  </a:lnTo>
                  <a:lnTo>
                    <a:pt x="4641" y="270"/>
                  </a:lnTo>
                  <a:lnTo>
                    <a:pt x="4641" y="905"/>
                  </a:lnTo>
                  <a:lnTo>
                    <a:pt x="4641" y="923"/>
                  </a:lnTo>
                  <a:lnTo>
                    <a:pt x="4642" y="942"/>
                  </a:lnTo>
                  <a:lnTo>
                    <a:pt x="4644" y="959"/>
                  </a:lnTo>
                  <a:lnTo>
                    <a:pt x="4648" y="976"/>
                  </a:lnTo>
                  <a:lnTo>
                    <a:pt x="4651" y="994"/>
                  </a:lnTo>
                  <a:lnTo>
                    <a:pt x="4657" y="1011"/>
                  </a:lnTo>
                  <a:lnTo>
                    <a:pt x="4661" y="1027"/>
                  </a:lnTo>
                  <a:lnTo>
                    <a:pt x="4668" y="1041"/>
                  </a:lnTo>
                  <a:lnTo>
                    <a:pt x="4676" y="1057"/>
                  </a:lnTo>
                  <a:lnTo>
                    <a:pt x="4683" y="1071"/>
                  </a:lnTo>
                  <a:lnTo>
                    <a:pt x="4691" y="1086"/>
                  </a:lnTo>
                  <a:lnTo>
                    <a:pt x="4702" y="1098"/>
                  </a:lnTo>
                  <a:lnTo>
                    <a:pt x="4712" y="1111"/>
                  </a:lnTo>
                  <a:lnTo>
                    <a:pt x="4723" y="1123"/>
                  </a:lnTo>
                  <a:lnTo>
                    <a:pt x="4735" y="1134"/>
                  </a:lnTo>
                  <a:lnTo>
                    <a:pt x="4746" y="1146"/>
                  </a:lnTo>
                  <a:lnTo>
                    <a:pt x="4759" y="1156"/>
                  </a:lnTo>
                  <a:lnTo>
                    <a:pt x="4772" y="1166"/>
                  </a:lnTo>
                  <a:lnTo>
                    <a:pt x="4786" y="1176"/>
                  </a:lnTo>
                  <a:lnTo>
                    <a:pt x="4801" y="1185"/>
                  </a:lnTo>
                  <a:lnTo>
                    <a:pt x="4817" y="1192"/>
                  </a:lnTo>
                  <a:lnTo>
                    <a:pt x="4831" y="1199"/>
                  </a:lnTo>
                  <a:lnTo>
                    <a:pt x="4848" y="1206"/>
                  </a:lnTo>
                  <a:lnTo>
                    <a:pt x="4864" y="1212"/>
                  </a:lnTo>
                  <a:lnTo>
                    <a:pt x="4882" y="1218"/>
                  </a:lnTo>
                  <a:lnTo>
                    <a:pt x="4900" y="1222"/>
                  </a:lnTo>
                  <a:lnTo>
                    <a:pt x="4918" y="1226"/>
                  </a:lnTo>
                  <a:lnTo>
                    <a:pt x="4936" y="1229"/>
                  </a:lnTo>
                  <a:lnTo>
                    <a:pt x="4956" y="1232"/>
                  </a:lnTo>
                  <a:lnTo>
                    <a:pt x="4975" y="1233"/>
                  </a:lnTo>
                  <a:lnTo>
                    <a:pt x="4995" y="1235"/>
                  </a:lnTo>
                  <a:lnTo>
                    <a:pt x="5015" y="1235"/>
                  </a:lnTo>
                  <a:close/>
                  <a:moveTo>
                    <a:pt x="4030" y="999"/>
                  </a:moveTo>
                  <a:lnTo>
                    <a:pt x="4030" y="999"/>
                  </a:lnTo>
                  <a:lnTo>
                    <a:pt x="4005" y="998"/>
                  </a:lnTo>
                  <a:lnTo>
                    <a:pt x="3979" y="994"/>
                  </a:lnTo>
                  <a:lnTo>
                    <a:pt x="3954" y="988"/>
                  </a:lnTo>
                  <a:lnTo>
                    <a:pt x="3930" y="981"/>
                  </a:lnTo>
                  <a:lnTo>
                    <a:pt x="3908" y="971"/>
                  </a:lnTo>
                  <a:lnTo>
                    <a:pt x="3886" y="958"/>
                  </a:lnTo>
                  <a:lnTo>
                    <a:pt x="3866" y="943"/>
                  </a:lnTo>
                  <a:lnTo>
                    <a:pt x="3849" y="928"/>
                  </a:lnTo>
                  <a:lnTo>
                    <a:pt x="3833" y="910"/>
                  </a:lnTo>
                  <a:lnTo>
                    <a:pt x="3817" y="890"/>
                  </a:lnTo>
                  <a:lnTo>
                    <a:pt x="3806" y="869"/>
                  </a:lnTo>
                  <a:lnTo>
                    <a:pt x="3794" y="846"/>
                  </a:lnTo>
                  <a:lnTo>
                    <a:pt x="3787" y="823"/>
                  </a:lnTo>
                  <a:lnTo>
                    <a:pt x="3780" y="797"/>
                  </a:lnTo>
                  <a:lnTo>
                    <a:pt x="3777" y="771"/>
                  </a:lnTo>
                  <a:lnTo>
                    <a:pt x="3776" y="742"/>
                  </a:lnTo>
                  <a:lnTo>
                    <a:pt x="3777" y="715"/>
                  </a:lnTo>
                  <a:lnTo>
                    <a:pt x="3780" y="688"/>
                  </a:lnTo>
                  <a:lnTo>
                    <a:pt x="3787" y="663"/>
                  </a:lnTo>
                  <a:lnTo>
                    <a:pt x="3794" y="639"/>
                  </a:lnTo>
                  <a:lnTo>
                    <a:pt x="3806" y="616"/>
                  </a:lnTo>
                  <a:lnTo>
                    <a:pt x="3817" y="594"/>
                  </a:lnTo>
                  <a:lnTo>
                    <a:pt x="3833" y="576"/>
                  </a:lnTo>
                  <a:lnTo>
                    <a:pt x="3849" y="557"/>
                  </a:lnTo>
                  <a:lnTo>
                    <a:pt x="3866" y="541"/>
                  </a:lnTo>
                  <a:lnTo>
                    <a:pt x="3886" y="527"/>
                  </a:lnTo>
                  <a:lnTo>
                    <a:pt x="3908" y="515"/>
                  </a:lnTo>
                  <a:lnTo>
                    <a:pt x="3930" y="505"/>
                  </a:lnTo>
                  <a:lnTo>
                    <a:pt x="3954" y="497"/>
                  </a:lnTo>
                  <a:lnTo>
                    <a:pt x="3979" y="491"/>
                  </a:lnTo>
                  <a:lnTo>
                    <a:pt x="4005" y="487"/>
                  </a:lnTo>
                  <a:lnTo>
                    <a:pt x="4030" y="487"/>
                  </a:lnTo>
                  <a:lnTo>
                    <a:pt x="4058" y="487"/>
                  </a:lnTo>
                  <a:lnTo>
                    <a:pt x="4084" y="491"/>
                  </a:lnTo>
                  <a:lnTo>
                    <a:pt x="4108" y="497"/>
                  </a:lnTo>
                  <a:lnTo>
                    <a:pt x="4133" y="505"/>
                  </a:lnTo>
                  <a:lnTo>
                    <a:pt x="4154" y="515"/>
                  </a:lnTo>
                  <a:lnTo>
                    <a:pt x="4176" y="527"/>
                  </a:lnTo>
                  <a:lnTo>
                    <a:pt x="4196" y="541"/>
                  </a:lnTo>
                  <a:lnTo>
                    <a:pt x="4213" y="557"/>
                  </a:lnTo>
                  <a:lnTo>
                    <a:pt x="4229" y="576"/>
                  </a:lnTo>
                  <a:lnTo>
                    <a:pt x="4244" y="594"/>
                  </a:lnTo>
                  <a:lnTo>
                    <a:pt x="4257" y="616"/>
                  </a:lnTo>
                  <a:lnTo>
                    <a:pt x="4268" y="639"/>
                  </a:lnTo>
                  <a:lnTo>
                    <a:pt x="4275" y="663"/>
                  </a:lnTo>
                  <a:lnTo>
                    <a:pt x="4282" y="688"/>
                  </a:lnTo>
                  <a:lnTo>
                    <a:pt x="4285" y="715"/>
                  </a:lnTo>
                  <a:lnTo>
                    <a:pt x="4287" y="742"/>
                  </a:lnTo>
                  <a:lnTo>
                    <a:pt x="4285" y="771"/>
                  </a:lnTo>
                  <a:lnTo>
                    <a:pt x="4282" y="797"/>
                  </a:lnTo>
                  <a:lnTo>
                    <a:pt x="4275" y="823"/>
                  </a:lnTo>
                  <a:lnTo>
                    <a:pt x="4268" y="846"/>
                  </a:lnTo>
                  <a:lnTo>
                    <a:pt x="4257" y="869"/>
                  </a:lnTo>
                  <a:lnTo>
                    <a:pt x="4244" y="890"/>
                  </a:lnTo>
                  <a:lnTo>
                    <a:pt x="4229" y="910"/>
                  </a:lnTo>
                  <a:lnTo>
                    <a:pt x="4213" y="928"/>
                  </a:lnTo>
                  <a:lnTo>
                    <a:pt x="4196" y="943"/>
                  </a:lnTo>
                  <a:lnTo>
                    <a:pt x="4176" y="958"/>
                  </a:lnTo>
                  <a:lnTo>
                    <a:pt x="4154" y="971"/>
                  </a:lnTo>
                  <a:lnTo>
                    <a:pt x="4133" y="981"/>
                  </a:lnTo>
                  <a:lnTo>
                    <a:pt x="4108" y="988"/>
                  </a:lnTo>
                  <a:lnTo>
                    <a:pt x="4084" y="994"/>
                  </a:lnTo>
                  <a:lnTo>
                    <a:pt x="4058" y="998"/>
                  </a:lnTo>
                  <a:lnTo>
                    <a:pt x="4030" y="999"/>
                  </a:lnTo>
                  <a:close/>
                  <a:moveTo>
                    <a:pt x="4030" y="1235"/>
                  </a:moveTo>
                  <a:lnTo>
                    <a:pt x="4030" y="1235"/>
                  </a:lnTo>
                  <a:lnTo>
                    <a:pt x="4056" y="1235"/>
                  </a:lnTo>
                  <a:lnTo>
                    <a:pt x="4082" y="1233"/>
                  </a:lnTo>
                  <a:lnTo>
                    <a:pt x="4107" y="1229"/>
                  </a:lnTo>
                  <a:lnTo>
                    <a:pt x="4131" y="1226"/>
                  </a:lnTo>
                  <a:lnTo>
                    <a:pt x="4156" y="1221"/>
                  </a:lnTo>
                  <a:lnTo>
                    <a:pt x="4180" y="1213"/>
                  </a:lnTo>
                  <a:lnTo>
                    <a:pt x="4203" y="1206"/>
                  </a:lnTo>
                  <a:lnTo>
                    <a:pt x="4225" y="1198"/>
                  </a:lnTo>
                  <a:lnTo>
                    <a:pt x="4248" y="1187"/>
                  </a:lnTo>
                  <a:lnTo>
                    <a:pt x="4268" y="1177"/>
                  </a:lnTo>
                  <a:lnTo>
                    <a:pt x="4290" y="1166"/>
                  </a:lnTo>
                  <a:lnTo>
                    <a:pt x="4310" y="1153"/>
                  </a:lnTo>
                  <a:lnTo>
                    <a:pt x="4329" y="1139"/>
                  </a:lnTo>
                  <a:lnTo>
                    <a:pt x="4347" y="1124"/>
                  </a:lnTo>
                  <a:lnTo>
                    <a:pt x="4366" y="1110"/>
                  </a:lnTo>
                  <a:lnTo>
                    <a:pt x="4383" y="1093"/>
                  </a:lnTo>
                  <a:lnTo>
                    <a:pt x="4399" y="1077"/>
                  </a:lnTo>
                  <a:lnTo>
                    <a:pt x="4415" y="1058"/>
                  </a:lnTo>
                  <a:lnTo>
                    <a:pt x="4429" y="1040"/>
                  </a:lnTo>
                  <a:lnTo>
                    <a:pt x="4444" y="1021"/>
                  </a:lnTo>
                  <a:lnTo>
                    <a:pt x="4457" y="1001"/>
                  </a:lnTo>
                  <a:lnTo>
                    <a:pt x="4468" y="981"/>
                  </a:lnTo>
                  <a:lnTo>
                    <a:pt x="4480" y="959"/>
                  </a:lnTo>
                  <a:lnTo>
                    <a:pt x="4490" y="936"/>
                  </a:lnTo>
                  <a:lnTo>
                    <a:pt x="4498" y="915"/>
                  </a:lnTo>
                  <a:lnTo>
                    <a:pt x="4506" y="892"/>
                  </a:lnTo>
                  <a:lnTo>
                    <a:pt x="4513" y="867"/>
                  </a:lnTo>
                  <a:lnTo>
                    <a:pt x="4519" y="844"/>
                  </a:lnTo>
                  <a:lnTo>
                    <a:pt x="4523" y="818"/>
                  </a:lnTo>
                  <a:lnTo>
                    <a:pt x="4526" y="794"/>
                  </a:lnTo>
                  <a:lnTo>
                    <a:pt x="4527" y="768"/>
                  </a:lnTo>
                  <a:lnTo>
                    <a:pt x="4527" y="742"/>
                  </a:lnTo>
                  <a:lnTo>
                    <a:pt x="4527" y="716"/>
                  </a:lnTo>
                  <a:lnTo>
                    <a:pt x="4526" y="691"/>
                  </a:lnTo>
                  <a:lnTo>
                    <a:pt x="4523" y="666"/>
                  </a:lnTo>
                  <a:lnTo>
                    <a:pt x="4519" y="642"/>
                  </a:lnTo>
                  <a:lnTo>
                    <a:pt x="4513" y="617"/>
                  </a:lnTo>
                  <a:lnTo>
                    <a:pt x="4506" y="594"/>
                  </a:lnTo>
                  <a:lnTo>
                    <a:pt x="4498" y="571"/>
                  </a:lnTo>
                  <a:lnTo>
                    <a:pt x="4490" y="548"/>
                  </a:lnTo>
                  <a:lnTo>
                    <a:pt x="4480" y="527"/>
                  </a:lnTo>
                  <a:lnTo>
                    <a:pt x="4468" y="505"/>
                  </a:lnTo>
                  <a:lnTo>
                    <a:pt x="4457" y="484"/>
                  </a:lnTo>
                  <a:lnTo>
                    <a:pt x="4444" y="464"/>
                  </a:lnTo>
                  <a:lnTo>
                    <a:pt x="4429" y="445"/>
                  </a:lnTo>
                  <a:lnTo>
                    <a:pt x="4415" y="426"/>
                  </a:lnTo>
                  <a:lnTo>
                    <a:pt x="4399" y="409"/>
                  </a:lnTo>
                  <a:lnTo>
                    <a:pt x="4383" y="392"/>
                  </a:lnTo>
                  <a:lnTo>
                    <a:pt x="4366" y="376"/>
                  </a:lnTo>
                  <a:lnTo>
                    <a:pt x="4347" y="360"/>
                  </a:lnTo>
                  <a:lnTo>
                    <a:pt x="4329" y="346"/>
                  </a:lnTo>
                  <a:lnTo>
                    <a:pt x="4310" y="333"/>
                  </a:lnTo>
                  <a:lnTo>
                    <a:pt x="4290" y="320"/>
                  </a:lnTo>
                  <a:lnTo>
                    <a:pt x="4268" y="309"/>
                  </a:lnTo>
                  <a:lnTo>
                    <a:pt x="4248" y="297"/>
                  </a:lnTo>
                  <a:lnTo>
                    <a:pt x="4225" y="287"/>
                  </a:lnTo>
                  <a:lnTo>
                    <a:pt x="4203" y="279"/>
                  </a:lnTo>
                  <a:lnTo>
                    <a:pt x="4180" y="271"/>
                  </a:lnTo>
                  <a:lnTo>
                    <a:pt x="4156" y="266"/>
                  </a:lnTo>
                  <a:lnTo>
                    <a:pt x="4131" y="260"/>
                  </a:lnTo>
                  <a:lnTo>
                    <a:pt x="4107" y="256"/>
                  </a:lnTo>
                  <a:lnTo>
                    <a:pt x="4082" y="253"/>
                  </a:lnTo>
                  <a:lnTo>
                    <a:pt x="4056" y="250"/>
                  </a:lnTo>
                  <a:lnTo>
                    <a:pt x="4030" y="250"/>
                  </a:lnTo>
                  <a:lnTo>
                    <a:pt x="4006" y="250"/>
                  </a:lnTo>
                  <a:lnTo>
                    <a:pt x="3980" y="253"/>
                  </a:lnTo>
                  <a:lnTo>
                    <a:pt x="3956" y="256"/>
                  </a:lnTo>
                  <a:lnTo>
                    <a:pt x="3931" y="260"/>
                  </a:lnTo>
                  <a:lnTo>
                    <a:pt x="3907" y="266"/>
                  </a:lnTo>
                  <a:lnTo>
                    <a:pt x="3882" y="271"/>
                  </a:lnTo>
                  <a:lnTo>
                    <a:pt x="3859" y="279"/>
                  </a:lnTo>
                  <a:lnTo>
                    <a:pt x="3838" y="287"/>
                  </a:lnTo>
                  <a:lnTo>
                    <a:pt x="3814" y="297"/>
                  </a:lnTo>
                  <a:lnTo>
                    <a:pt x="3793" y="309"/>
                  </a:lnTo>
                  <a:lnTo>
                    <a:pt x="3773" y="320"/>
                  </a:lnTo>
                  <a:lnTo>
                    <a:pt x="3753" y="333"/>
                  </a:lnTo>
                  <a:lnTo>
                    <a:pt x="3732" y="346"/>
                  </a:lnTo>
                  <a:lnTo>
                    <a:pt x="3714" y="360"/>
                  </a:lnTo>
                  <a:lnTo>
                    <a:pt x="3696" y="376"/>
                  </a:lnTo>
                  <a:lnTo>
                    <a:pt x="3679" y="392"/>
                  </a:lnTo>
                  <a:lnTo>
                    <a:pt x="3663" y="409"/>
                  </a:lnTo>
                  <a:lnTo>
                    <a:pt x="3647" y="426"/>
                  </a:lnTo>
                  <a:lnTo>
                    <a:pt x="3633" y="445"/>
                  </a:lnTo>
                  <a:lnTo>
                    <a:pt x="3619" y="464"/>
                  </a:lnTo>
                  <a:lnTo>
                    <a:pt x="3606" y="484"/>
                  </a:lnTo>
                  <a:lnTo>
                    <a:pt x="3594" y="505"/>
                  </a:lnTo>
                  <a:lnTo>
                    <a:pt x="3583" y="527"/>
                  </a:lnTo>
                  <a:lnTo>
                    <a:pt x="3573" y="548"/>
                  </a:lnTo>
                  <a:lnTo>
                    <a:pt x="3564" y="571"/>
                  </a:lnTo>
                  <a:lnTo>
                    <a:pt x="3557" y="594"/>
                  </a:lnTo>
                  <a:lnTo>
                    <a:pt x="3550" y="617"/>
                  </a:lnTo>
                  <a:lnTo>
                    <a:pt x="3544" y="642"/>
                  </a:lnTo>
                  <a:lnTo>
                    <a:pt x="3539" y="666"/>
                  </a:lnTo>
                  <a:lnTo>
                    <a:pt x="3537" y="691"/>
                  </a:lnTo>
                  <a:lnTo>
                    <a:pt x="3535" y="716"/>
                  </a:lnTo>
                  <a:lnTo>
                    <a:pt x="3534" y="742"/>
                  </a:lnTo>
                  <a:lnTo>
                    <a:pt x="3535" y="768"/>
                  </a:lnTo>
                  <a:lnTo>
                    <a:pt x="3537" y="794"/>
                  </a:lnTo>
                  <a:lnTo>
                    <a:pt x="3539" y="818"/>
                  </a:lnTo>
                  <a:lnTo>
                    <a:pt x="3544" y="844"/>
                  </a:lnTo>
                  <a:lnTo>
                    <a:pt x="3550" y="867"/>
                  </a:lnTo>
                  <a:lnTo>
                    <a:pt x="3557" y="892"/>
                  </a:lnTo>
                  <a:lnTo>
                    <a:pt x="3564" y="915"/>
                  </a:lnTo>
                  <a:lnTo>
                    <a:pt x="3573" y="936"/>
                  </a:lnTo>
                  <a:lnTo>
                    <a:pt x="3583" y="959"/>
                  </a:lnTo>
                  <a:lnTo>
                    <a:pt x="3594" y="981"/>
                  </a:lnTo>
                  <a:lnTo>
                    <a:pt x="3606" y="1001"/>
                  </a:lnTo>
                  <a:lnTo>
                    <a:pt x="3619" y="1021"/>
                  </a:lnTo>
                  <a:lnTo>
                    <a:pt x="3633" y="1040"/>
                  </a:lnTo>
                  <a:lnTo>
                    <a:pt x="3647" y="1058"/>
                  </a:lnTo>
                  <a:lnTo>
                    <a:pt x="3663" y="1077"/>
                  </a:lnTo>
                  <a:lnTo>
                    <a:pt x="3679" y="1093"/>
                  </a:lnTo>
                  <a:lnTo>
                    <a:pt x="3696" y="1110"/>
                  </a:lnTo>
                  <a:lnTo>
                    <a:pt x="3714" y="1124"/>
                  </a:lnTo>
                  <a:lnTo>
                    <a:pt x="3732" y="1139"/>
                  </a:lnTo>
                  <a:lnTo>
                    <a:pt x="3753" y="1153"/>
                  </a:lnTo>
                  <a:lnTo>
                    <a:pt x="3773" y="1166"/>
                  </a:lnTo>
                  <a:lnTo>
                    <a:pt x="3793" y="1177"/>
                  </a:lnTo>
                  <a:lnTo>
                    <a:pt x="3814" y="1187"/>
                  </a:lnTo>
                  <a:lnTo>
                    <a:pt x="3838" y="1198"/>
                  </a:lnTo>
                  <a:lnTo>
                    <a:pt x="3859" y="1206"/>
                  </a:lnTo>
                  <a:lnTo>
                    <a:pt x="3882" y="1213"/>
                  </a:lnTo>
                  <a:lnTo>
                    <a:pt x="3907" y="1221"/>
                  </a:lnTo>
                  <a:lnTo>
                    <a:pt x="3931" y="1226"/>
                  </a:lnTo>
                  <a:lnTo>
                    <a:pt x="3956" y="1229"/>
                  </a:lnTo>
                  <a:lnTo>
                    <a:pt x="3980" y="1233"/>
                  </a:lnTo>
                  <a:lnTo>
                    <a:pt x="4006" y="1235"/>
                  </a:lnTo>
                  <a:lnTo>
                    <a:pt x="4030" y="1235"/>
                  </a:lnTo>
                  <a:close/>
                  <a:moveTo>
                    <a:pt x="3135" y="999"/>
                  </a:moveTo>
                  <a:lnTo>
                    <a:pt x="3135" y="999"/>
                  </a:lnTo>
                  <a:lnTo>
                    <a:pt x="2985" y="999"/>
                  </a:lnTo>
                  <a:lnTo>
                    <a:pt x="2985" y="840"/>
                  </a:lnTo>
                  <a:lnTo>
                    <a:pt x="3135" y="840"/>
                  </a:lnTo>
                  <a:lnTo>
                    <a:pt x="3143" y="840"/>
                  </a:lnTo>
                  <a:lnTo>
                    <a:pt x="3152" y="841"/>
                  </a:lnTo>
                  <a:lnTo>
                    <a:pt x="3161" y="843"/>
                  </a:lnTo>
                  <a:lnTo>
                    <a:pt x="3168" y="846"/>
                  </a:lnTo>
                  <a:lnTo>
                    <a:pt x="3175" y="849"/>
                  </a:lnTo>
                  <a:lnTo>
                    <a:pt x="3182" y="851"/>
                  </a:lnTo>
                  <a:lnTo>
                    <a:pt x="3188" y="856"/>
                  </a:lnTo>
                  <a:lnTo>
                    <a:pt x="3194" y="862"/>
                  </a:lnTo>
                  <a:lnTo>
                    <a:pt x="3200" y="867"/>
                  </a:lnTo>
                  <a:lnTo>
                    <a:pt x="3204" y="873"/>
                  </a:lnTo>
                  <a:lnTo>
                    <a:pt x="3208" y="879"/>
                  </a:lnTo>
                  <a:lnTo>
                    <a:pt x="3211" y="886"/>
                  </a:lnTo>
                  <a:lnTo>
                    <a:pt x="3214" y="895"/>
                  </a:lnTo>
                  <a:lnTo>
                    <a:pt x="3215" y="902"/>
                  </a:lnTo>
                  <a:lnTo>
                    <a:pt x="3217" y="910"/>
                  </a:lnTo>
                  <a:lnTo>
                    <a:pt x="3217" y="919"/>
                  </a:lnTo>
                  <a:lnTo>
                    <a:pt x="3217" y="928"/>
                  </a:lnTo>
                  <a:lnTo>
                    <a:pt x="3215" y="936"/>
                  </a:lnTo>
                  <a:lnTo>
                    <a:pt x="3214" y="943"/>
                  </a:lnTo>
                  <a:lnTo>
                    <a:pt x="3211" y="951"/>
                  </a:lnTo>
                  <a:lnTo>
                    <a:pt x="3208" y="958"/>
                  </a:lnTo>
                  <a:lnTo>
                    <a:pt x="3204" y="965"/>
                  </a:lnTo>
                  <a:lnTo>
                    <a:pt x="3200" y="971"/>
                  </a:lnTo>
                  <a:lnTo>
                    <a:pt x="3194" y="976"/>
                  </a:lnTo>
                  <a:lnTo>
                    <a:pt x="3188" y="982"/>
                  </a:lnTo>
                  <a:lnTo>
                    <a:pt x="3182" y="986"/>
                  </a:lnTo>
                  <a:lnTo>
                    <a:pt x="3175" y="989"/>
                  </a:lnTo>
                  <a:lnTo>
                    <a:pt x="3168" y="994"/>
                  </a:lnTo>
                  <a:lnTo>
                    <a:pt x="3161" y="995"/>
                  </a:lnTo>
                  <a:lnTo>
                    <a:pt x="3152" y="998"/>
                  </a:lnTo>
                  <a:lnTo>
                    <a:pt x="3143" y="999"/>
                  </a:lnTo>
                  <a:lnTo>
                    <a:pt x="3135" y="999"/>
                  </a:lnTo>
                  <a:close/>
                  <a:moveTo>
                    <a:pt x="3109" y="487"/>
                  </a:moveTo>
                  <a:lnTo>
                    <a:pt x="3109" y="487"/>
                  </a:lnTo>
                  <a:lnTo>
                    <a:pt x="3125" y="487"/>
                  </a:lnTo>
                  <a:lnTo>
                    <a:pt x="3139" y="491"/>
                  </a:lnTo>
                  <a:lnTo>
                    <a:pt x="3152" y="497"/>
                  </a:lnTo>
                  <a:lnTo>
                    <a:pt x="3164" y="505"/>
                  </a:lnTo>
                  <a:lnTo>
                    <a:pt x="3169" y="511"/>
                  </a:lnTo>
                  <a:lnTo>
                    <a:pt x="3174" y="517"/>
                  </a:lnTo>
                  <a:lnTo>
                    <a:pt x="3177" y="523"/>
                  </a:lnTo>
                  <a:lnTo>
                    <a:pt x="3181" y="530"/>
                  </a:lnTo>
                  <a:lnTo>
                    <a:pt x="3182" y="537"/>
                  </a:lnTo>
                  <a:lnTo>
                    <a:pt x="3185" y="544"/>
                  </a:lnTo>
                  <a:lnTo>
                    <a:pt x="3187" y="551"/>
                  </a:lnTo>
                  <a:lnTo>
                    <a:pt x="3187" y="560"/>
                  </a:lnTo>
                  <a:lnTo>
                    <a:pt x="3187" y="569"/>
                  </a:lnTo>
                  <a:lnTo>
                    <a:pt x="3185" y="577"/>
                  </a:lnTo>
                  <a:lnTo>
                    <a:pt x="3182" y="586"/>
                  </a:lnTo>
                  <a:lnTo>
                    <a:pt x="3181" y="593"/>
                  </a:lnTo>
                  <a:lnTo>
                    <a:pt x="3177" y="599"/>
                  </a:lnTo>
                  <a:lnTo>
                    <a:pt x="3174" y="604"/>
                  </a:lnTo>
                  <a:lnTo>
                    <a:pt x="3168" y="610"/>
                  </a:lnTo>
                  <a:lnTo>
                    <a:pt x="3164" y="616"/>
                  </a:lnTo>
                  <a:lnTo>
                    <a:pt x="3152" y="625"/>
                  </a:lnTo>
                  <a:lnTo>
                    <a:pt x="3139" y="630"/>
                  </a:lnTo>
                  <a:lnTo>
                    <a:pt x="3125" y="633"/>
                  </a:lnTo>
                  <a:lnTo>
                    <a:pt x="3109" y="635"/>
                  </a:lnTo>
                  <a:lnTo>
                    <a:pt x="2985" y="635"/>
                  </a:lnTo>
                  <a:lnTo>
                    <a:pt x="2985" y="487"/>
                  </a:lnTo>
                  <a:lnTo>
                    <a:pt x="3109" y="487"/>
                  </a:lnTo>
                  <a:close/>
                  <a:moveTo>
                    <a:pt x="3341" y="727"/>
                  </a:moveTo>
                  <a:lnTo>
                    <a:pt x="3341" y="727"/>
                  </a:lnTo>
                  <a:lnTo>
                    <a:pt x="3351" y="718"/>
                  </a:lnTo>
                  <a:lnTo>
                    <a:pt x="3361" y="709"/>
                  </a:lnTo>
                  <a:lnTo>
                    <a:pt x="3370" y="699"/>
                  </a:lnTo>
                  <a:lnTo>
                    <a:pt x="3378" y="691"/>
                  </a:lnTo>
                  <a:lnTo>
                    <a:pt x="3385" y="681"/>
                  </a:lnTo>
                  <a:lnTo>
                    <a:pt x="3393" y="669"/>
                  </a:lnTo>
                  <a:lnTo>
                    <a:pt x="3400" y="658"/>
                  </a:lnTo>
                  <a:lnTo>
                    <a:pt x="3406" y="646"/>
                  </a:lnTo>
                  <a:lnTo>
                    <a:pt x="3411" y="635"/>
                  </a:lnTo>
                  <a:lnTo>
                    <a:pt x="3416" y="622"/>
                  </a:lnTo>
                  <a:lnTo>
                    <a:pt x="3420" y="609"/>
                  </a:lnTo>
                  <a:lnTo>
                    <a:pt x="3423" y="596"/>
                  </a:lnTo>
                  <a:lnTo>
                    <a:pt x="3426" y="583"/>
                  </a:lnTo>
                  <a:lnTo>
                    <a:pt x="3427" y="569"/>
                  </a:lnTo>
                  <a:lnTo>
                    <a:pt x="3429" y="554"/>
                  </a:lnTo>
                  <a:lnTo>
                    <a:pt x="3429" y="538"/>
                  </a:lnTo>
                  <a:lnTo>
                    <a:pt x="3429" y="523"/>
                  </a:lnTo>
                  <a:lnTo>
                    <a:pt x="3427" y="508"/>
                  </a:lnTo>
                  <a:lnTo>
                    <a:pt x="3426" y="494"/>
                  </a:lnTo>
                  <a:lnTo>
                    <a:pt x="3423" y="480"/>
                  </a:lnTo>
                  <a:lnTo>
                    <a:pt x="3420" y="465"/>
                  </a:lnTo>
                  <a:lnTo>
                    <a:pt x="3416" y="452"/>
                  </a:lnTo>
                  <a:lnTo>
                    <a:pt x="3411" y="439"/>
                  </a:lnTo>
                  <a:lnTo>
                    <a:pt x="3407" y="426"/>
                  </a:lnTo>
                  <a:lnTo>
                    <a:pt x="3401" y="413"/>
                  </a:lnTo>
                  <a:lnTo>
                    <a:pt x="3394" y="402"/>
                  </a:lnTo>
                  <a:lnTo>
                    <a:pt x="3387" y="391"/>
                  </a:lnTo>
                  <a:lnTo>
                    <a:pt x="3380" y="380"/>
                  </a:lnTo>
                  <a:lnTo>
                    <a:pt x="3371" y="370"/>
                  </a:lnTo>
                  <a:lnTo>
                    <a:pt x="3362" y="360"/>
                  </a:lnTo>
                  <a:lnTo>
                    <a:pt x="3352" y="350"/>
                  </a:lnTo>
                  <a:lnTo>
                    <a:pt x="3344" y="342"/>
                  </a:lnTo>
                  <a:lnTo>
                    <a:pt x="3322" y="326"/>
                  </a:lnTo>
                  <a:lnTo>
                    <a:pt x="3298" y="312"/>
                  </a:lnTo>
                  <a:lnTo>
                    <a:pt x="3272" y="299"/>
                  </a:lnTo>
                  <a:lnTo>
                    <a:pt x="3244" y="289"/>
                  </a:lnTo>
                  <a:lnTo>
                    <a:pt x="3215" y="280"/>
                  </a:lnTo>
                  <a:lnTo>
                    <a:pt x="3184" y="274"/>
                  </a:lnTo>
                  <a:lnTo>
                    <a:pt x="3151" y="271"/>
                  </a:lnTo>
                  <a:lnTo>
                    <a:pt x="3116" y="270"/>
                  </a:lnTo>
                  <a:lnTo>
                    <a:pt x="2742" y="270"/>
                  </a:lnTo>
                  <a:lnTo>
                    <a:pt x="2742" y="1215"/>
                  </a:lnTo>
                  <a:lnTo>
                    <a:pt x="3142" y="1215"/>
                  </a:lnTo>
                  <a:lnTo>
                    <a:pt x="3177" y="1213"/>
                  </a:lnTo>
                  <a:lnTo>
                    <a:pt x="3211" y="1210"/>
                  </a:lnTo>
                  <a:lnTo>
                    <a:pt x="3243" y="1203"/>
                  </a:lnTo>
                  <a:lnTo>
                    <a:pt x="3273" y="1195"/>
                  </a:lnTo>
                  <a:lnTo>
                    <a:pt x="3300" y="1185"/>
                  </a:lnTo>
                  <a:lnTo>
                    <a:pt x="3326" y="1172"/>
                  </a:lnTo>
                  <a:lnTo>
                    <a:pt x="3339" y="1165"/>
                  </a:lnTo>
                  <a:lnTo>
                    <a:pt x="3351" y="1156"/>
                  </a:lnTo>
                  <a:lnTo>
                    <a:pt x="3362" y="1149"/>
                  </a:lnTo>
                  <a:lnTo>
                    <a:pt x="3372" y="1140"/>
                  </a:lnTo>
                  <a:lnTo>
                    <a:pt x="3382" y="1130"/>
                  </a:lnTo>
                  <a:lnTo>
                    <a:pt x="3393" y="1120"/>
                  </a:lnTo>
                  <a:lnTo>
                    <a:pt x="3401" y="1110"/>
                  </a:lnTo>
                  <a:lnTo>
                    <a:pt x="3410" y="1100"/>
                  </a:lnTo>
                  <a:lnTo>
                    <a:pt x="3417" y="1088"/>
                  </a:lnTo>
                  <a:lnTo>
                    <a:pt x="3424" y="1077"/>
                  </a:lnTo>
                  <a:lnTo>
                    <a:pt x="3431" y="1064"/>
                  </a:lnTo>
                  <a:lnTo>
                    <a:pt x="3437" y="1053"/>
                  </a:lnTo>
                  <a:lnTo>
                    <a:pt x="3443" y="1040"/>
                  </a:lnTo>
                  <a:lnTo>
                    <a:pt x="3447" y="1027"/>
                  </a:lnTo>
                  <a:lnTo>
                    <a:pt x="3450" y="1012"/>
                  </a:lnTo>
                  <a:lnTo>
                    <a:pt x="3454" y="998"/>
                  </a:lnTo>
                  <a:lnTo>
                    <a:pt x="3456" y="984"/>
                  </a:lnTo>
                  <a:lnTo>
                    <a:pt x="3459" y="969"/>
                  </a:lnTo>
                  <a:lnTo>
                    <a:pt x="3459" y="953"/>
                  </a:lnTo>
                  <a:lnTo>
                    <a:pt x="3460" y="938"/>
                  </a:lnTo>
                  <a:lnTo>
                    <a:pt x="3459" y="920"/>
                  </a:lnTo>
                  <a:lnTo>
                    <a:pt x="3457" y="903"/>
                  </a:lnTo>
                  <a:lnTo>
                    <a:pt x="3454" y="887"/>
                  </a:lnTo>
                  <a:lnTo>
                    <a:pt x="3452" y="870"/>
                  </a:lnTo>
                  <a:lnTo>
                    <a:pt x="3447" y="856"/>
                  </a:lnTo>
                  <a:lnTo>
                    <a:pt x="3442" y="840"/>
                  </a:lnTo>
                  <a:lnTo>
                    <a:pt x="3434" y="826"/>
                  </a:lnTo>
                  <a:lnTo>
                    <a:pt x="3427" y="813"/>
                  </a:lnTo>
                  <a:lnTo>
                    <a:pt x="3420" y="800"/>
                  </a:lnTo>
                  <a:lnTo>
                    <a:pt x="3410" y="787"/>
                  </a:lnTo>
                  <a:lnTo>
                    <a:pt x="3401" y="775"/>
                  </a:lnTo>
                  <a:lnTo>
                    <a:pt x="3390" y="764"/>
                  </a:lnTo>
                  <a:lnTo>
                    <a:pt x="3378" y="754"/>
                  </a:lnTo>
                  <a:lnTo>
                    <a:pt x="3367" y="744"/>
                  </a:lnTo>
                  <a:lnTo>
                    <a:pt x="3354" y="735"/>
                  </a:lnTo>
                  <a:lnTo>
                    <a:pt x="3341" y="727"/>
                  </a:lnTo>
                  <a:close/>
                  <a:moveTo>
                    <a:pt x="2314" y="982"/>
                  </a:moveTo>
                  <a:lnTo>
                    <a:pt x="2314" y="982"/>
                  </a:lnTo>
                  <a:lnTo>
                    <a:pt x="2314" y="270"/>
                  </a:lnTo>
                  <a:lnTo>
                    <a:pt x="2072" y="270"/>
                  </a:lnTo>
                  <a:lnTo>
                    <a:pt x="2072" y="1215"/>
                  </a:lnTo>
                  <a:lnTo>
                    <a:pt x="2641" y="1215"/>
                  </a:lnTo>
                  <a:lnTo>
                    <a:pt x="2641" y="982"/>
                  </a:lnTo>
                  <a:lnTo>
                    <a:pt x="2314" y="982"/>
                  </a:lnTo>
                  <a:close/>
                  <a:moveTo>
                    <a:pt x="1667" y="1215"/>
                  </a:moveTo>
                  <a:lnTo>
                    <a:pt x="1667" y="1215"/>
                  </a:lnTo>
                  <a:lnTo>
                    <a:pt x="1909" y="1215"/>
                  </a:lnTo>
                  <a:lnTo>
                    <a:pt x="1909" y="270"/>
                  </a:lnTo>
                  <a:lnTo>
                    <a:pt x="1667" y="270"/>
                  </a:lnTo>
                  <a:lnTo>
                    <a:pt x="1667" y="1215"/>
                  </a:lnTo>
                  <a:close/>
                  <a:moveTo>
                    <a:pt x="1057" y="492"/>
                  </a:moveTo>
                  <a:lnTo>
                    <a:pt x="1057" y="492"/>
                  </a:lnTo>
                  <a:lnTo>
                    <a:pt x="1191" y="492"/>
                  </a:lnTo>
                  <a:lnTo>
                    <a:pt x="1202" y="494"/>
                  </a:lnTo>
                  <a:lnTo>
                    <a:pt x="1212" y="495"/>
                  </a:lnTo>
                  <a:lnTo>
                    <a:pt x="1222" y="497"/>
                  </a:lnTo>
                  <a:lnTo>
                    <a:pt x="1233" y="501"/>
                  </a:lnTo>
                  <a:lnTo>
                    <a:pt x="1241" y="505"/>
                  </a:lnTo>
                  <a:lnTo>
                    <a:pt x="1250" y="510"/>
                  </a:lnTo>
                  <a:lnTo>
                    <a:pt x="1257" y="515"/>
                  </a:lnTo>
                  <a:lnTo>
                    <a:pt x="1264" y="523"/>
                  </a:lnTo>
                  <a:lnTo>
                    <a:pt x="1270" y="530"/>
                  </a:lnTo>
                  <a:lnTo>
                    <a:pt x="1276" y="538"/>
                  </a:lnTo>
                  <a:lnTo>
                    <a:pt x="1282" y="547"/>
                  </a:lnTo>
                  <a:lnTo>
                    <a:pt x="1284" y="557"/>
                  </a:lnTo>
                  <a:lnTo>
                    <a:pt x="1289" y="567"/>
                  </a:lnTo>
                  <a:lnTo>
                    <a:pt x="1290" y="577"/>
                  </a:lnTo>
                  <a:lnTo>
                    <a:pt x="1292" y="589"/>
                  </a:lnTo>
                  <a:lnTo>
                    <a:pt x="1293" y="599"/>
                  </a:lnTo>
                  <a:lnTo>
                    <a:pt x="1292" y="612"/>
                  </a:lnTo>
                  <a:lnTo>
                    <a:pt x="1290" y="622"/>
                  </a:lnTo>
                  <a:lnTo>
                    <a:pt x="1289" y="633"/>
                  </a:lnTo>
                  <a:lnTo>
                    <a:pt x="1284" y="643"/>
                  </a:lnTo>
                  <a:lnTo>
                    <a:pt x="1282" y="652"/>
                  </a:lnTo>
                  <a:lnTo>
                    <a:pt x="1276" y="660"/>
                  </a:lnTo>
                  <a:lnTo>
                    <a:pt x="1270" y="669"/>
                  </a:lnTo>
                  <a:lnTo>
                    <a:pt x="1264" y="676"/>
                  </a:lnTo>
                  <a:lnTo>
                    <a:pt x="1257" y="683"/>
                  </a:lnTo>
                  <a:lnTo>
                    <a:pt x="1250" y="689"/>
                  </a:lnTo>
                  <a:lnTo>
                    <a:pt x="1241" y="694"/>
                  </a:lnTo>
                  <a:lnTo>
                    <a:pt x="1233" y="698"/>
                  </a:lnTo>
                  <a:lnTo>
                    <a:pt x="1222" y="701"/>
                  </a:lnTo>
                  <a:lnTo>
                    <a:pt x="1212" y="704"/>
                  </a:lnTo>
                  <a:lnTo>
                    <a:pt x="1202" y="705"/>
                  </a:lnTo>
                  <a:lnTo>
                    <a:pt x="1191" y="705"/>
                  </a:lnTo>
                  <a:lnTo>
                    <a:pt x="1057" y="705"/>
                  </a:lnTo>
                  <a:lnTo>
                    <a:pt x="1057" y="492"/>
                  </a:lnTo>
                  <a:close/>
                  <a:moveTo>
                    <a:pt x="1309" y="1215"/>
                  </a:moveTo>
                  <a:lnTo>
                    <a:pt x="1309" y="1215"/>
                  </a:lnTo>
                  <a:lnTo>
                    <a:pt x="1568" y="1215"/>
                  </a:lnTo>
                  <a:lnTo>
                    <a:pt x="1374" y="866"/>
                  </a:lnTo>
                  <a:lnTo>
                    <a:pt x="1391" y="854"/>
                  </a:lnTo>
                  <a:lnTo>
                    <a:pt x="1408" y="843"/>
                  </a:lnTo>
                  <a:lnTo>
                    <a:pt x="1424" y="830"/>
                  </a:lnTo>
                  <a:lnTo>
                    <a:pt x="1440" y="817"/>
                  </a:lnTo>
                  <a:lnTo>
                    <a:pt x="1454" y="803"/>
                  </a:lnTo>
                  <a:lnTo>
                    <a:pt x="1467" y="787"/>
                  </a:lnTo>
                  <a:lnTo>
                    <a:pt x="1480" y="771"/>
                  </a:lnTo>
                  <a:lnTo>
                    <a:pt x="1490" y="754"/>
                  </a:lnTo>
                  <a:lnTo>
                    <a:pt x="1500" y="737"/>
                  </a:lnTo>
                  <a:lnTo>
                    <a:pt x="1509" y="718"/>
                  </a:lnTo>
                  <a:lnTo>
                    <a:pt x="1518" y="699"/>
                  </a:lnTo>
                  <a:lnTo>
                    <a:pt x="1523" y="681"/>
                  </a:lnTo>
                  <a:lnTo>
                    <a:pt x="1528" y="660"/>
                  </a:lnTo>
                  <a:lnTo>
                    <a:pt x="1532" y="639"/>
                  </a:lnTo>
                  <a:lnTo>
                    <a:pt x="1534" y="619"/>
                  </a:lnTo>
                  <a:lnTo>
                    <a:pt x="1535" y="597"/>
                  </a:lnTo>
                  <a:lnTo>
                    <a:pt x="1535" y="579"/>
                  </a:lnTo>
                  <a:lnTo>
                    <a:pt x="1534" y="561"/>
                  </a:lnTo>
                  <a:lnTo>
                    <a:pt x="1531" y="544"/>
                  </a:lnTo>
                  <a:lnTo>
                    <a:pt x="1528" y="528"/>
                  </a:lnTo>
                  <a:lnTo>
                    <a:pt x="1525" y="511"/>
                  </a:lnTo>
                  <a:lnTo>
                    <a:pt x="1519" y="495"/>
                  </a:lnTo>
                  <a:lnTo>
                    <a:pt x="1515" y="481"/>
                  </a:lnTo>
                  <a:lnTo>
                    <a:pt x="1509" y="465"/>
                  </a:lnTo>
                  <a:lnTo>
                    <a:pt x="1502" y="451"/>
                  </a:lnTo>
                  <a:lnTo>
                    <a:pt x="1495" y="436"/>
                  </a:lnTo>
                  <a:lnTo>
                    <a:pt x="1486" y="424"/>
                  </a:lnTo>
                  <a:lnTo>
                    <a:pt x="1477" y="409"/>
                  </a:lnTo>
                  <a:lnTo>
                    <a:pt x="1469" y="398"/>
                  </a:lnTo>
                  <a:lnTo>
                    <a:pt x="1459" y="385"/>
                  </a:lnTo>
                  <a:lnTo>
                    <a:pt x="1447" y="373"/>
                  </a:lnTo>
                  <a:lnTo>
                    <a:pt x="1436" y="362"/>
                  </a:lnTo>
                  <a:lnTo>
                    <a:pt x="1424" y="352"/>
                  </a:lnTo>
                  <a:lnTo>
                    <a:pt x="1413" y="342"/>
                  </a:lnTo>
                  <a:lnTo>
                    <a:pt x="1400" y="332"/>
                  </a:lnTo>
                  <a:lnTo>
                    <a:pt x="1387" y="323"/>
                  </a:lnTo>
                  <a:lnTo>
                    <a:pt x="1372" y="314"/>
                  </a:lnTo>
                  <a:lnTo>
                    <a:pt x="1358" y="307"/>
                  </a:lnTo>
                  <a:lnTo>
                    <a:pt x="1343" y="300"/>
                  </a:lnTo>
                  <a:lnTo>
                    <a:pt x="1328" y="294"/>
                  </a:lnTo>
                  <a:lnTo>
                    <a:pt x="1312" y="289"/>
                  </a:lnTo>
                  <a:lnTo>
                    <a:pt x="1296" y="284"/>
                  </a:lnTo>
                  <a:lnTo>
                    <a:pt x="1280" y="280"/>
                  </a:lnTo>
                  <a:lnTo>
                    <a:pt x="1263" y="276"/>
                  </a:lnTo>
                  <a:lnTo>
                    <a:pt x="1247" y="274"/>
                  </a:lnTo>
                  <a:lnTo>
                    <a:pt x="1230" y="271"/>
                  </a:lnTo>
                  <a:lnTo>
                    <a:pt x="1211" y="270"/>
                  </a:lnTo>
                  <a:lnTo>
                    <a:pt x="1194" y="270"/>
                  </a:lnTo>
                  <a:lnTo>
                    <a:pt x="815" y="270"/>
                  </a:lnTo>
                  <a:lnTo>
                    <a:pt x="815" y="1215"/>
                  </a:lnTo>
                  <a:lnTo>
                    <a:pt x="1057" y="1215"/>
                  </a:lnTo>
                  <a:lnTo>
                    <a:pt x="1057" y="910"/>
                  </a:lnTo>
                  <a:lnTo>
                    <a:pt x="1143" y="910"/>
                  </a:lnTo>
                  <a:lnTo>
                    <a:pt x="1309" y="1215"/>
                  </a:lnTo>
                  <a:close/>
                  <a:moveTo>
                    <a:pt x="1014" y="210"/>
                  </a:moveTo>
                  <a:lnTo>
                    <a:pt x="1014" y="210"/>
                  </a:lnTo>
                  <a:lnTo>
                    <a:pt x="1240" y="210"/>
                  </a:lnTo>
                  <a:lnTo>
                    <a:pt x="1384" y="0"/>
                  </a:lnTo>
                  <a:lnTo>
                    <a:pt x="1181" y="0"/>
                  </a:lnTo>
                  <a:lnTo>
                    <a:pt x="1127" y="76"/>
                  </a:lnTo>
                  <a:lnTo>
                    <a:pt x="1073" y="0"/>
                  </a:lnTo>
                  <a:lnTo>
                    <a:pt x="870" y="0"/>
                  </a:lnTo>
                  <a:lnTo>
                    <a:pt x="1014" y="210"/>
                  </a:lnTo>
                  <a:close/>
                  <a:moveTo>
                    <a:pt x="367" y="702"/>
                  </a:moveTo>
                  <a:lnTo>
                    <a:pt x="367" y="702"/>
                  </a:lnTo>
                  <a:lnTo>
                    <a:pt x="242" y="702"/>
                  </a:lnTo>
                  <a:lnTo>
                    <a:pt x="242" y="501"/>
                  </a:lnTo>
                  <a:lnTo>
                    <a:pt x="367" y="501"/>
                  </a:lnTo>
                  <a:lnTo>
                    <a:pt x="377" y="501"/>
                  </a:lnTo>
                  <a:lnTo>
                    <a:pt x="387" y="503"/>
                  </a:lnTo>
                  <a:lnTo>
                    <a:pt x="397" y="505"/>
                  </a:lnTo>
                  <a:lnTo>
                    <a:pt x="406" y="508"/>
                  </a:lnTo>
                  <a:lnTo>
                    <a:pt x="415" y="513"/>
                  </a:lnTo>
                  <a:lnTo>
                    <a:pt x="422" y="517"/>
                  </a:lnTo>
                  <a:lnTo>
                    <a:pt x="429" y="523"/>
                  </a:lnTo>
                  <a:lnTo>
                    <a:pt x="436" y="528"/>
                  </a:lnTo>
                  <a:lnTo>
                    <a:pt x="442" y="536"/>
                  </a:lnTo>
                  <a:lnTo>
                    <a:pt x="448" y="543"/>
                  </a:lnTo>
                  <a:lnTo>
                    <a:pt x="452" y="551"/>
                  </a:lnTo>
                  <a:lnTo>
                    <a:pt x="456" y="560"/>
                  </a:lnTo>
                  <a:lnTo>
                    <a:pt x="459" y="570"/>
                  </a:lnTo>
                  <a:lnTo>
                    <a:pt x="462" y="580"/>
                  </a:lnTo>
                  <a:lnTo>
                    <a:pt x="464" y="590"/>
                  </a:lnTo>
                  <a:lnTo>
                    <a:pt x="464" y="600"/>
                  </a:lnTo>
                  <a:lnTo>
                    <a:pt x="464" y="612"/>
                  </a:lnTo>
                  <a:lnTo>
                    <a:pt x="462" y="622"/>
                  </a:lnTo>
                  <a:lnTo>
                    <a:pt x="459" y="632"/>
                  </a:lnTo>
                  <a:lnTo>
                    <a:pt x="456" y="642"/>
                  </a:lnTo>
                  <a:lnTo>
                    <a:pt x="452" y="650"/>
                  </a:lnTo>
                  <a:lnTo>
                    <a:pt x="448" y="659"/>
                  </a:lnTo>
                  <a:lnTo>
                    <a:pt x="442" y="666"/>
                  </a:lnTo>
                  <a:lnTo>
                    <a:pt x="436" y="673"/>
                  </a:lnTo>
                  <a:lnTo>
                    <a:pt x="429" y="681"/>
                  </a:lnTo>
                  <a:lnTo>
                    <a:pt x="422" y="686"/>
                  </a:lnTo>
                  <a:lnTo>
                    <a:pt x="415" y="691"/>
                  </a:lnTo>
                  <a:lnTo>
                    <a:pt x="406" y="695"/>
                  </a:lnTo>
                  <a:lnTo>
                    <a:pt x="397" y="698"/>
                  </a:lnTo>
                  <a:lnTo>
                    <a:pt x="387" y="701"/>
                  </a:lnTo>
                  <a:lnTo>
                    <a:pt x="377" y="702"/>
                  </a:lnTo>
                  <a:lnTo>
                    <a:pt x="367" y="702"/>
                  </a:lnTo>
                  <a:close/>
                  <a:moveTo>
                    <a:pt x="367" y="270"/>
                  </a:moveTo>
                  <a:lnTo>
                    <a:pt x="367" y="270"/>
                  </a:lnTo>
                  <a:lnTo>
                    <a:pt x="0" y="270"/>
                  </a:lnTo>
                  <a:lnTo>
                    <a:pt x="0" y="1215"/>
                  </a:lnTo>
                  <a:lnTo>
                    <a:pt x="242" y="1215"/>
                  </a:lnTo>
                  <a:lnTo>
                    <a:pt x="242" y="932"/>
                  </a:lnTo>
                  <a:lnTo>
                    <a:pt x="367" y="932"/>
                  </a:lnTo>
                  <a:lnTo>
                    <a:pt x="386" y="930"/>
                  </a:lnTo>
                  <a:lnTo>
                    <a:pt x="403" y="930"/>
                  </a:lnTo>
                  <a:lnTo>
                    <a:pt x="420" y="928"/>
                  </a:lnTo>
                  <a:lnTo>
                    <a:pt x="436" y="925"/>
                  </a:lnTo>
                  <a:lnTo>
                    <a:pt x="454" y="922"/>
                  </a:lnTo>
                  <a:lnTo>
                    <a:pt x="469" y="918"/>
                  </a:lnTo>
                  <a:lnTo>
                    <a:pt x="485" y="913"/>
                  </a:lnTo>
                  <a:lnTo>
                    <a:pt x="501" y="907"/>
                  </a:lnTo>
                  <a:lnTo>
                    <a:pt x="515" y="900"/>
                  </a:lnTo>
                  <a:lnTo>
                    <a:pt x="530" y="895"/>
                  </a:lnTo>
                  <a:lnTo>
                    <a:pt x="544" y="886"/>
                  </a:lnTo>
                  <a:lnTo>
                    <a:pt x="559" y="879"/>
                  </a:lnTo>
                  <a:lnTo>
                    <a:pt x="572" y="869"/>
                  </a:lnTo>
                  <a:lnTo>
                    <a:pt x="585" y="860"/>
                  </a:lnTo>
                  <a:lnTo>
                    <a:pt x="596" y="850"/>
                  </a:lnTo>
                  <a:lnTo>
                    <a:pt x="608" y="839"/>
                  </a:lnTo>
                  <a:lnTo>
                    <a:pt x="619" y="828"/>
                  </a:lnTo>
                  <a:lnTo>
                    <a:pt x="629" y="816"/>
                  </a:lnTo>
                  <a:lnTo>
                    <a:pt x="639" y="804"/>
                  </a:lnTo>
                  <a:lnTo>
                    <a:pt x="649" y="791"/>
                  </a:lnTo>
                  <a:lnTo>
                    <a:pt x="658" y="778"/>
                  </a:lnTo>
                  <a:lnTo>
                    <a:pt x="667" y="764"/>
                  </a:lnTo>
                  <a:lnTo>
                    <a:pt x="674" y="750"/>
                  </a:lnTo>
                  <a:lnTo>
                    <a:pt x="680" y="735"/>
                  </a:lnTo>
                  <a:lnTo>
                    <a:pt x="685" y="719"/>
                  </a:lnTo>
                  <a:lnTo>
                    <a:pt x="691" y="704"/>
                  </a:lnTo>
                  <a:lnTo>
                    <a:pt x="695" y="688"/>
                  </a:lnTo>
                  <a:lnTo>
                    <a:pt x="700" y="671"/>
                  </a:lnTo>
                  <a:lnTo>
                    <a:pt x="703" y="653"/>
                  </a:lnTo>
                  <a:lnTo>
                    <a:pt x="704" y="636"/>
                  </a:lnTo>
                  <a:lnTo>
                    <a:pt x="706" y="619"/>
                  </a:lnTo>
                  <a:lnTo>
                    <a:pt x="707" y="600"/>
                  </a:lnTo>
                  <a:lnTo>
                    <a:pt x="706" y="583"/>
                  </a:lnTo>
                  <a:lnTo>
                    <a:pt x="704" y="566"/>
                  </a:lnTo>
                  <a:lnTo>
                    <a:pt x="703" y="547"/>
                  </a:lnTo>
                  <a:lnTo>
                    <a:pt x="700" y="531"/>
                  </a:lnTo>
                  <a:lnTo>
                    <a:pt x="695" y="514"/>
                  </a:lnTo>
                  <a:lnTo>
                    <a:pt x="691" y="498"/>
                  </a:lnTo>
                  <a:lnTo>
                    <a:pt x="685" y="482"/>
                  </a:lnTo>
                  <a:lnTo>
                    <a:pt x="680" y="467"/>
                  </a:lnTo>
                  <a:lnTo>
                    <a:pt x="674" y="452"/>
                  </a:lnTo>
                  <a:lnTo>
                    <a:pt x="667" y="438"/>
                  </a:lnTo>
                  <a:lnTo>
                    <a:pt x="658" y="424"/>
                  </a:lnTo>
                  <a:lnTo>
                    <a:pt x="649" y="411"/>
                  </a:lnTo>
                  <a:lnTo>
                    <a:pt x="639" y="398"/>
                  </a:lnTo>
                  <a:lnTo>
                    <a:pt x="629" y="386"/>
                  </a:lnTo>
                  <a:lnTo>
                    <a:pt x="619" y="373"/>
                  </a:lnTo>
                  <a:lnTo>
                    <a:pt x="608" y="363"/>
                  </a:lnTo>
                  <a:lnTo>
                    <a:pt x="596" y="352"/>
                  </a:lnTo>
                  <a:lnTo>
                    <a:pt x="585" y="342"/>
                  </a:lnTo>
                  <a:lnTo>
                    <a:pt x="572" y="332"/>
                  </a:lnTo>
                  <a:lnTo>
                    <a:pt x="559" y="323"/>
                  </a:lnTo>
                  <a:lnTo>
                    <a:pt x="544" y="316"/>
                  </a:lnTo>
                  <a:lnTo>
                    <a:pt x="530" y="307"/>
                  </a:lnTo>
                  <a:lnTo>
                    <a:pt x="515" y="300"/>
                  </a:lnTo>
                  <a:lnTo>
                    <a:pt x="501" y="294"/>
                  </a:lnTo>
                  <a:lnTo>
                    <a:pt x="485" y="289"/>
                  </a:lnTo>
                  <a:lnTo>
                    <a:pt x="469" y="284"/>
                  </a:lnTo>
                  <a:lnTo>
                    <a:pt x="454" y="280"/>
                  </a:lnTo>
                  <a:lnTo>
                    <a:pt x="436" y="276"/>
                  </a:lnTo>
                  <a:lnTo>
                    <a:pt x="420" y="274"/>
                  </a:lnTo>
                  <a:lnTo>
                    <a:pt x="403" y="271"/>
                  </a:lnTo>
                  <a:lnTo>
                    <a:pt x="386" y="270"/>
                  </a:lnTo>
                  <a:lnTo>
                    <a:pt x="367" y="270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7" name="Freeform 61">
              <a:extLst>
                <a:ext uri="{FF2B5EF4-FFF2-40B4-BE49-F238E27FC236}">
                  <a16:creationId xmlns:a16="http://schemas.microsoft.com/office/drawing/2014/main" id="{9A7FB958-D9FA-FE32-9F69-1BA77B987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813" y="3919538"/>
              <a:ext cx="1828800" cy="519113"/>
            </a:xfrm>
            <a:custGeom>
              <a:avLst/>
              <a:gdLst>
                <a:gd name="T0" fmla="*/ 3258 w 3454"/>
                <a:gd name="T1" fmla="*/ 960 h 979"/>
                <a:gd name="T2" fmla="*/ 3374 w 3454"/>
                <a:gd name="T3" fmla="*/ 897 h 979"/>
                <a:gd name="T4" fmla="*/ 3417 w 3454"/>
                <a:gd name="T5" fmla="*/ 845 h 979"/>
                <a:gd name="T6" fmla="*/ 3444 w 3454"/>
                <a:gd name="T7" fmla="*/ 781 h 979"/>
                <a:gd name="T8" fmla="*/ 3454 w 3454"/>
                <a:gd name="T9" fmla="*/ 708 h 979"/>
                <a:gd name="T10" fmla="*/ 3443 w 3454"/>
                <a:gd name="T11" fmla="*/ 631 h 979"/>
                <a:gd name="T12" fmla="*/ 3412 w 3454"/>
                <a:gd name="T13" fmla="*/ 573 h 979"/>
                <a:gd name="T14" fmla="*/ 3332 w 3454"/>
                <a:gd name="T15" fmla="*/ 502 h 979"/>
                <a:gd name="T16" fmla="*/ 3133 w 3454"/>
                <a:gd name="T17" fmla="*/ 423 h 979"/>
                <a:gd name="T18" fmla="*/ 2996 w 3454"/>
                <a:gd name="T19" fmla="*/ 369 h 979"/>
                <a:gd name="T20" fmla="*/ 2946 w 3454"/>
                <a:gd name="T21" fmla="*/ 318 h 979"/>
                <a:gd name="T22" fmla="*/ 2934 w 3454"/>
                <a:gd name="T23" fmla="*/ 245 h 979"/>
                <a:gd name="T24" fmla="*/ 2962 w 3454"/>
                <a:gd name="T25" fmla="*/ 179 h 979"/>
                <a:gd name="T26" fmla="*/ 3021 w 3454"/>
                <a:gd name="T27" fmla="*/ 136 h 979"/>
                <a:gd name="T28" fmla="*/ 3106 w 3454"/>
                <a:gd name="T29" fmla="*/ 120 h 979"/>
                <a:gd name="T30" fmla="*/ 3199 w 3454"/>
                <a:gd name="T31" fmla="*/ 139 h 979"/>
                <a:gd name="T32" fmla="*/ 3268 w 3454"/>
                <a:gd name="T33" fmla="*/ 185 h 979"/>
                <a:gd name="T34" fmla="*/ 3314 w 3454"/>
                <a:gd name="T35" fmla="*/ 252 h 979"/>
                <a:gd name="T36" fmla="*/ 3391 w 3454"/>
                <a:gd name="T37" fmla="*/ 143 h 979"/>
                <a:gd name="T38" fmla="*/ 3304 w 3454"/>
                <a:gd name="T39" fmla="*/ 59 h 979"/>
                <a:gd name="T40" fmla="*/ 3189 w 3454"/>
                <a:gd name="T41" fmla="*/ 8 h 979"/>
                <a:gd name="T42" fmla="*/ 3048 w 3454"/>
                <a:gd name="T43" fmla="*/ 4 h 979"/>
                <a:gd name="T44" fmla="*/ 2918 w 3454"/>
                <a:gd name="T45" fmla="*/ 53 h 979"/>
                <a:gd name="T46" fmla="*/ 2845 w 3454"/>
                <a:gd name="T47" fmla="*/ 129 h 979"/>
                <a:gd name="T48" fmla="*/ 2818 w 3454"/>
                <a:gd name="T49" fmla="*/ 192 h 979"/>
                <a:gd name="T50" fmla="*/ 2808 w 3454"/>
                <a:gd name="T51" fmla="*/ 267 h 979"/>
                <a:gd name="T52" fmla="*/ 2818 w 3454"/>
                <a:gd name="T53" fmla="*/ 340 h 979"/>
                <a:gd name="T54" fmla="*/ 2846 w 3454"/>
                <a:gd name="T55" fmla="*/ 397 h 979"/>
                <a:gd name="T56" fmla="*/ 2921 w 3454"/>
                <a:gd name="T57" fmla="*/ 465 h 979"/>
                <a:gd name="T58" fmla="*/ 3106 w 3454"/>
                <a:gd name="T59" fmla="*/ 538 h 979"/>
                <a:gd name="T60" fmla="*/ 3254 w 3454"/>
                <a:gd name="T61" fmla="*/ 596 h 979"/>
                <a:gd name="T62" fmla="*/ 3314 w 3454"/>
                <a:gd name="T63" fmla="*/ 649 h 979"/>
                <a:gd name="T64" fmla="*/ 3329 w 3454"/>
                <a:gd name="T65" fmla="*/ 726 h 979"/>
                <a:gd name="T66" fmla="*/ 3302 w 3454"/>
                <a:gd name="T67" fmla="*/ 794 h 979"/>
                <a:gd name="T68" fmla="*/ 3235 w 3454"/>
                <a:gd name="T69" fmla="*/ 840 h 979"/>
                <a:gd name="T70" fmla="*/ 3129 w 3454"/>
                <a:gd name="T71" fmla="*/ 857 h 979"/>
                <a:gd name="T72" fmla="*/ 3016 w 3454"/>
                <a:gd name="T73" fmla="*/ 838 h 979"/>
                <a:gd name="T74" fmla="*/ 2934 w 3454"/>
                <a:gd name="T75" fmla="*/ 785 h 979"/>
                <a:gd name="T76" fmla="*/ 2882 w 3454"/>
                <a:gd name="T77" fmla="*/ 705 h 979"/>
                <a:gd name="T78" fmla="*/ 2803 w 3454"/>
                <a:gd name="T79" fmla="*/ 821 h 979"/>
                <a:gd name="T80" fmla="*/ 2898 w 3454"/>
                <a:gd name="T81" fmla="*/ 917 h 979"/>
                <a:gd name="T82" fmla="*/ 3031 w 3454"/>
                <a:gd name="T83" fmla="*/ 970 h 979"/>
                <a:gd name="T84" fmla="*/ 2139 w 3454"/>
                <a:gd name="T85" fmla="*/ 17 h 979"/>
                <a:gd name="T86" fmla="*/ 1676 w 3454"/>
                <a:gd name="T87" fmla="*/ 962 h 979"/>
                <a:gd name="T88" fmla="*/ 2139 w 3454"/>
                <a:gd name="T89" fmla="*/ 17 h 979"/>
                <a:gd name="T90" fmla="*/ 1345 w 3454"/>
                <a:gd name="T91" fmla="*/ 426 h 979"/>
                <a:gd name="T92" fmla="*/ 819 w 3454"/>
                <a:gd name="T93" fmla="*/ 17 h 979"/>
                <a:gd name="T94" fmla="*/ 296 w 3454"/>
                <a:gd name="T95" fmla="*/ 979 h 979"/>
                <a:gd name="T96" fmla="*/ 420 w 3454"/>
                <a:gd name="T97" fmla="*/ 962 h 979"/>
                <a:gd name="T98" fmla="*/ 509 w 3454"/>
                <a:gd name="T99" fmla="*/ 916 h 979"/>
                <a:gd name="T100" fmla="*/ 560 w 3454"/>
                <a:gd name="T101" fmla="*/ 866 h 979"/>
                <a:gd name="T102" fmla="*/ 596 w 3454"/>
                <a:gd name="T103" fmla="*/ 801 h 979"/>
                <a:gd name="T104" fmla="*/ 613 w 3454"/>
                <a:gd name="T105" fmla="*/ 721 h 979"/>
                <a:gd name="T106" fmla="*/ 491 w 3454"/>
                <a:gd name="T107" fmla="*/ 685 h 979"/>
                <a:gd name="T108" fmla="*/ 469 w 3454"/>
                <a:gd name="T109" fmla="*/ 777 h 979"/>
                <a:gd name="T110" fmla="*/ 409 w 3454"/>
                <a:gd name="T111" fmla="*/ 834 h 979"/>
                <a:gd name="T112" fmla="*/ 318 w 3454"/>
                <a:gd name="T113" fmla="*/ 856 h 979"/>
                <a:gd name="T114" fmla="*/ 233 w 3454"/>
                <a:gd name="T115" fmla="*/ 851 h 979"/>
                <a:gd name="T116" fmla="*/ 167 w 3454"/>
                <a:gd name="T117" fmla="*/ 824 h 979"/>
                <a:gd name="T118" fmla="*/ 121 w 3454"/>
                <a:gd name="T119" fmla="*/ 775 h 979"/>
                <a:gd name="T120" fmla="*/ 21 w 3454"/>
                <a:gd name="T121" fmla="*/ 850 h 979"/>
                <a:gd name="T122" fmla="*/ 99 w 3454"/>
                <a:gd name="T123" fmla="*/ 926 h 979"/>
                <a:gd name="T124" fmla="*/ 201 w 3454"/>
                <a:gd name="T125" fmla="*/ 96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4" h="979">
                  <a:moveTo>
                    <a:pt x="3126" y="979"/>
                  </a:moveTo>
                  <a:lnTo>
                    <a:pt x="3162" y="979"/>
                  </a:lnTo>
                  <a:lnTo>
                    <a:pt x="3196" y="975"/>
                  </a:lnTo>
                  <a:lnTo>
                    <a:pt x="3228" y="969"/>
                  </a:lnTo>
                  <a:lnTo>
                    <a:pt x="3258" y="960"/>
                  </a:lnTo>
                  <a:lnTo>
                    <a:pt x="3289" y="950"/>
                  </a:lnTo>
                  <a:lnTo>
                    <a:pt x="3314" y="937"/>
                  </a:lnTo>
                  <a:lnTo>
                    <a:pt x="3340" y="923"/>
                  </a:lnTo>
                  <a:lnTo>
                    <a:pt x="3362" y="906"/>
                  </a:lnTo>
                  <a:lnTo>
                    <a:pt x="3374" y="897"/>
                  </a:lnTo>
                  <a:lnTo>
                    <a:pt x="3384" y="887"/>
                  </a:lnTo>
                  <a:lnTo>
                    <a:pt x="3392" y="877"/>
                  </a:lnTo>
                  <a:lnTo>
                    <a:pt x="3401" y="867"/>
                  </a:lnTo>
                  <a:lnTo>
                    <a:pt x="3410" y="856"/>
                  </a:lnTo>
                  <a:lnTo>
                    <a:pt x="3417" y="845"/>
                  </a:lnTo>
                  <a:lnTo>
                    <a:pt x="3424" y="833"/>
                  </a:lnTo>
                  <a:lnTo>
                    <a:pt x="3430" y="821"/>
                  </a:lnTo>
                  <a:lnTo>
                    <a:pt x="3435" y="808"/>
                  </a:lnTo>
                  <a:lnTo>
                    <a:pt x="3440" y="795"/>
                  </a:lnTo>
                  <a:lnTo>
                    <a:pt x="3444" y="781"/>
                  </a:lnTo>
                  <a:lnTo>
                    <a:pt x="3447" y="768"/>
                  </a:lnTo>
                  <a:lnTo>
                    <a:pt x="3450" y="754"/>
                  </a:lnTo>
                  <a:lnTo>
                    <a:pt x="3453" y="739"/>
                  </a:lnTo>
                  <a:lnTo>
                    <a:pt x="3453" y="723"/>
                  </a:lnTo>
                  <a:lnTo>
                    <a:pt x="3454" y="708"/>
                  </a:lnTo>
                  <a:lnTo>
                    <a:pt x="3453" y="692"/>
                  </a:lnTo>
                  <a:lnTo>
                    <a:pt x="3451" y="676"/>
                  </a:lnTo>
                  <a:lnTo>
                    <a:pt x="3450" y="660"/>
                  </a:lnTo>
                  <a:lnTo>
                    <a:pt x="3447" y="646"/>
                  </a:lnTo>
                  <a:lnTo>
                    <a:pt x="3443" y="631"/>
                  </a:lnTo>
                  <a:lnTo>
                    <a:pt x="3438" y="619"/>
                  </a:lnTo>
                  <a:lnTo>
                    <a:pt x="3433" y="607"/>
                  </a:lnTo>
                  <a:lnTo>
                    <a:pt x="3427" y="594"/>
                  </a:lnTo>
                  <a:lnTo>
                    <a:pt x="3420" y="583"/>
                  </a:lnTo>
                  <a:lnTo>
                    <a:pt x="3412" y="573"/>
                  </a:lnTo>
                  <a:lnTo>
                    <a:pt x="3405" y="563"/>
                  </a:lnTo>
                  <a:lnTo>
                    <a:pt x="3395" y="553"/>
                  </a:lnTo>
                  <a:lnTo>
                    <a:pt x="3376" y="534"/>
                  </a:lnTo>
                  <a:lnTo>
                    <a:pt x="3355" y="518"/>
                  </a:lnTo>
                  <a:lnTo>
                    <a:pt x="3332" y="502"/>
                  </a:lnTo>
                  <a:lnTo>
                    <a:pt x="3307" y="489"/>
                  </a:lnTo>
                  <a:lnTo>
                    <a:pt x="3280" y="476"/>
                  </a:lnTo>
                  <a:lnTo>
                    <a:pt x="3253" y="465"/>
                  </a:lnTo>
                  <a:lnTo>
                    <a:pt x="3194" y="443"/>
                  </a:lnTo>
                  <a:lnTo>
                    <a:pt x="3133" y="423"/>
                  </a:lnTo>
                  <a:lnTo>
                    <a:pt x="3087" y="407"/>
                  </a:lnTo>
                  <a:lnTo>
                    <a:pt x="3045" y="393"/>
                  </a:lnTo>
                  <a:lnTo>
                    <a:pt x="3028" y="385"/>
                  </a:lnTo>
                  <a:lnTo>
                    <a:pt x="3012" y="377"/>
                  </a:lnTo>
                  <a:lnTo>
                    <a:pt x="2996" y="369"/>
                  </a:lnTo>
                  <a:lnTo>
                    <a:pt x="2983" y="360"/>
                  </a:lnTo>
                  <a:lnTo>
                    <a:pt x="2972" y="350"/>
                  </a:lnTo>
                  <a:lnTo>
                    <a:pt x="2962" y="340"/>
                  </a:lnTo>
                  <a:lnTo>
                    <a:pt x="2953" y="330"/>
                  </a:lnTo>
                  <a:lnTo>
                    <a:pt x="2946" y="318"/>
                  </a:lnTo>
                  <a:lnTo>
                    <a:pt x="2942" y="306"/>
                  </a:lnTo>
                  <a:lnTo>
                    <a:pt x="2937" y="291"/>
                  </a:lnTo>
                  <a:lnTo>
                    <a:pt x="2934" y="277"/>
                  </a:lnTo>
                  <a:lnTo>
                    <a:pt x="2934" y="261"/>
                  </a:lnTo>
                  <a:lnTo>
                    <a:pt x="2934" y="245"/>
                  </a:lnTo>
                  <a:lnTo>
                    <a:pt x="2937" y="231"/>
                  </a:lnTo>
                  <a:lnTo>
                    <a:pt x="2942" y="216"/>
                  </a:lnTo>
                  <a:lnTo>
                    <a:pt x="2946" y="204"/>
                  </a:lnTo>
                  <a:lnTo>
                    <a:pt x="2953" y="191"/>
                  </a:lnTo>
                  <a:lnTo>
                    <a:pt x="2962" y="179"/>
                  </a:lnTo>
                  <a:lnTo>
                    <a:pt x="2970" y="169"/>
                  </a:lnTo>
                  <a:lnTo>
                    <a:pt x="2982" y="159"/>
                  </a:lnTo>
                  <a:lnTo>
                    <a:pt x="2993" y="150"/>
                  </a:lnTo>
                  <a:lnTo>
                    <a:pt x="3006" y="143"/>
                  </a:lnTo>
                  <a:lnTo>
                    <a:pt x="3021" y="136"/>
                  </a:lnTo>
                  <a:lnTo>
                    <a:pt x="3037" y="130"/>
                  </a:lnTo>
                  <a:lnTo>
                    <a:pt x="3052" y="126"/>
                  </a:lnTo>
                  <a:lnTo>
                    <a:pt x="3070" y="123"/>
                  </a:lnTo>
                  <a:lnTo>
                    <a:pt x="3087" y="122"/>
                  </a:lnTo>
                  <a:lnTo>
                    <a:pt x="3106" y="120"/>
                  </a:lnTo>
                  <a:lnTo>
                    <a:pt x="3127" y="122"/>
                  </a:lnTo>
                  <a:lnTo>
                    <a:pt x="3147" y="125"/>
                  </a:lnTo>
                  <a:lnTo>
                    <a:pt x="3166" y="127"/>
                  </a:lnTo>
                  <a:lnTo>
                    <a:pt x="3183" y="132"/>
                  </a:lnTo>
                  <a:lnTo>
                    <a:pt x="3199" y="139"/>
                  </a:lnTo>
                  <a:lnTo>
                    <a:pt x="3215" y="146"/>
                  </a:lnTo>
                  <a:lnTo>
                    <a:pt x="3230" y="155"/>
                  </a:lnTo>
                  <a:lnTo>
                    <a:pt x="3244" y="163"/>
                  </a:lnTo>
                  <a:lnTo>
                    <a:pt x="3257" y="173"/>
                  </a:lnTo>
                  <a:lnTo>
                    <a:pt x="3268" y="185"/>
                  </a:lnTo>
                  <a:lnTo>
                    <a:pt x="3280" y="196"/>
                  </a:lnTo>
                  <a:lnTo>
                    <a:pt x="3290" y="209"/>
                  </a:lnTo>
                  <a:lnTo>
                    <a:pt x="3299" y="224"/>
                  </a:lnTo>
                  <a:lnTo>
                    <a:pt x="3307" y="237"/>
                  </a:lnTo>
                  <a:lnTo>
                    <a:pt x="3314" y="252"/>
                  </a:lnTo>
                  <a:lnTo>
                    <a:pt x="3322" y="267"/>
                  </a:lnTo>
                  <a:lnTo>
                    <a:pt x="3427" y="206"/>
                  </a:lnTo>
                  <a:lnTo>
                    <a:pt x="3417" y="183"/>
                  </a:lnTo>
                  <a:lnTo>
                    <a:pt x="3404" y="163"/>
                  </a:lnTo>
                  <a:lnTo>
                    <a:pt x="3391" y="143"/>
                  </a:lnTo>
                  <a:lnTo>
                    <a:pt x="3376" y="123"/>
                  </a:lnTo>
                  <a:lnTo>
                    <a:pt x="3361" y="106"/>
                  </a:lnTo>
                  <a:lnTo>
                    <a:pt x="3343" y="89"/>
                  </a:lnTo>
                  <a:lnTo>
                    <a:pt x="3325" y="73"/>
                  </a:lnTo>
                  <a:lnTo>
                    <a:pt x="3304" y="59"/>
                  </a:lnTo>
                  <a:lnTo>
                    <a:pt x="3284" y="46"/>
                  </a:lnTo>
                  <a:lnTo>
                    <a:pt x="3261" y="34"/>
                  </a:lnTo>
                  <a:lnTo>
                    <a:pt x="3238" y="24"/>
                  </a:lnTo>
                  <a:lnTo>
                    <a:pt x="3214" y="15"/>
                  </a:lnTo>
                  <a:lnTo>
                    <a:pt x="3189" y="8"/>
                  </a:lnTo>
                  <a:lnTo>
                    <a:pt x="3162" y="4"/>
                  </a:lnTo>
                  <a:lnTo>
                    <a:pt x="3134" y="1"/>
                  </a:lnTo>
                  <a:lnTo>
                    <a:pt x="3106" y="0"/>
                  </a:lnTo>
                  <a:lnTo>
                    <a:pt x="3077" y="1"/>
                  </a:lnTo>
                  <a:lnTo>
                    <a:pt x="3048" y="4"/>
                  </a:lnTo>
                  <a:lnTo>
                    <a:pt x="3019" y="10"/>
                  </a:lnTo>
                  <a:lnTo>
                    <a:pt x="2992" y="17"/>
                  </a:lnTo>
                  <a:lnTo>
                    <a:pt x="2966" y="27"/>
                  </a:lnTo>
                  <a:lnTo>
                    <a:pt x="2942" y="40"/>
                  </a:lnTo>
                  <a:lnTo>
                    <a:pt x="2918" y="53"/>
                  </a:lnTo>
                  <a:lnTo>
                    <a:pt x="2897" y="70"/>
                  </a:lnTo>
                  <a:lnTo>
                    <a:pt x="2878" y="87"/>
                  </a:lnTo>
                  <a:lnTo>
                    <a:pt x="2861" y="107"/>
                  </a:lnTo>
                  <a:lnTo>
                    <a:pt x="2852" y="119"/>
                  </a:lnTo>
                  <a:lnTo>
                    <a:pt x="2845" y="129"/>
                  </a:lnTo>
                  <a:lnTo>
                    <a:pt x="2838" y="142"/>
                  </a:lnTo>
                  <a:lnTo>
                    <a:pt x="2832" y="153"/>
                  </a:lnTo>
                  <a:lnTo>
                    <a:pt x="2826" y="166"/>
                  </a:lnTo>
                  <a:lnTo>
                    <a:pt x="2822" y="179"/>
                  </a:lnTo>
                  <a:lnTo>
                    <a:pt x="2818" y="192"/>
                  </a:lnTo>
                  <a:lnTo>
                    <a:pt x="2815" y="206"/>
                  </a:lnTo>
                  <a:lnTo>
                    <a:pt x="2812" y="221"/>
                  </a:lnTo>
                  <a:lnTo>
                    <a:pt x="2809" y="235"/>
                  </a:lnTo>
                  <a:lnTo>
                    <a:pt x="2809" y="251"/>
                  </a:lnTo>
                  <a:lnTo>
                    <a:pt x="2808" y="267"/>
                  </a:lnTo>
                  <a:lnTo>
                    <a:pt x="2809" y="283"/>
                  </a:lnTo>
                  <a:lnTo>
                    <a:pt x="2809" y="298"/>
                  </a:lnTo>
                  <a:lnTo>
                    <a:pt x="2812" y="313"/>
                  </a:lnTo>
                  <a:lnTo>
                    <a:pt x="2815" y="327"/>
                  </a:lnTo>
                  <a:lnTo>
                    <a:pt x="2818" y="340"/>
                  </a:lnTo>
                  <a:lnTo>
                    <a:pt x="2822" y="353"/>
                  </a:lnTo>
                  <a:lnTo>
                    <a:pt x="2828" y="364"/>
                  </a:lnTo>
                  <a:lnTo>
                    <a:pt x="2834" y="376"/>
                  </a:lnTo>
                  <a:lnTo>
                    <a:pt x="2839" y="387"/>
                  </a:lnTo>
                  <a:lnTo>
                    <a:pt x="2846" y="397"/>
                  </a:lnTo>
                  <a:lnTo>
                    <a:pt x="2854" y="407"/>
                  </a:lnTo>
                  <a:lnTo>
                    <a:pt x="2862" y="418"/>
                  </a:lnTo>
                  <a:lnTo>
                    <a:pt x="2880" y="435"/>
                  </a:lnTo>
                  <a:lnTo>
                    <a:pt x="2900" y="451"/>
                  </a:lnTo>
                  <a:lnTo>
                    <a:pt x="2921" y="465"/>
                  </a:lnTo>
                  <a:lnTo>
                    <a:pt x="2944" y="478"/>
                  </a:lnTo>
                  <a:lnTo>
                    <a:pt x="2969" y="489"/>
                  </a:lnTo>
                  <a:lnTo>
                    <a:pt x="2995" y="499"/>
                  </a:lnTo>
                  <a:lnTo>
                    <a:pt x="3050" y="519"/>
                  </a:lnTo>
                  <a:lnTo>
                    <a:pt x="3106" y="538"/>
                  </a:lnTo>
                  <a:lnTo>
                    <a:pt x="3156" y="554"/>
                  </a:lnTo>
                  <a:lnTo>
                    <a:pt x="3199" y="570"/>
                  </a:lnTo>
                  <a:lnTo>
                    <a:pt x="3219" y="578"/>
                  </a:lnTo>
                  <a:lnTo>
                    <a:pt x="3238" y="586"/>
                  </a:lnTo>
                  <a:lnTo>
                    <a:pt x="3254" y="596"/>
                  </a:lnTo>
                  <a:lnTo>
                    <a:pt x="3270" y="604"/>
                  </a:lnTo>
                  <a:lnTo>
                    <a:pt x="3283" y="614"/>
                  </a:lnTo>
                  <a:lnTo>
                    <a:pt x="3296" y="624"/>
                  </a:lnTo>
                  <a:lnTo>
                    <a:pt x="3306" y="636"/>
                  </a:lnTo>
                  <a:lnTo>
                    <a:pt x="3314" y="649"/>
                  </a:lnTo>
                  <a:lnTo>
                    <a:pt x="3320" y="663"/>
                  </a:lnTo>
                  <a:lnTo>
                    <a:pt x="3326" y="677"/>
                  </a:lnTo>
                  <a:lnTo>
                    <a:pt x="3329" y="693"/>
                  </a:lnTo>
                  <a:lnTo>
                    <a:pt x="3329" y="710"/>
                  </a:lnTo>
                  <a:lnTo>
                    <a:pt x="3329" y="726"/>
                  </a:lnTo>
                  <a:lnTo>
                    <a:pt x="3326" y="742"/>
                  </a:lnTo>
                  <a:lnTo>
                    <a:pt x="3322" y="756"/>
                  </a:lnTo>
                  <a:lnTo>
                    <a:pt x="3317" y="769"/>
                  </a:lnTo>
                  <a:lnTo>
                    <a:pt x="3310" y="782"/>
                  </a:lnTo>
                  <a:lnTo>
                    <a:pt x="3302" y="794"/>
                  </a:lnTo>
                  <a:lnTo>
                    <a:pt x="3291" y="805"/>
                  </a:lnTo>
                  <a:lnTo>
                    <a:pt x="3280" y="815"/>
                  </a:lnTo>
                  <a:lnTo>
                    <a:pt x="3266" y="825"/>
                  </a:lnTo>
                  <a:lnTo>
                    <a:pt x="3251" y="833"/>
                  </a:lnTo>
                  <a:lnTo>
                    <a:pt x="3235" y="840"/>
                  </a:lnTo>
                  <a:lnTo>
                    <a:pt x="3217" y="845"/>
                  </a:lnTo>
                  <a:lnTo>
                    <a:pt x="3196" y="851"/>
                  </a:lnTo>
                  <a:lnTo>
                    <a:pt x="3176" y="854"/>
                  </a:lnTo>
                  <a:lnTo>
                    <a:pt x="3153" y="856"/>
                  </a:lnTo>
                  <a:lnTo>
                    <a:pt x="3129" y="857"/>
                  </a:lnTo>
                  <a:lnTo>
                    <a:pt x="3104" y="856"/>
                  </a:lnTo>
                  <a:lnTo>
                    <a:pt x="3080" y="854"/>
                  </a:lnTo>
                  <a:lnTo>
                    <a:pt x="3057" y="850"/>
                  </a:lnTo>
                  <a:lnTo>
                    <a:pt x="3035" y="844"/>
                  </a:lnTo>
                  <a:lnTo>
                    <a:pt x="3016" y="838"/>
                  </a:lnTo>
                  <a:lnTo>
                    <a:pt x="2998" y="830"/>
                  </a:lnTo>
                  <a:lnTo>
                    <a:pt x="2979" y="821"/>
                  </a:lnTo>
                  <a:lnTo>
                    <a:pt x="2963" y="810"/>
                  </a:lnTo>
                  <a:lnTo>
                    <a:pt x="2949" y="798"/>
                  </a:lnTo>
                  <a:lnTo>
                    <a:pt x="2934" y="785"/>
                  </a:lnTo>
                  <a:lnTo>
                    <a:pt x="2921" y="771"/>
                  </a:lnTo>
                  <a:lnTo>
                    <a:pt x="2910" y="756"/>
                  </a:lnTo>
                  <a:lnTo>
                    <a:pt x="2900" y="739"/>
                  </a:lnTo>
                  <a:lnTo>
                    <a:pt x="2891" y="722"/>
                  </a:lnTo>
                  <a:lnTo>
                    <a:pt x="2882" y="705"/>
                  </a:lnTo>
                  <a:lnTo>
                    <a:pt x="2875" y="685"/>
                  </a:lnTo>
                  <a:lnTo>
                    <a:pt x="2767" y="748"/>
                  </a:lnTo>
                  <a:lnTo>
                    <a:pt x="2777" y="774"/>
                  </a:lnTo>
                  <a:lnTo>
                    <a:pt x="2790" y="798"/>
                  </a:lnTo>
                  <a:lnTo>
                    <a:pt x="2803" y="821"/>
                  </a:lnTo>
                  <a:lnTo>
                    <a:pt x="2819" y="844"/>
                  </a:lnTo>
                  <a:lnTo>
                    <a:pt x="2836" y="864"/>
                  </a:lnTo>
                  <a:lnTo>
                    <a:pt x="2855" y="883"/>
                  </a:lnTo>
                  <a:lnTo>
                    <a:pt x="2875" y="900"/>
                  </a:lnTo>
                  <a:lnTo>
                    <a:pt x="2898" y="917"/>
                  </a:lnTo>
                  <a:lnTo>
                    <a:pt x="2921" y="932"/>
                  </a:lnTo>
                  <a:lnTo>
                    <a:pt x="2947" y="943"/>
                  </a:lnTo>
                  <a:lnTo>
                    <a:pt x="2973" y="955"/>
                  </a:lnTo>
                  <a:lnTo>
                    <a:pt x="3001" y="963"/>
                  </a:lnTo>
                  <a:lnTo>
                    <a:pt x="3031" y="970"/>
                  </a:lnTo>
                  <a:lnTo>
                    <a:pt x="3061" y="976"/>
                  </a:lnTo>
                  <a:lnTo>
                    <a:pt x="3093" y="979"/>
                  </a:lnTo>
                  <a:lnTo>
                    <a:pt x="3126" y="979"/>
                  </a:lnTo>
                  <a:close/>
                  <a:moveTo>
                    <a:pt x="2139" y="17"/>
                  </a:moveTo>
                  <a:lnTo>
                    <a:pt x="2139" y="17"/>
                  </a:lnTo>
                  <a:lnTo>
                    <a:pt x="2139" y="722"/>
                  </a:lnTo>
                  <a:lnTo>
                    <a:pt x="1651" y="17"/>
                  </a:lnTo>
                  <a:lnTo>
                    <a:pt x="1550" y="17"/>
                  </a:lnTo>
                  <a:lnTo>
                    <a:pt x="1550" y="962"/>
                  </a:lnTo>
                  <a:lnTo>
                    <a:pt x="1676" y="962"/>
                  </a:lnTo>
                  <a:lnTo>
                    <a:pt x="1676" y="257"/>
                  </a:lnTo>
                  <a:lnTo>
                    <a:pt x="2164" y="962"/>
                  </a:lnTo>
                  <a:lnTo>
                    <a:pt x="2265" y="962"/>
                  </a:lnTo>
                  <a:lnTo>
                    <a:pt x="2265" y="17"/>
                  </a:lnTo>
                  <a:lnTo>
                    <a:pt x="2139" y="17"/>
                  </a:lnTo>
                  <a:close/>
                  <a:moveTo>
                    <a:pt x="946" y="843"/>
                  </a:moveTo>
                  <a:lnTo>
                    <a:pt x="946" y="843"/>
                  </a:lnTo>
                  <a:lnTo>
                    <a:pt x="946" y="544"/>
                  </a:lnTo>
                  <a:lnTo>
                    <a:pt x="1345" y="544"/>
                  </a:lnTo>
                  <a:lnTo>
                    <a:pt x="1345" y="426"/>
                  </a:lnTo>
                  <a:lnTo>
                    <a:pt x="946" y="426"/>
                  </a:lnTo>
                  <a:lnTo>
                    <a:pt x="946" y="136"/>
                  </a:lnTo>
                  <a:lnTo>
                    <a:pt x="1378" y="136"/>
                  </a:lnTo>
                  <a:lnTo>
                    <a:pt x="1378" y="17"/>
                  </a:lnTo>
                  <a:lnTo>
                    <a:pt x="819" y="17"/>
                  </a:lnTo>
                  <a:lnTo>
                    <a:pt x="819" y="962"/>
                  </a:lnTo>
                  <a:lnTo>
                    <a:pt x="1385" y="962"/>
                  </a:lnTo>
                  <a:lnTo>
                    <a:pt x="1385" y="843"/>
                  </a:lnTo>
                  <a:lnTo>
                    <a:pt x="946" y="843"/>
                  </a:lnTo>
                  <a:close/>
                  <a:moveTo>
                    <a:pt x="296" y="979"/>
                  </a:moveTo>
                  <a:lnTo>
                    <a:pt x="296" y="979"/>
                  </a:lnTo>
                  <a:lnTo>
                    <a:pt x="329" y="979"/>
                  </a:lnTo>
                  <a:lnTo>
                    <a:pt x="360" y="975"/>
                  </a:lnTo>
                  <a:lnTo>
                    <a:pt x="390" y="969"/>
                  </a:lnTo>
                  <a:lnTo>
                    <a:pt x="420" y="962"/>
                  </a:lnTo>
                  <a:lnTo>
                    <a:pt x="447" y="952"/>
                  </a:lnTo>
                  <a:lnTo>
                    <a:pt x="473" y="939"/>
                  </a:lnTo>
                  <a:lnTo>
                    <a:pt x="486" y="932"/>
                  </a:lnTo>
                  <a:lnTo>
                    <a:pt x="498" y="923"/>
                  </a:lnTo>
                  <a:lnTo>
                    <a:pt x="509" y="916"/>
                  </a:lnTo>
                  <a:lnTo>
                    <a:pt x="521" y="906"/>
                  </a:lnTo>
                  <a:lnTo>
                    <a:pt x="531" y="897"/>
                  </a:lnTo>
                  <a:lnTo>
                    <a:pt x="541" y="887"/>
                  </a:lnTo>
                  <a:lnTo>
                    <a:pt x="551" y="876"/>
                  </a:lnTo>
                  <a:lnTo>
                    <a:pt x="560" y="866"/>
                  </a:lnTo>
                  <a:lnTo>
                    <a:pt x="568" y="853"/>
                  </a:lnTo>
                  <a:lnTo>
                    <a:pt x="576" y="841"/>
                  </a:lnTo>
                  <a:lnTo>
                    <a:pt x="583" y="828"/>
                  </a:lnTo>
                  <a:lnTo>
                    <a:pt x="590" y="814"/>
                  </a:lnTo>
                  <a:lnTo>
                    <a:pt x="596" y="801"/>
                  </a:lnTo>
                  <a:lnTo>
                    <a:pt x="600" y="785"/>
                  </a:lnTo>
                  <a:lnTo>
                    <a:pt x="604" y="771"/>
                  </a:lnTo>
                  <a:lnTo>
                    <a:pt x="609" y="755"/>
                  </a:lnTo>
                  <a:lnTo>
                    <a:pt x="612" y="738"/>
                  </a:lnTo>
                  <a:lnTo>
                    <a:pt x="613" y="721"/>
                  </a:lnTo>
                  <a:lnTo>
                    <a:pt x="614" y="703"/>
                  </a:lnTo>
                  <a:lnTo>
                    <a:pt x="614" y="685"/>
                  </a:lnTo>
                  <a:lnTo>
                    <a:pt x="614" y="17"/>
                  </a:lnTo>
                  <a:lnTo>
                    <a:pt x="491" y="17"/>
                  </a:lnTo>
                  <a:lnTo>
                    <a:pt x="491" y="685"/>
                  </a:lnTo>
                  <a:lnTo>
                    <a:pt x="489" y="706"/>
                  </a:lnTo>
                  <a:lnTo>
                    <a:pt x="486" y="726"/>
                  </a:lnTo>
                  <a:lnTo>
                    <a:pt x="482" y="745"/>
                  </a:lnTo>
                  <a:lnTo>
                    <a:pt x="476" y="762"/>
                  </a:lnTo>
                  <a:lnTo>
                    <a:pt x="469" y="777"/>
                  </a:lnTo>
                  <a:lnTo>
                    <a:pt x="460" y="791"/>
                  </a:lnTo>
                  <a:lnTo>
                    <a:pt x="449" y="804"/>
                  </a:lnTo>
                  <a:lnTo>
                    <a:pt x="437" y="815"/>
                  </a:lnTo>
                  <a:lnTo>
                    <a:pt x="424" y="825"/>
                  </a:lnTo>
                  <a:lnTo>
                    <a:pt x="409" y="834"/>
                  </a:lnTo>
                  <a:lnTo>
                    <a:pt x="393" y="841"/>
                  </a:lnTo>
                  <a:lnTo>
                    <a:pt x="375" y="847"/>
                  </a:lnTo>
                  <a:lnTo>
                    <a:pt x="358" y="851"/>
                  </a:lnTo>
                  <a:lnTo>
                    <a:pt x="338" y="854"/>
                  </a:lnTo>
                  <a:lnTo>
                    <a:pt x="318" y="856"/>
                  </a:lnTo>
                  <a:lnTo>
                    <a:pt x="296" y="857"/>
                  </a:lnTo>
                  <a:lnTo>
                    <a:pt x="280" y="857"/>
                  </a:lnTo>
                  <a:lnTo>
                    <a:pt x="263" y="856"/>
                  </a:lnTo>
                  <a:lnTo>
                    <a:pt x="247" y="853"/>
                  </a:lnTo>
                  <a:lnTo>
                    <a:pt x="233" y="851"/>
                  </a:lnTo>
                  <a:lnTo>
                    <a:pt x="218" y="847"/>
                  </a:lnTo>
                  <a:lnTo>
                    <a:pt x="204" y="843"/>
                  </a:lnTo>
                  <a:lnTo>
                    <a:pt x="191" y="837"/>
                  </a:lnTo>
                  <a:lnTo>
                    <a:pt x="178" y="831"/>
                  </a:lnTo>
                  <a:lnTo>
                    <a:pt x="167" y="824"/>
                  </a:lnTo>
                  <a:lnTo>
                    <a:pt x="157" y="817"/>
                  </a:lnTo>
                  <a:lnTo>
                    <a:pt x="146" y="807"/>
                  </a:lnTo>
                  <a:lnTo>
                    <a:pt x="136" y="798"/>
                  </a:lnTo>
                  <a:lnTo>
                    <a:pt x="128" y="787"/>
                  </a:lnTo>
                  <a:lnTo>
                    <a:pt x="121" y="775"/>
                  </a:lnTo>
                  <a:lnTo>
                    <a:pt x="113" y="762"/>
                  </a:lnTo>
                  <a:lnTo>
                    <a:pt x="108" y="749"/>
                  </a:lnTo>
                  <a:lnTo>
                    <a:pt x="0" y="811"/>
                  </a:lnTo>
                  <a:lnTo>
                    <a:pt x="10" y="831"/>
                  </a:lnTo>
                  <a:lnTo>
                    <a:pt x="21" y="850"/>
                  </a:lnTo>
                  <a:lnTo>
                    <a:pt x="34" y="868"/>
                  </a:lnTo>
                  <a:lnTo>
                    <a:pt x="49" y="884"/>
                  </a:lnTo>
                  <a:lnTo>
                    <a:pt x="64" y="900"/>
                  </a:lnTo>
                  <a:lnTo>
                    <a:pt x="80" y="913"/>
                  </a:lnTo>
                  <a:lnTo>
                    <a:pt x="99" y="926"/>
                  </a:lnTo>
                  <a:lnTo>
                    <a:pt x="118" y="937"/>
                  </a:lnTo>
                  <a:lnTo>
                    <a:pt x="136" y="947"/>
                  </a:lnTo>
                  <a:lnTo>
                    <a:pt x="157" y="956"/>
                  </a:lnTo>
                  <a:lnTo>
                    <a:pt x="178" y="963"/>
                  </a:lnTo>
                  <a:lnTo>
                    <a:pt x="201" y="969"/>
                  </a:lnTo>
                  <a:lnTo>
                    <a:pt x="224" y="973"/>
                  </a:lnTo>
                  <a:lnTo>
                    <a:pt x="247" y="978"/>
                  </a:lnTo>
                  <a:lnTo>
                    <a:pt x="272" y="979"/>
                  </a:lnTo>
                  <a:lnTo>
                    <a:pt x="296" y="9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8" name="Freeform 62">
              <a:extLst>
                <a:ext uri="{FF2B5EF4-FFF2-40B4-BE49-F238E27FC236}">
                  <a16:creationId xmlns:a16="http://schemas.microsoft.com/office/drawing/2014/main" id="{CC9C01EB-36B8-6440-F52D-1D9876E02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1338" y="3203575"/>
              <a:ext cx="1670050" cy="522288"/>
            </a:xfrm>
            <a:custGeom>
              <a:avLst/>
              <a:gdLst>
                <a:gd name="T0" fmla="*/ 3115 w 3156"/>
                <a:gd name="T1" fmla="*/ 376 h 985"/>
                <a:gd name="T2" fmla="*/ 3149 w 3156"/>
                <a:gd name="T3" fmla="*/ 20 h 985"/>
                <a:gd name="T4" fmla="*/ 3156 w 3156"/>
                <a:gd name="T5" fmla="*/ 738 h 985"/>
                <a:gd name="T6" fmla="*/ 2118 w 3156"/>
                <a:gd name="T7" fmla="*/ 20 h 985"/>
                <a:gd name="T8" fmla="*/ 2445 w 3156"/>
                <a:gd name="T9" fmla="*/ 731 h 985"/>
                <a:gd name="T10" fmla="*/ 1227 w 3156"/>
                <a:gd name="T11" fmla="*/ 748 h 985"/>
                <a:gd name="T12" fmla="*/ 1130 w 3156"/>
                <a:gd name="T13" fmla="*/ 719 h 985"/>
                <a:gd name="T14" fmla="*/ 1055 w 3156"/>
                <a:gd name="T15" fmla="*/ 659 h 985"/>
                <a:gd name="T16" fmla="*/ 1009 w 3156"/>
                <a:gd name="T17" fmla="*/ 573 h 985"/>
                <a:gd name="T18" fmla="*/ 999 w 3156"/>
                <a:gd name="T19" fmla="*/ 465 h 985"/>
                <a:gd name="T20" fmla="*/ 1028 w 3156"/>
                <a:gd name="T21" fmla="*/ 366 h 985"/>
                <a:gd name="T22" fmla="*/ 1090 w 3156"/>
                <a:gd name="T23" fmla="*/ 291 h 985"/>
                <a:gd name="T24" fmla="*/ 1176 w 3156"/>
                <a:gd name="T25" fmla="*/ 247 h 985"/>
                <a:gd name="T26" fmla="*/ 1280 w 3156"/>
                <a:gd name="T27" fmla="*/ 237 h 985"/>
                <a:gd name="T28" fmla="*/ 1378 w 3156"/>
                <a:gd name="T29" fmla="*/ 266 h 985"/>
                <a:gd name="T30" fmla="*/ 1453 w 3156"/>
                <a:gd name="T31" fmla="*/ 326 h 985"/>
                <a:gd name="T32" fmla="*/ 1499 w 3156"/>
                <a:gd name="T33" fmla="*/ 412 h 985"/>
                <a:gd name="T34" fmla="*/ 1509 w 3156"/>
                <a:gd name="T35" fmla="*/ 520 h 985"/>
                <a:gd name="T36" fmla="*/ 1479 w 3156"/>
                <a:gd name="T37" fmla="*/ 619 h 985"/>
                <a:gd name="T38" fmla="*/ 1418 w 3156"/>
                <a:gd name="T39" fmla="*/ 694 h 985"/>
                <a:gd name="T40" fmla="*/ 1330 w 3156"/>
                <a:gd name="T41" fmla="*/ 738 h 985"/>
                <a:gd name="T42" fmla="*/ 1254 w 3156"/>
                <a:gd name="T43" fmla="*/ 985 h 985"/>
                <a:gd name="T44" fmla="*/ 1330 w 3156"/>
                <a:gd name="T45" fmla="*/ 979 h 985"/>
                <a:gd name="T46" fmla="*/ 1425 w 3156"/>
                <a:gd name="T47" fmla="*/ 956 h 985"/>
                <a:gd name="T48" fmla="*/ 1512 w 3156"/>
                <a:gd name="T49" fmla="*/ 915 h 985"/>
                <a:gd name="T50" fmla="*/ 1588 w 3156"/>
                <a:gd name="T51" fmla="*/ 859 h 985"/>
                <a:gd name="T52" fmla="*/ 1653 w 3156"/>
                <a:gd name="T53" fmla="*/ 790 h 985"/>
                <a:gd name="T54" fmla="*/ 1702 w 3156"/>
                <a:gd name="T55" fmla="*/ 709 h 985"/>
                <a:gd name="T56" fmla="*/ 1735 w 3156"/>
                <a:gd name="T57" fmla="*/ 617 h 985"/>
                <a:gd name="T58" fmla="*/ 1749 w 3156"/>
                <a:gd name="T59" fmla="*/ 518 h 985"/>
                <a:gd name="T60" fmla="*/ 1745 w 3156"/>
                <a:gd name="T61" fmla="*/ 416 h 985"/>
                <a:gd name="T62" fmla="*/ 1721 w 3156"/>
                <a:gd name="T63" fmla="*/ 320 h 985"/>
                <a:gd name="T64" fmla="*/ 1679 w 3156"/>
                <a:gd name="T65" fmla="*/ 234 h 985"/>
                <a:gd name="T66" fmla="*/ 1623 w 3156"/>
                <a:gd name="T67" fmla="*/ 159 h 985"/>
                <a:gd name="T68" fmla="*/ 1552 w 3156"/>
                <a:gd name="T69" fmla="*/ 96 h 985"/>
                <a:gd name="T70" fmla="*/ 1470 w 3156"/>
                <a:gd name="T71" fmla="*/ 47 h 985"/>
                <a:gd name="T72" fmla="*/ 1378 w 3156"/>
                <a:gd name="T73" fmla="*/ 14 h 985"/>
                <a:gd name="T74" fmla="*/ 1280 w 3156"/>
                <a:gd name="T75" fmla="*/ 0 h 985"/>
                <a:gd name="T76" fmla="*/ 1178 w 3156"/>
                <a:gd name="T77" fmla="*/ 6 h 985"/>
                <a:gd name="T78" fmla="*/ 1083 w 3156"/>
                <a:gd name="T79" fmla="*/ 29 h 985"/>
                <a:gd name="T80" fmla="*/ 995 w 3156"/>
                <a:gd name="T81" fmla="*/ 70 h 985"/>
                <a:gd name="T82" fmla="*/ 919 w 3156"/>
                <a:gd name="T83" fmla="*/ 126 h 985"/>
                <a:gd name="T84" fmla="*/ 855 w 3156"/>
                <a:gd name="T85" fmla="*/ 195 h 985"/>
                <a:gd name="T86" fmla="*/ 806 w 3156"/>
                <a:gd name="T87" fmla="*/ 276 h 985"/>
                <a:gd name="T88" fmla="*/ 772 w 3156"/>
                <a:gd name="T89" fmla="*/ 368 h 985"/>
                <a:gd name="T90" fmla="*/ 757 w 3156"/>
                <a:gd name="T91" fmla="*/ 467 h 985"/>
                <a:gd name="T92" fmla="*/ 763 w 3156"/>
                <a:gd name="T93" fmla="*/ 569 h 985"/>
                <a:gd name="T94" fmla="*/ 786 w 3156"/>
                <a:gd name="T95" fmla="*/ 665 h 985"/>
                <a:gd name="T96" fmla="*/ 828 w 3156"/>
                <a:gd name="T97" fmla="*/ 751 h 985"/>
                <a:gd name="T98" fmla="*/ 885 w 3156"/>
                <a:gd name="T99" fmla="*/ 826 h 985"/>
                <a:gd name="T100" fmla="*/ 956 w 3156"/>
                <a:gd name="T101" fmla="*/ 889 h 985"/>
                <a:gd name="T102" fmla="*/ 1038 w 3156"/>
                <a:gd name="T103" fmla="*/ 938 h 985"/>
                <a:gd name="T104" fmla="*/ 1129 w 3156"/>
                <a:gd name="T105" fmla="*/ 971 h 985"/>
                <a:gd name="T106" fmla="*/ 1228 w 3156"/>
                <a:gd name="T107" fmla="*/ 985 h 985"/>
                <a:gd name="T108" fmla="*/ 471 w 3156"/>
                <a:gd name="T109" fmla="*/ 480 h 985"/>
                <a:gd name="T110" fmla="*/ 242 w 3156"/>
                <a:gd name="T111" fmla="*/ 20 h 985"/>
                <a:gd name="T112" fmla="*/ 242 w 3156"/>
                <a:gd name="T113" fmla="*/ 543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56" h="985">
                  <a:moveTo>
                    <a:pt x="2789" y="738"/>
                  </a:moveTo>
                  <a:lnTo>
                    <a:pt x="2789" y="599"/>
                  </a:lnTo>
                  <a:lnTo>
                    <a:pt x="3115" y="599"/>
                  </a:lnTo>
                  <a:lnTo>
                    <a:pt x="3115" y="376"/>
                  </a:lnTo>
                  <a:lnTo>
                    <a:pt x="2789" y="376"/>
                  </a:lnTo>
                  <a:lnTo>
                    <a:pt x="2789" y="246"/>
                  </a:lnTo>
                  <a:lnTo>
                    <a:pt x="3149" y="246"/>
                  </a:lnTo>
                  <a:lnTo>
                    <a:pt x="3149" y="20"/>
                  </a:lnTo>
                  <a:lnTo>
                    <a:pt x="2547" y="20"/>
                  </a:lnTo>
                  <a:lnTo>
                    <a:pt x="2547" y="965"/>
                  </a:lnTo>
                  <a:lnTo>
                    <a:pt x="3156" y="965"/>
                  </a:lnTo>
                  <a:lnTo>
                    <a:pt x="3156" y="738"/>
                  </a:lnTo>
                  <a:lnTo>
                    <a:pt x="2789" y="738"/>
                  </a:lnTo>
                  <a:close/>
                  <a:moveTo>
                    <a:pt x="2118" y="731"/>
                  </a:moveTo>
                  <a:lnTo>
                    <a:pt x="2118" y="731"/>
                  </a:lnTo>
                  <a:lnTo>
                    <a:pt x="2118" y="20"/>
                  </a:lnTo>
                  <a:lnTo>
                    <a:pt x="1876" y="20"/>
                  </a:lnTo>
                  <a:lnTo>
                    <a:pt x="1876" y="965"/>
                  </a:lnTo>
                  <a:lnTo>
                    <a:pt x="2445" y="965"/>
                  </a:lnTo>
                  <a:lnTo>
                    <a:pt x="2445" y="731"/>
                  </a:lnTo>
                  <a:lnTo>
                    <a:pt x="2118" y="731"/>
                  </a:lnTo>
                  <a:close/>
                  <a:moveTo>
                    <a:pt x="1254" y="750"/>
                  </a:moveTo>
                  <a:lnTo>
                    <a:pt x="1254" y="750"/>
                  </a:lnTo>
                  <a:lnTo>
                    <a:pt x="1227" y="748"/>
                  </a:lnTo>
                  <a:lnTo>
                    <a:pt x="1201" y="744"/>
                  </a:lnTo>
                  <a:lnTo>
                    <a:pt x="1176" y="738"/>
                  </a:lnTo>
                  <a:lnTo>
                    <a:pt x="1153" y="731"/>
                  </a:lnTo>
                  <a:lnTo>
                    <a:pt x="1130" y="719"/>
                  </a:lnTo>
                  <a:lnTo>
                    <a:pt x="1109" y="708"/>
                  </a:lnTo>
                  <a:lnTo>
                    <a:pt x="1090" y="694"/>
                  </a:lnTo>
                  <a:lnTo>
                    <a:pt x="1071" y="678"/>
                  </a:lnTo>
                  <a:lnTo>
                    <a:pt x="1055" y="659"/>
                  </a:lnTo>
                  <a:lnTo>
                    <a:pt x="1041" y="640"/>
                  </a:lnTo>
                  <a:lnTo>
                    <a:pt x="1028" y="619"/>
                  </a:lnTo>
                  <a:lnTo>
                    <a:pt x="1018" y="596"/>
                  </a:lnTo>
                  <a:lnTo>
                    <a:pt x="1009" y="573"/>
                  </a:lnTo>
                  <a:lnTo>
                    <a:pt x="1004" y="547"/>
                  </a:lnTo>
                  <a:lnTo>
                    <a:pt x="999" y="520"/>
                  </a:lnTo>
                  <a:lnTo>
                    <a:pt x="998" y="492"/>
                  </a:lnTo>
                  <a:lnTo>
                    <a:pt x="999" y="465"/>
                  </a:lnTo>
                  <a:lnTo>
                    <a:pt x="1004" y="438"/>
                  </a:lnTo>
                  <a:lnTo>
                    <a:pt x="1009" y="412"/>
                  </a:lnTo>
                  <a:lnTo>
                    <a:pt x="1018" y="389"/>
                  </a:lnTo>
                  <a:lnTo>
                    <a:pt x="1028" y="366"/>
                  </a:lnTo>
                  <a:lnTo>
                    <a:pt x="1041" y="345"/>
                  </a:lnTo>
                  <a:lnTo>
                    <a:pt x="1055" y="326"/>
                  </a:lnTo>
                  <a:lnTo>
                    <a:pt x="1071" y="307"/>
                  </a:lnTo>
                  <a:lnTo>
                    <a:pt x="1090" y="291"/>
                  </a:lnTo>
                  <a:lnTo>
                    <a:pt x="1109" y="277"/>
                  </a:lnTo>
                  <a:lnTo>
                    <a:pt x="1130" y="266"/>
                  </a:lnTo>
                  <a:lnTo>
                    <a:pt x="1153" y="254"/>
                  </a:lnTo>
                  <a:lnTo>
                    <a:pt x="1176" y="247"/>
                  </a:lnTo>
                  <a:lnTo>
                    <a:pt x="1201" y="241"/>
                  </a:lnTo>
                  <a:lnTo>
                    <a:pt x="1227" y="237"/>
                  </a:lnTo>
                  <a:lnTo>
                    <a:pt x="1254" y="235"/>
                  </a:lnTo>
                  <a:lnTo>
                    <a:pt x="1280" y="237"/>
                  </a:lnTo>
                  <a:lnTo>
                    <a:pt x="1306" y="241"/>
                  </a:lnTo>
                  <a:lnTo>
                    <a:pt x="1330" y="247"/>
                  </a:lnTo>
                  <a:lnTo>
                    <a:pt x="1355" y="254"/>
                  </a:lnTo>
                  <a:lnTo>
                    <a:pt x="1378" y="266"/>
                  </a:lnTo>
                  <a:lnTo>
                    <a:pt x="1398" y="277"/>
                  </a:lnTo>
                  <a:lnTo>
                    <a:pt x="1418" y="291"/>
                  </a:lnTo>
                  <a:lnTo>
                    <a:pt x="1436" y="307"/>
                  </a:lnTo>
                  <a:lnTo>
                    <a:pt x="1453" y="326"/>
                  </a:lnTo>
                  <a:lnTo>
                    <a:pt x="1467" y="345"/>
                  </a:lnTo>
                  <a:lnTo>
                    <a:pt x="1479" y="366"/>
                  </a:lnTo>
                  <a:lnTo>
                    <a:pt x="1490" y="389"/>
                  </a:lnTo>
                  <a:lnTo>
                    <a:pt x="1499" y="412"/>
                  </a:lnTo>
                  <a:lnTo>
                    <a:pt x="1505" y="438"/>
                  </a:lnTo>
                  <a:lnTo>
                    <a:pt x="1509" y="465"/>
                  </a:lnTo>
                  <a:lnTo>
                    <a:pt x="1509" y="492"/>
                  </a:lnTo>
                  <a:lnTo>
                    <a:pt x="1509" y="520"/>
                  </a:lnTo>
                  <a:lnTo>
                    <a:pt x="1505" y="547"/>
                  </a:lnTo>
                  <a:lnTo>
                    <a:pt x="1499" y="573"/>
                  </a:lnTo>
                  <a:lnTo>
                    <a:pt x="1490" y="596"/>
                  </a:lnTo>
                  <a:lnTo>
                    <a:pt x="1479" y="619"/>
                  </a:lnTo>
                  <a:lnTo>
                    <a:pt x="1467" y="640"/>
                  </a:lnTo>
                  <a:lnTo>
                    <a:pt x="1453" y="659"/>
                  </a:lnTo>
                  <a:lnTo>
                    <a:pt x="1436" y="678"/>
                  </a:lnTo>
                  <a:lnTo>
                    <a:pt x="1418" y="694"/>
                  </a:lnTo>
                  <a:lnTo>
                    <a:pt x="1398" y="708"/>
                  </a:lnTo>
                  <a:lnTo>
                    <a:pt x="1378" y="719"/>
                  </a:lnTo>
                  <a:lnTo>
                    <a:pt x="1355" y="731"/>
                  </a:lnTo>
                  <a:lnTo>
                    <a:pt x="1330" y="738"/>
                  </a:lnTo>
                  <a:lnTo>
                    <a:pt x="1306" y="744"/>
                  </a:lnTo>
                  <a:lnTo>
                    <a:pt x="1280" y="748"/>
                  </a:lnTo>
                  <a:lnTo>
                    <a:pt x="1254" y="750"/>
                  </a:lnTo>
                  <a:close/>
                  <a:moveTo>
                    <a:pt x="1254" y="985"/>
                  </a:moveTo>
                  <a:lnTo>
                    <a:pt x="1254" y="985"/>
                  </a:lnTo>
                  <a:lnTo>
                    <a:pt x="1280" y="985"/>
                  </a:lnTo>
                  <a:lnTo>
                    <a:pt x="1305" y="982"/>
                  </a:lnTo>
                  <a:lnTo>
                    <a:pt x="1330" y="979"/>
                  </a:lnTo>
                  <a:lnTo>
                    <a:pt x="1355" y="975"/>
                  </a:lnTo>
                  <a:lnTo>
                    <a:pt x="1378" y="971"/>
                  </a:lnTo>
                  <a:lnTo>
                    <a:pt x="1402" y="964"/>
                  </a:lnTo>
                  <a:lnTo>
                    <a:pt x="1425" y="956"/>
                  </a:lnTo>
                  <a:lnTo>
                    <a:pt x="1449" y="948"/>
                  </a:lnTo>
                  <a:lnTo>
                    <a:pt x="1470" y="938"/>
                  </a:lnTo>
                  <a:lnTo>
                    <a:pt x="1492" y="928"/>
                  </a:lnTo>
                  <a:lnTo>
                    <a:pt x="1512" y="915"/>
                  </a:lnTo>
                  <a:lnTo>
                    <a:pt x="1532" y="903"/>
                  </a:lnTo>
                  <a:lnTo>
                    <a:pt x="1552" y="889"/>
                  </a:lnTo>
                  <a:lnTo>
                    <a:pt x="1571" y="874"/>
                  </a:lnTo>
                  <a:lnTo>
                    <a:pt x="1588" y="859"/>
                  </a:lnTo>
                  <a:lnTo>
                    <a:pt x="1605" y="843"/>
                  </a:lnTo>
                  <a:lnTo>
                    <a:pt x="1623" y="826"/>
                  </a:lnTo>
                  <a:lnTo>
                    <a:pt x="1637" y="808"/>
                  </a:lnTo>
                  <a:lnTo>
                    <a:pt x="1653" y="790"/>
                  </a:lnTo>
                  <a:lnTo>
                    <a:pt x="1666" y="771"/>
                  </a:lnTo>
                  <a:lnTo>
                    <a:pt x="1679" y="751"/>
                  </a:lnTo>
                  <a:lnTo>
                    <a:pt x="1690" y="729"/>
                  </a:lnTo>
                  <a:lnTo>
                    <a:pt x="1702" y="709"/>
                  </a:lnTo>
                  <a:lnTo>
                    <a:pt x="1712" y="686"/>
                  </a:lnTo>
                  <a:lnTo>
                    <a:pt x="1721" y="665"/>
                  </a:lnTo>
                  <a:lnTo>
                    <a:pt x="1728" y="642"/>
                  </a:lnTo>
                  <a:lnTo>
                    <a:pt x="1735" y="617"/>
                  </a:lnTo>
                  <a:lnTo>
                    <a:pt x="1741" y="593"/>
                  </a:lnTo>
                  <a:lnTo>
                    <a:pt x="1745" y="569"/>
                  </a:lnTo>
                  <a:lnTo>
                    <a:pt x="1748" y="544"/>
                  </a:lnTo>
                  <a:lnTo>
                    <a:pt x="1749" y="518"/>
                  </a:lnTo>
                  <a:lnTo>
                    <a:pt x="1751" y="492"/>
                  </a:lnTo>
                  <a:lnTo>
                    <a:pt x="1749" y="467"/>
                  </a:lnTo>
                  <a:lnTo>
                    <a:pt x="1748" y="441"/>
                  </a:lnTo>
                  <a:lnTo>
                    <a:pt x="1745" y="416"/>
                  </a:lnTo>
                  <a:lnTo>
                    <a:pt x="1741" y="392"/>
                  </a:lnTo>
                  <a:lnTo>
                    <a:pt x="1735" y="368"/>
                  </a:lnTo>
                  <a:lnTo>
                    <a:pt x="1728" y="343"/>
                  </a:lnTo>
                  <a:lnTo>
                    <a:pt x="1721" y="320"/>
                  </a:lnTo>
                  <a:lnTo>
                    <a:pt x="1712" y="299"/>
                  </a:lnTo>
                  <a:lnTo>
                    <a:pt x="1702" y="276"/>
                  </a:lnTo>
                  <a:lnTo>
                    <a:pt x="1690" y="256"/>
                  </a:lnTo>
                  <a:lnTo>
                    <a:pt x="1679" y="234"/>
                  </a:lnTo>
                  <a:lnTo>
                    <a:pt x="1666" y="214"/>
                  </a:lnTo>
                  <a:lnTo>
                    <a:pt x="1653" y="195"/>
                  </a:lnTo>
                  <a:lnTo>
                    <a:pt x="1637" y="177"/>
                  </a:lnTo>
                  <a:lnTo>
                    <a:pt x="1623" y="159"/>
                  </a:lnTo>
                  <a:lnTo>
                    <a:pt x="1605" y="142"/>
                  </a:lnTo>
                  <a:lnTo>
                    <a:pt x="1588" y="126"/>
                  </a:lnTo>
                  <a:lnTo>
                    <a:pt x="1571" y="111"/>
                  </a:lnTo>
                  <a:lnTo>
                    <a:pt x="1552" y="96"/>
                  </a:lnTo>
                  <a:lnTo>
                    <a:pt x="1532" y="82"/>
                  </a:lnTo>
                  <a:lnTo>
                    <a:pt x="1512" y="70"/>
                  </a:lnTo>
                  <a:lnTo>
                    <a:pt x="1492" y="57"/>
                  </a:lnTo>
                  <a:lnTo>
                    <a:pt x="1470" y="47"/>
                  </a:lnTo>
                  <a:lnTo>
                    <a:pt x="1449" y="37"/>
                  </a:lnTo>
                  <a:lnTo>
                    <a:pt x="1425" y="29"/>
                  </a:lnTo>
                  <a:lnTo>
                    <a:pt x="1402" y="21"/>
                  </a:lnTo>
                  <a:lnTo>
                    <a:pt x="1378" y="14"/>
                  </a:lnTo>
                  <a:lnTo>
                    <a:pt x="1355" y="10"/>
                  </a:lnTo>
                  <a:lnTo>
                    <a:pt x="1330" y="6"/>
                  </a:lnTo>
                  <a:lnTo>
                    <a:pt x="1305" y="3"/>
                  </a:lnTo>
                  <a:lnTo>
                    <a:pt x="1280" y="0"/>
                  </a:lnTo>
                  <a:lnTo>
                    <a:pt x="1254" y="0"/>
                  </a:lnTo>
                  <a:lnTo>
                    <a:pt x="1228" y="0"/>
                  </a:lnTo>
                  <a:lnTo>
                    <a:pt x="1202" y="3"/>
                  </a:lnTo>
                  <a:lnTo>
                    <a:pt x="1178" y="6"/>
                  </a:lnTo>
                  <a:lnTo>
                    <a:pt x="1153" y="10"/>
                  </a:lnTo>
                  <a:lnTo>
                    <a:pt x="1129" y="14"/>
                  </a:lnTo>
                  <a:lnTo>
                    <a:pt x="1106" y="21"/>
                  </a:lnTo>
                  <a:lnTo>
                    <a:pt x="1083" y="29"/>
                  </a:lnTo>
                  <a:lnTo>
                    <a:pt x="1060" y="37"/>
                  </a:lnTo>
                  <a:lnTo>
                    <a:pt x="1038" y="47"/>
                  </a:lnTo>
                  <a:lnTo>
                    <a:pt x="1017" y="57"/>
                  </a:lnTo>
                  <a:lnTo>
                    <a:pt x="995" y="70"/>
                  </a:lnTo>
                  <a:lnTo>
                    <a:pt x="975" y="82"/>
                  </a:lnTo>
                  <a:lnTo>
                    <a:pt x="956" y="96"/>
                  </a:lnTo>
                  <a:lnTo>
                    <a:pt x="937" y="111"/>
                  </a:lnTo>
                  <a:lnTo>
                    <a:pt x="919" y="126"/>
                  </a:lnTo>
                  <a:lnTo>
                    <a:pt x="901" y="142"/>
                  </a:lnTo>
                  <a:lnTo>
                    <a:pt x="885" y="159"/>
                  </a:lnTo>
                  <a:lnTo>
                    <a:pt x="870" y="177"/>
                  </a:lnTo>
                  <a:lnTo>
                    <a:pt x="855" y="195"/>
                  </a:lnTo>
                  <a:lnTo>
                    <a:pt x="841" y="214"/>
                  </a:lnTo>
                  <a:lnTo>
                    <a:pt x="828" y="234"/>
                  </a:lnTo>
                  <a:lnTo>
                    <a:pt x="816" y="256"/>
                  </a:lnTo>
                  <a:lnTo>
                    <a:pt x="806" y="276"/>
                  </a:lnTo>
                  <a:lnTo>
                    <a:pt x="796" y="299"/>
                  </a:lnTo>
                  <a:lnTo>
                    <a:pt x="786" y="320"/>
                  </a:lnTo>
                  <a:lnTo>
                    <a:pt x="779" y="343"/>
                  </a:lnTo>
                  <a:lnTo>
                    <a:pt x="772" y="368"/>
                  </a:lnTo>
                  <a:lnTo>
                    <a:pt x="767" y="392"/>
                  </a:lnTo>
                  <a:lnTo>
                    <a:pt x="763" y="416"/>
                  </a:lnTo>
                  <a:lnTo>
                    <a:pt x="759" y="441"/>
                  </a:lnTo>
                  <a:lnTo>
                    <a:pt x="757" y="467"/>
                  </a:lnTo>
                  <a:lnTo>
                    <a:pt x="757" y="492"/>
                  </a:lnTo>
                  <a:lnTo>
                    <a:pt x="757" y="518"/>
                  </a:lnTo>
                  <a:lnTo>
                    <a:pt x="759" y="544"/>
                  </a:lnTo>
                  <a:lnTo>
                    <a:pt x="763" y="569"/>
                  </a:lnTo>
                  <a:lnTo>
                    <a:pt x="767" y="593"/>
                  </a:lnTo>
                  <a:lnTo>
                    <a:pt x="772" y="617"/>
                  </a:lnTo>
                  <a:lnTo>
                    <a:pt x="779" y="642"/>
                  </a:lnTo>
                  <a:lnTo>
                    <a:pt x="786" y="665"/>
                  </a:lnTo>
                  <a:lnTo>
                    <a:pt x="796" y="686"/>
                  </a:lnTo>
                  <a:lnTo>
                    <a:pt x="806" y="709"/>
                  </a:lnTo>
                  <a:lnTo>
                    <a:pt x="816" y="729"/>
                  </a:lnTo>
                  <a:lnTo>
                    <a:pt x="828" y="751"/>
                  </a:lnTo>
                  <a:lnTo>
                    <a:pt x="841" y="771"/>
                  </a:lnTo>
                  <a:lnTo>
                    <a:pt x="855" y="790"/>
                  </a:lnTo>
                  <a:lnTo>
                    <a:pt x="870" y="808"/>
                  </a:lnTo>
                  <a:lnTo>
                    <a:pt x="885" y="826"/>
                  </a:lnTo>
                  <a:lnTo>
                    <a:pt x="901" y="843"/>
                  </a:lnTo>
                  <a:lnTo>
                    <a:pt x="919" y="859"/>
                  </a:lnTo>
                  <a:lnTo>
                    <a:pt x="937" y="874"/>
                  </a:lnTo>
                  <a:lnTo>
                    <a:pt x="956" y="889"/>
                  </a:lnTo>
                  <a:lnTo>
                    <a:pt x="975" y="903"/>
                  </a:lnTo>
                  <a:lnTo>
                    <a:pt x="995" y="915"/>
                  </a:lnTo>
                  <a:lnTo>
                    <a:pt x="1017" y="928"/>
                  </a:lnTo>
                  <a:lnTo>
                    <a:pt x="1038" y="938"/>
                  </a:lnTo>
                  <a:lnTo>
                    <a:pt x="1060" y="948"/>
                  </a:lnTo>
                  <a:lnTo>
                    <a:pt x="1083" y="956"/>
                  </a:lnTo>
                  <a:lnTo>
                    <a:pt x="1106" y="964"/>
                  </a:lnTo>
                  <a:lnTo>
                    <a:pt x="1129" y="971"/>
                  </a:lnTo>
                  <a:lnTo>
                    <a:pt x="1153" y="975"/>
                  </a:lnTo>
                  <a:lnTo>
                    <a:pt x="1178" y="979"/>
                  </a:lnTo>
                  <a:lnTo>
                    <a:pt x="1202" y="982"/>
                  </a:lnTo>
                  <a:lnTo>
                    <a:pt x="1228" y="985"/>
                  </a:lnTo>
                  <a:lnTo>
                    <a:pt x="1254" y="985"/>
                  </a:lnTo>
                  <a:close/>
                  <a:moveTo>
                    <a:pt x="785" y="965"/>
                  </a:moveTo>
                  <a:lnTo>
                    <a:pt x="785" y="965"/>
                  </a:lnTo>
                  <a:lnTo>
                    <a:pt x="471" y="480"/>
                  </a:lnTo>
                  <a:lnTo>
                    <a:pt x="772" y="20"/>
                  </a:lnTo>
                  <a:lnTo>
                    <a:pt x="501" y="20"/>
                  </a:lnTo>
                  <a:lnTo>
                    <a:pt x="242" y="416"/>
                  </a:lnTo>
                  <a:lnTo>
                    <a:pt x="242" y="20"/>
                  </a:lnTo>
                  <a:lnTo>
                    <a:pt x="0" y="20"/>
                  </a:lnTo>
                  <a:lnTo>
                    <a:pt x="0" y="965"/>
                  </a:lnTo>
                  <a:lnTo>
                    <a:pt x="242" y="965"/>
                  </a:lnTo>
                  <a:lnTo>
                    <a:pt x="242" y="543"/>
                  </a:lnTo>
                  <a:lnTo>
                    <a:pt x="514" y="965"/>
                  </a:lnTo>
                  <a:lnTo>
                    <a:pt x="785" y="965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9" name="Freeform 63">
              <a:extLst>
                <a:ext uri="{FF2B5EF4-FFF2-40B4-BE49-F238E27FC236}">
                  <a16:creationId xmlns:a16="http://schemas.microsoft.com/office/drawing/2014/main" id="{79C7BA46-9117-F012-F563-B71F092C5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0" y="3214688"/>
              <a:ext cx="895350" cy="500063"/>
            </a:xfrm>
            <a:custGeom>
              <a:avLst/>
              <a:gdLst>
                <a:gd name="T0" fmla="*/ 1096 w 1691"/>
                <a:gd name="T1" fmla="*/ 616 h 945"/>
                <a:gd name="T2" fmla="*/ 1264 w 1691"/>
                <a:gd name="T3" fmla="*/ 149 h 945"/>
                <a:gd name="T4" fmla="*/ 1436 w 1691"/>
                <a:gd name="T5" fmla="*/ 616 h 945"/>
                <a:gd name="T6" fmla="*/ 1096 w 1691"/>
                <a:gd name="T7" fmla="*/ 616 h 945"/>
                <a:gd name="T8" fmla="*/ 1555 w 1691"/>
                <a:gd name="T9" fmla="*/ 945 h 945"/>
                <a:gd name="T10" fmla="*/ 1555 w 1691"/>
                <a:gd name="T11" fmla="*/ 945 h 945"/>
                <a:gd name="T12" fmla="*/ 1691 w 1691"/>
                <a:gd name="T13" fmla="*/ 945 h 945"/>
                <a:gd name="T14" fmla="*/ 1336 w 1691"/>
                <a:gd name="T15" fmla="*/ 0 h 945"/>
                <a:gd name="T16" fmla="*/ 1194 w 1691"/>
                <a:gd name="T17" fmla="*/ 0 h 945"/>
                <a:gd name="T18" fmla="*/ 841 w 1691"/>
                <a:gd name="T19" fmla="*/ 945 h 945"/>
                <a:gd name="T20" fmla="*/ 975 w 1691"/>
                <a:gd name="T21" fmla="*/ 945 h 945"/>
                <a:gd name="T22" fmla="*/ 1053 w 1691"/>
                <a:gd name="T23" fmla="*/ 732 h 945"/>
                <a:gd name="T24" fmla="*/ 1479 w 1691"/>
                <a:gd name="T25" fmla="*/ 732 h 945"/>
                <a:gd name="T26" fmla="*/ 1555 w 1691"/>
                <a:gd name="T27" fmla="*/ 945 h 945"/>
                <a:gd name="T28" fmla="*/ 589 w 1691"/>
                <a:gd name="T29" fmla="*/ 0 h 945"/>
                <a:gd name="T30" fmla="*/ 589 w 1691"/>
                <a:gd name="T31" fmla="*/ 0 h 945"/>
                <a:gd name="T32" fmla="*/ 589 w 1691"/>
                <a:gd name="T33" fmla="*/ 705 h 945"/>
                <a:gd name="T34" fmla="*/ 102 w 1691"/>
                <a:gd name="T35" fmla="*/ 0 h 945"/>
                <a:gd name="T36" fmla="*/ 0 w 1691"/>
                <a:gd name="T37" fmla="*/ 0 h 945"/>
                <a:gd name="T38" fmla="*/ 0 w 1691"/>
                <a:gd name="T39" fmla="*/ 945 h 945"/>
                <a:gd name="T40" fmla="*/ 127 w 1691"/>
                <a:gd name="T41" fmla="*/ 945 h 945"/>
                <a:gd name="T42" fmla="*/ 127 w 1691"/>
                <a:gd name="T43" fmla="*/ 238 h 945"/>
                <a:gd name="T44" fmla="*/ 613 w 1691"/>
                <a:gd name="T45" fmla="*/ 945 h 945"/>
                <a:gd name="T46" fmla="*/ 716 w 1691"/>
                <a:gd name="T47" fmla="*/ 945 h 945"/>
                <a:gd name="T48" fmla="*/ 716 w 1691"/>
                <a:gd name="T49" fmla="*/ 0 h 945"/>
                <a:gd name="T50" fmla="*/ 589 w 1691"/>
                <a:gd name="T51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1" h="945">
                  <a:moveTo>
                    <a:pt x="1096" y="616"/>
                  </a:moveTo>
                  <a:lnTo>
                    <a:pt x="1264" y="149"/>
                  </a:lnTo>
                  <a:lnTo>
                    <a:pt x="1436" y="616"/>
                  </a:lnTo>
                  <a:lnTo>
                    <a:pt x="1096" y="616"/>
                  </a:lnTo>
                  <a:close/>
                  <a:moveTo>
                    <a:pt x="1555" y="945"/>
                  </a:moveTo>
                  <a:lnTo>
                    <a:pt x="1555" y="945"/>
                  </a:lnTo>
                  <a:lnTo>
                    <a:pt x="1691" y="945"/>
                  </a:lnTo>
                  <a:lnTo>
                    <a:pt x="1336" y="0"/>
                  </a:lnTo>
                  <a:lnTo>
                    <a:pt x="1194" y="0"/>
                  </a:lnTo>
                  <a:lnTo>
                    <a:pt x="841" y="945"/>
                  </a:lnTo>
                  <a:lnTo>
                    <a:pt x="975" y="945"/>
                  </a:lnTo>
                  <a:lnTo>
                    <a:pt x="1053" y="732"/>
                  </a:lnTo>
                  <a:lnTo>
                    <a:pt x="1479" y="732"/>
                  </a:lnTo>
                  <a:lnTo>
                    <a:pt x="1555" y="945"/>
                  </a:lnTo>
                  <a:close/>
                  <a:moveTo>
                    <a:pt x="589" y="0"/>
                  </a:moveTo>
                  <a:lnTo>
                    <a:pt x="589" y="0"/>
                  </a:lnTo>
                  <a:lnTo>
                    <a:pt x="589" y="70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945"/>
                  </a:lnTo>
                  <a:lnTo>
                    <a:pt x="127" y="945"/>
                  </a:lnTo>
                  <a:lnTo>
                    <a:pt x="127" y="238"/>
                  </a:lnTo>
                  <a:lnTo>
                    <a:pt x="613" y="945"/>
                  </a:lnTo>
                  <a:lnTo>
                    <a:pt x="716" y="945"/>
                  </a:lnTo>
                  <a:lnTo>
                    <a:pt x="716" y="0"/>
                  </a:lnTo>
                  <a:lnTo>
                    <a:pt x="5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pic>
        <p:nvPicPr>
          <p:cNvPr id="1067" name="Obrázek 1066">
            <a:extLst>
              <a:ext uri="{FF2B5EF4-FFF2-40B4-BE49-F238E27FC236}">
                <a16:creationId xmlns:a16="http://schemas.microsoft.com/office/drawing/2014/main" id="{37979C49-9CE1-32D7-C18F-E3F7701675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448" y="5177962"/>
            <a:ext cx="858082" cy="1080000"/>
          </a:xfrm>
          <a:prstGeom prst="rect">
            <a:avLst/>
          </a:prstGeom>
        </p:spPr>
      </p:pic>
      <p:sp>
        <p:nvSpPr>
          <p:cNvPr id="67" name="Nadpis 1"/>
          <p:cNvSpPr txBox="1">
            <a:spLocks/>
          </p:cNvSpPr>
          <p:nvPr/>
        </p:nvSpPr>
        <p:spPr>
          <a:xfrm>
            <a:off x="558711" y="1353502"/>
            <a:ext cx="619753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cs-CZ" sz="4000" dirty="0">
                <a:solidFill>
                  <a:schemeClr val="bg1"/>
                </a:solidFill>
                <a:latin typeface="Metropolis" panose="00000500000000000000" pitchFamily="50" charset="0"/>
              </a:rPr>
              <a:t>Díky a nezapomeňte</a:t>
            </a:r>
          </a:p>
        </p:txBody>
      </p:sp>
    </p:spTree>
    <p:extLst>
      <p:ext uri="{BB962C8B-B14F-4D97-AF65-F5344CB8AC3E}">
        <p14:creationId xmlns:p14="http://schemas.microsoft.com/office/powerpoint/2010/main" val="3464009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6863" y="365488"/>
            <a:ext cx="4321564" cy="5193806"/>
          </a:xfrm>
          <a:prstGeom prst="rect">
            <a:avLst/>
          </a:prstGeom>
        </p:spPr>
      </p:pic>
      <p:sp>
        <p:nvSpPr>
          <p:cNvPr id="5" name="TextovéPole 4"/>
          <p:cNvSpPr txBox="1"/>
          <p:nvPr/>
        </p:nvSpPr>
        <p:spPr>
          <a:xfrm>
            <a:off x="4815515" y="5933209"/>
            <a:ext cx="24442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000" b="1" dirty="0" smtClean="0"/>
              <a:t>MUDr. Ondřej Franěk</a:t>
            </a:r>
            <a:endParaRPr 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134533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4160" y="0"/>
            <a:ext cx="96836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730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107" y="0"/>
            <a:ext cx="970493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28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003" y="0"/>
            <a:ext cx="97049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96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597" y="0"/>
            <a:ext cx="970493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63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Zástupný symbol pro text 1"/>
          <p:cNvSpPr>
            <a:spLocks noGrp="1"/>
          </p:cNvSpPr>
          <p:nvPr>
            <p:ph type="body" sz="quarter" idx="10"/>
          </p:nvPr>
        </p:nvSpPr>
        <p:spPr bwMode="auto">
          <a:xfrm>
            <a:off x="3632200" y="1554163"/>
            <a:ext cx="2460625" cy="7921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pl-PL" altLang="cs-CZ" smtClean="0">
                <a:solidFill>
                  <a:srgbClr val="005AA0"/>
                </a:solidFill>
              </a:rPr>
              <a:t>Tisková konference Na kole jen s přilbou</a:t>
            </a:r>
          </a:p>
          <a:p>
            <a:pPr eaLnBrk="1" hangingPunct="1"/>
            <a:endParaRPr lang="cs-CZ" altLang="cs-CZ" smtClean="0">
              <a:solidFill>
                <a:srgbClr val="FFC000"/>
              </a:solidFill>
            </a:endParaRPr>
          </a:p>
        </p:txBody>
      </p:sp>
      <p:sp>
        <p:nvSpPr>
          <p:cNvPr id="12291" name="Zástupný symbol pro text 2">
            <a:extLst>
              <a:ext uri="{FF2B5EF4-FFF2-40B4-BE49-F238E27FC236}">
                <a16:creationId xmlns:a16="http://schemas.microsoft.com/office/drawing/2014/main" id="{5DE5A9C3-884A-41FF-9FFD-94E1442ED6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auto">
          <a:xfrm>
            <a:off x="3632200" y="2608263"/>
            <a:ext cx="7881938" cy="1836737"/>
          </a:xfrm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altLang="cs-CZ" sz="4000"/>
              <a:t>Elektronehody</a:t>
            </a:r>
            <a:r>
              <a:rPr altLang="cs-CZ" sz="4000" dirty="0"/>
              <a:t> a nová legislativa</a:t>
            </a:r>
            <a:endParaRPr lang="pl-PL" altLang="cs-CZ" sz="4000" dirty="0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7110B2A2-6EDD-491E-BE1D-C6E862A89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90950" y="4737100"/>
            <a:ext cx="5253038" cy="782638"/>
          </a:xfrm>
        </p:spPr>
        <p:txBody>
          <a:bodyPr/>
          <a:lstStyle/>
          <a:p>
            <a:pPr defTabSz="914310" eaLnBrk="1" fontAlgn="auto" hangingPunct="1">
              <a:spcAft>
                <a:spcPts val="0"/>
              </a:spcAft>
              <a:defRPr/>
            </a:pPr>
            <a:r>
              <a:rPr dirty="0"/>
              <a:t>24. dubna 2023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FE26B581-8051-4EDB-B2DB-C55854AAA6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13625" y="5519738"/>
            <a:ext cx="4456113" cy="985837"/>
          </a:xfrm>
        </p:spPr>
        <p:txBody>
          <a:bodyPr/>
          <a:lstStyle/>
          <a:p>
            <a:pPr defTabSz="914310" eaLnBrk="1" fontAlgn="auto" hangingPunct="1">
              <a:spcAft>
                <a:spcPts val="0"/>
              </a:spcAft>
              <a:defRPr/>
            </a:pPr>
            <a:r>
              <a:rPr dirty="0"/>
              <a:t>JAN MATOUŠEK</a:t>
            </a:r>
          </a:p>
          <a:p>
            <a:pPr defTabSz="914310" eaLnBrk="1" fontAlgn="auto" hangingPunct="1">
              <a:spcAft>
                <a:spcPts val="0"/>
              </a:spcAft>
              <a:defRPr/>
            </a:pPr>
            <a:r>
              <a:rPr dirty="0"/>
              <a:t>výkonný ředitel České kanceláře pojistitelů</a:t>
            </a:r>
          </a:p>
          <a:p>
            <a:pPr defTabSz="914310" eaLnBrk="1" fontAlgn="auto" hangingPunct="1">
              <a:spcAft>
                <a:spcPts val="0"/>
              </a:spcAft>
              <a:defRPr/>
            </a:pPr>
            <a:endParaRPr dirty="0"/>
          </a:p>
        </p:txBody>
      </p:sp>
      <p:sp>
        <p:nvSpPr>
          <p:cNvPr id="6" name="Rectangle 433">
            <a:extLst>
              <a:ext uri="{FF2B5EF4-FFF2-40B4-BE49-F238E27FC236}">
                <a16:creationId xmlns:a16="http://schemas.microsoft.com/office/drawing/2014/main" id="{1CC8F5BA-9C44-4154-B864-5596616B038D}"/>
              </a:ext>
            </a:extLst>
          </p:cNvPr>
          <p:cNvSpPr/>
          <p:nvPr/>
        </p:nvSpPr>
        <p:spPr>
          <a:xfrm>
            <a:off x="0" y="-9525"/>
            <a:ext cx="3457575" cy="6854825"/>
          </a:xfrm>
          <a:prstGeom prst="rect">
            <a:avLst/>
          </a:prstGeom>
          <a:solidFill>
            <a:srgbClr val="FABE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prstClr val="white"/>
              </a:solidFill>
              <a:latin typeface="Arial"/>
              <a:cs typeface="+mn-cs"/>
            </a:endParaRPr>
          </a:p>
        </p:txBody>
      </p:sp>
      <p:grpSp>
        <p:nvGrpSpPr>
          <p:cNvPr id="7" name="Group 650">
            <a:extLst>
              <a:ext uri="{FF2B5EF4-FFF2-40B4-BE49-F238E27FC236}">
                <a16:creationId xmlns:a16="http://schemas.microsoft.com/office/drawing/2014/main" id="{321AE301-C362-4396-AC51-49DD9E52D3DD}"/>
              </a:ext>
            </a:extLst>
          </p:cNvPr>
          <p:cNvGrpSpPr/>
          <p:nvPr/>
        </p:nvGrpSpPr>
        <p:grpSpPr>
          <a:xfrm>
            <a:off x="604723" y="539769"/>
            <a:ext cx="2248209" cy="5782646"/>
            <a:chOff x="9271922" y="533624"/>
            <a:chExt cx="2382502" cy="6128063"/>
          </a:xfrm>
          <a:solidFill>
            <a:srgbClr val="005AA0"/>
          </a:solidFill>
        </p:grpSpPr>
        <p:grpSp>
          <p:nvGrpSpPr>
            <p:cNvPr id="8" name="Group 584">
              <a:extLst>
                <a:ext uri="{FF2B5EF4-FFF2-40B4-BE49-F238E27FC236}">
                  <a16:creationId xmlns:a16="http://schemas.microsoft.com/office/drawing/2014/main" id="{78D59385-E6E9-4F4C-BCDB-F10013563340}"/>
                </a:ext>
              </a:extLst>
            </p:cNvPr>
            <p:cNvGrpSpPr/>
            <p:nvPr/>
          </p:nvGrpSpPr>
          <p:grpSpPr>
            <a:xfrm>
              <a:off x="9271922" y="533624"/>
              <a:ext cx="2382502" cy="3573752"/>
              <a:chOff x="16160695" y="283612"/>
              <a:chExt cx="3344645" cy="5016967"/>
            </a:xfrm>
            <a:grpFill/>
          </p:grpSpPr>
          <p:sp>
            <p:nvSpPr>
              <p:cNvPr id="51" name="Freeform: Shape 450">
                <a:extLst>
                  <a:ext uri="{FF2B5EF4-FFF2-40B4-BE49-F238E27FC236}">
                    <a16:creationId xmlns:a16="http://schemas.microsoft.com/office/drawing/2014/main" id="{E9319494-6E0E-4CDF-9761-EDD662809725}"/>
                  </a:ext>
                </a:extLst>
              </p:cNvPr>
              <p:cNvSpPr/>
              <p:nvPr/>
            </p:nvSpPr>
            <p:spPr>
              <a:xfrm>
                <a:off x="16160695" y="283612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208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8" y="158546"/>
                      <a:pt x="239084" y="158546"/>
                    </a:cubicBezTo>
                    <a:cubicBezTo>
                      <a:pt x="326790" y="158546"/>
                      <a:pt x="397208" y="87285"/>
                      <a:pt x="397208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2" name="Freeform: Shape 451">
                <a:extLst>
                  <a:ext uri="{FF2B5EF4-FFF2-40B4-BE49-F238E27FC236}">
                    <a16:creationId xmlns:a16="http://schemas.microsoft.com/office/drawing/2014/main" id="{74ED6DCB-A816-4C78-BF8C-E5DED78051F7}"/>
                  </a:ext>
                </a:extLst>
              </p:cNvPr>
              <p:cNvSpPr/>
              <p:nvPr/>
            </p:nvSpPr>
            <p:spPr>
              <a:xfrm>
                <a:off x="16259365" y="28361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2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3" name="Freeform: Shape 461">
                <a:extLst>
                  <a:ext uri="{FF2B5EF4-FFF2-40B4-BE49-F238E27FC236}">
                    <a16:creationId xmlns:a16="http://schemas.microsoft.com/office/drawing/2014/main" id="{425D0AFF-A82F-4798-BFD5-3908B065BCD8}"/>
                  </a:ext>
                </a:extLst>
              </p:cNvPr>
              <p:cNvSpPr/>
              <p:nvPr/>
            </p:nvSpPr>
            <p:spPr>
              <a:xfrm>
                <a:off x="16160695" y="1479032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4" name="Freeform: Shape 462">
                <a:extLst>
                  <a:ext uri="{FF2B5EF4-FFF2-40B4-BE49-F238E27FC236}">
                    <a16:creationId xmlns:a16="http://schemas.microsoft.com/office/drawing/2014/main" id="{6B1EA9F7-513F-43C3-8BF7-70CBA6E94467}"/>
                  </a:ext>
                </a:extLst>
              </p:cNvPr>
              <p:cNvSpPr/>
              <p:nvPr/>
            </p:nvSpPr>
            <p:spPr>
              <a:xfrm>
                <a:off x="16259365" y="147903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5" name="Freeform: Shape 478">
                <a:extLst>
                  <a:ext uri="{FF2B5EF4-FFF2-40B4-BE49-F238E27FC236}">
                    <a16:creationId xmlns:a16="http://schemas.microsoft.com/office/drawing/2014/main" id="{672139A4-7ABF-48F1-BCD6-FA49F207847F}"/>
                  </a:ext>
                </a:extLst>
              </p:cNvPr>
              <p:cNvSpPr/>
              <p:nvPr/>
            </p:nvSpPr>
            <p:spPr>
              <a:xfrm>
                <a:off x="16160695" y="2674029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6" name="Freeform: Shape 479">
                <a:extLst>
                  <a:ext uri="{FF2B5EF4-FFF2-40B4-BE49-F238E27FC236}">
                    <a16:creationId xmlns:a16="http://schemas.microsoft.com/office/drawing/2014/main" id="{B00E4C14-E0AB-44E4-85FF-7256D28B2FCE}"/>
                  </a:ext>
                </a:extLst>
              </p:cNvPr>
              <p:cNvSpPr/>
              <p:nvPr/>
            </p:nvSpPr>
            <p:spPr>
              <a:xfrm>
                <a:off x="16259365" y="267402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7" name="Freeform: Shape 495">
                <a:extLst>
                  <a:ext uri="{FF2B5EF4-FFF2-40B4-BE49-F238E27FC236}">
                    <a16:creationId xmlns:a16="http://schemas.microsoft.com/office/drawing/2014/main" id="{137A4017-7A16-46A0-A1BF-E90427E35663}"/>
                  </a:ext>
                </a:extLst>
              </p:cNvPr>
              <p:cNvSpPr/>
              <p:nvPr/>
            </p:nvSpPr>
            <p:spPr>
              <a:xfrm>
                <a:off x="16160695" y="3869449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8" name="Freeform: Shape 496">
                <a:extLst>
                  <a:ext uri="{FF2B5EF4-FFF2-40B4-BE49-F238E27FC236}">
                    <a16:creationId xmlns:a16="http://schemas.microsoft.com/office/drawing/2014/main" id="{4477BFCE-DE68-4790-B8E7-FB15B1B6CD64}"/>
                  </a:ext>
                </a:extLst>
              </p:cNvPr>
              <p:cNvSpPr/>
              <p:nvPr/>
            </p:nvSpPr>
            <p:spPr>
              <a:xfrm>
                <a:off x="16259365" y="386944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59" name="Freeform: Shape 512">
                <a:extLst>
                  <a:ext uri="{FF2B5EF4-FFF2-40B4-BE49-F238E27FC236}">
                    <a16:creationId xmlns:a16="http://schemas.microsoft.com/office/drawing/2014/main" id="{0AB95BE0-6147-4EBF-87DC-2AB5623EB74F}"/>
                  </a:ext>
                </a:extLst>
              </p:cNvPr>
              <p:cNvSpPr/>
              <p:nvPr/>
            </p:nvSpPr>
            <p:spPr>
              <a:xfrm>
                <a:off x="16160695" y="5064447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0" name="Freeform: Shape 513">
                <a:extLst>
                  <a:ext uri="{FF2B5EF4-FFF2-40B4-BE49-F238E27FC236}">
                    <a16:creationId xmlns:a16="http://schemas.microsoft.com/office/drawing/2014/main" id="{29D2D08F-2134-4B61-A494-38377ABD51F5}"/>
                  </a:ext>
                </a:extLst>
              </p:cNvPr>
              <p:cNvSpPr/>
              <p:nvPr/>
            </p:nvSpPr>
            <p:spPr>
              <a:xfrm>
                <a:off x="16259365" y="5064447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1" name="Freeform: Shape 515">
                <a:extLst>
                  <a:ext uri="{FF2B5EF4-FFF2-40B4-BE49-F238E27FC236}">
                    <a16:creationId xmlns:a16="http://schemas.microsoft.com/office/drawing/2014/main" id="{92B88A90-1DDC-4154-92B8-5E8A0E20ADAC}"/>
                  </a:ext>
                </a:extLst>
              </p:cNvPr>
              <p:cNvSpPr/>
              <p:nvPr/>
            </p:nvSpPr>
            <p:spPr>
              <a:xfrm>
                <a:off x="16638863" y="881111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7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2" name="Freeform: Shape 516">
                <a:extLst>
                  <a:ext uri="{FF2B5EF4-FFF2-40B4-BE49-F238E27FC236}">
                    <a16:creationId xmlns:a16="http://schemas.microsoft.com/office/drawing/2014/main" id="{B778B318-D1C4-441D-A949-C12633D39DBA}"/>
                  </a:ext>
                </a:extLst>
              </p:cNvPr>
              <p:cNvSpPr/>
              <p:nvPr/>
            </p:nvSpPr>
            <p:spPr>
              <a:xfrm>
                <a:off x="16737111" y="979781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4 w 278298"/>
                  <a:gd name="connsiteY1" fmla="*/ 0 h 139149"/>
                  <a:gd name="connsiteX2" fmla="*/ 280829 w 278298"/>
                  <a:gd name="connsiteY2" fmla="*/ 140414 h 139149"/>
                  <a:gd name="connsiteX3" fmla="*/ 200291 w 278298"/>
                  <a:gd name="connsiteY3" fmla="*/ 140414 h 139149"/>
                  <a:gd name="connsiteX4" fmla="*/ 140414 w 278298"/>
                  <a:gd name="connsiteY4" fmla="*/ 80538 h 139149"/>
                  <a:gd name="connsiteX5" fmla="*/ 80538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1" y="0"/>
                      <a:pt x="280829" y="62828"/>
                      <a:pt x="280829" y="140414"/>
                    </a:cubicBezTo>
                    <a:lnTo>
                      <a:pt x="200291" y="140414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3" name="Freeform: Shape 517">
                <a:extLst>
                  <a:ext uri="{FF2B5EF4-FFF2-40B4-BE49-F238E27FC236}">
                    <a16:creationId xmlns:a16="http://schemas.microsoft.com/office/drawing/2014/main" id="{E8E0DABB-6953-472C-BAC7-26729DACE014}"/>
                  </a:ext>
                </a:extLst>
              </p:cNvPr>
              <p:cNvSpPr/>
              <p:nvPr/>
            </p:nvSpPr>
            <p:spPr>
              <a:xfrm>
                <a:off x="17594777" y="881111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4" name="Freeform: Shape 518">
                <a:extLst>
                  <a:ext uri="{FF2B5EF4-FFF2-40B4-BE49-F238E27FC236}">
                    <a16:creationId xmlns:a16="http://schemas.microsoft.com/office/drawing/2014/main" id="{1784DE60-C52B-484C-8398-A5DFF8399553}"/>
                  </a:ext>
                </a:extLst>
              </p:cNvPr>
              <p:cNvSpPr/>
              <p:nvPr/>
            </p:nvSpPr>
            <p:spPr>
              <a:xfrm>
                <a:off x="17693447" y="979781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4 w 278298"/>
                  <a:gd name="connsiteY1" fmla="*/ 0 h 139149"/>
                  <a:gd name="connsiteX2" fmla="*/ 280829 w 278298"/>
                  <a:gd name="connsiteY2" fmla="*/ 140414 h 139149"/>
                  <a:gd name="connsiteX3" fmla="*/ 200291 w 278298"/>
                  <a:gd name="connsiteY3" fmla="*/ 140414 h 139149"/>
                  <a:gd name="connsiteX4" fmla="*/ 140414 w 278298"/>
                  <a:gd name="connsiteY4" fmla="*/ 80538 h 139149"/>
                  <a:gd name="connsiteX5" fmla="*/ 80538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0" y="0"/>
                      <a:pt x="280829" y="62828"/>
                      <a:pt x="280829" y="140414"/>
                    </a:cubicBezTo>
                    <a:lnTo>
                      <a:pt x="200291" y="140414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5" name="Freeform: Shape 519">
                <a:extLst>
                  <a:ext uri="{FF2B5EF4-FFF2-40B4-BE49-F238E27FC236}">
                    <a16:creationId xmlns:a16="http://schemas.microsoft.com/office/drawing/2014/main" id="{0CC255D9-61C7-41F6-B352-12126ACBB8EA}"/>
                  </a:ext>
                </a:extLst>
              </p:cNvPr>
              <p:cNvSpPr/>
              <p:nvPr/>
            </p:nvSpPr>
            <p:spPr>
              <a:xfrm>
                <a:off x="18551112" y="881111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6" name="Freeform: Shape 520">
                <a:extLst>
                  <a:ext uri="{FF2B5EF4-FFF2-40B4-BE49-F238E27FC236}">
                    <a16:creationId xmlns:a16="http://schemas.microsoft.com/office/drawing/2014/main" id="{01403B05-F16D-4089-A065-3759FA8895D4}"/>
                  </a:ext>
                </a:extLst>
              </p:cNvPr>
              <p:cNvSpPr/>
              <p:nvPr/>
            </p:nvSpPr>
            <p:spPr>
              <a:xfrm>
                <a:off x="18649782" y="979781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5 w 278298"/>
                  <a:gd name="connsiteY1" fmla="*/ 0 h 139149"/>
                  <a:gd name="connsiteX2" fmla="*/ 280829 w 278298"/>
                  <a:gd name="connsiteY2" fmla="*/ 140414 h 139149"/>
                  <a:gd name="connsiteX3" fmla="*/ 199869 w 278298"/>
                  <a:gd name="connsiteY3" fmla="*/ 140414 h 139149"/>
                  <a:gd name="connsiteX4" fmla="*/ 139993 w 278298"/>
                  <a:gd name="connsiteY4" fmla="*/ 80538 h 139149"/>
                  <a:gd name="connsiteX5" fmla="*/ 80116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5" y="0"/>
                    </a:cubicBezTo>
                    <a:cubicBezTo>
                      <a:pt x="218001" y="0"/>
                      <a:pt x="280829" y="62828"/>
                      <a:pt x="280829" y="140414"/>
                    </a:cubicBezTo>
                    <a:lnTo>
                      <a:pt x="199869" y="140414"/>
                    </a:lnTo>
                    <a:cubicBezTo>
                      <a:pt x="199869" y="107525"/>
                      <a:pt x="173304" y="80538"/>
                      <a:pt x="139993" y="80538"/>
                    </a:cubicBezTo>
                    <a:cubicBezTo>
                      <a:pt x="107103" y="80538"/>
                      <a:pt x="80116" y="107103"/>
                      <a:pt x="80116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7" name="Freeform: Shape 521">
                <a:extLst>
                  <a:ext uri="{FF2B5EF4-FFF2-40B4-BE49-F238E27FC236}">
                    <a16:creationId xmlns:a16="http://schemas.microsoft.com/office/drawing/2014/main" id="{E61F47DE-1497-4DAC-A67F-3F99AD786216}"/>
                  </a:ext>
                </a:extLst>
              </p:cNvPr>
              <p:cNvSpPr/>
              <p:nvPr/>
            </p:nvSpPr>
            <p:spPr>
              <a:xfrm>
                <a:off x="17116609" y="283612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8" name="Freeform: Shape 522">
                <a:extLst>
                  <a:ext uri="{FF2B5EF4-FFF2-40B4-BE49-F238E27FC236}">
                    <a16:creationId xmlns:a16="http://schemas.microsoft.com/office/drawing/2014/main" id="{BBB4E345-20DB-4F85-B1EF-A749B41F47FE}"/>
                  </a:ext>
                </a:extLst>
              </p:cNvPr>
              <p:cNvSpPr/>
              <p:nvPr/>
            </p:nvSpPr>
            <p:spPr>
              <a:xfrm>
                <a:off x="17215279" y="28361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2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69" name="Freeform: Shape 524">
                <a:extLst>
                  <a:ext uri="{FF2B5EF4-FFF2-40B4-BE49-F238E27FC236}">
                    <a16:creationId xmlns:a16="http://schemas.microsoft.com/office/drawing/2014/main" id="{B73119AC-E0B7-4B82-935A-4861FD4B014C}"/>
                  </a:ext>
                </a:extLst>
              </p:cNvPr>
              <p:cNvSpPr/>
              <p:nvPr/>
            </p:nvSpPr>
            <p:spPr>
              <a:xfrm>
                <a:off x="18072945" y="283612"/>
                <a:ext cx="476481" cy="236132"/>
              </a:xfrm>
              <a:custGeom>
                <a:avLst/>
                <a:gdLst>
                  <a:gd name="connsiteX0" fmla="*/ 478167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7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7" y="0"/>
                    </a:moveTo>
                    <a:cubicBezTo>
                      <a:pt x="478167" y="131981"/>
                      <a:pt x="371065" y="239084"/>
                      <a:pt x="239084" y="239084"/>
                    </a:cubicBezTo>
                    <a:cubicBezTo>
                      <a:pt x="107102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7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7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0" name="Freeform: Shape 525">
                <a:extLst>
                  <a:ext uri="{FF2B5EF4-FFF2-40B4-BE49-F238E27FC236}">
                    <a16:creationId xmlns:a16="http://schemas.microsoft.com/office/drawing/2014/main" id="{7D30B8D5-8D1F-42DE-964B-CBE4DBA9E9E6}"/>
                  </a:ext>
                </a:extLst>
              </p:cNvPr>
              <p:cNvSpPr/>
              <p:nvPr/>
            </p:nvSpPr>
            <p:spPr>
              <a:xfrm>
                <a:off x="18171614" y="28361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5" y="59876"/>
                      <a:pt x="200291" y="33312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1" name="Freeform: Shape 527">
                <a:extLst>
                  <a:ext uri="{FF2B5EF4-FFF2-40B4-BE49-F238E27FC236}">
                    <a16:creationId xmlns:a16="http://schemas.microsoft.com/office/drawing/2014/main" id="{095B4E32-B3B1-47B2-8480-191DCF289771}"/>
                  </a:ext>
                </a:extLst>
              </p:cNvPr>
              <p:cNvSpPr/>
              <p:nvPr/>
            </p:nvSpPr>
            <p:spPr>
              <a:xfrm>
                <a:off x="19028859" y="283612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2" name="Freeform: Shape 528">
                <a:extLst>
                  <a:ext uri="{FF2B5EF4-FFF2-40B4-BE49-F238E27FC236}">
                    <a16:creationId xmlns:a16="http://schemas.microsoft.com/office/drawing/2014/main" id="{576AF8A9-A516-45FB-8A02-855778883A80}"/>
                  </a:ext>
                </a:extLst>
              </p:cNvPr>
              <p:cNvSpPr/>
              <p:nvPr/>
            </p:nvSpPr>
            <p:spPr>
              <a:xfrm>
                <a:off x="19127950" y="28361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4" y="59876"/>
                      <a:pt x="200291" y="33312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3" name="Freeform: Shape 530">
                <a:extLst>
                  <a:ext uri="{FF2B5EF4-FFF2-40B4-BE49-F238E27FC236}">
                    <a16:creationId xmlns:a16="http://schemas.microsoft.com/office/drawing/2014/main" id="{433E84EF-1CE8-4E57-A4C6-2A49E8FC33D0}"/>
                  </a:ext>
                </a:extLst>
              </p:cNvPr>
              <p:cNvSpPr/>
              <p:nvPr/>
            </p:nvSpPr>
            <p:spPr>
              <a:xfrm>
                <a:off x="17116609" y="1479032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4" name="Freeform: Shape 531">
                <a:extLst>
                  <a:ext uri="{FF2B5EF4-FFF2-40B4-BE49-F238E27FC236}">
                    <a16:creationId xmlns:a16="http://schemas.microsoft.com/office/drawing/2014/main" id="{043744A8-5960-4898-A11A-6A90D4B71E35}"/>
                  </a:ext>
                </a:extLst>
              </p:cNvPr>
              <p:cNvSpPr/>
              <p:nvPr/>
            </p:nvSpPr>
            <p:spPr>
              <a:xfrm>
                <a:off x="17215279" y="147903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5" name="Freeform: Shape 533">
                <a:extLst>
                  <a:ext uri="{FF2B5EF4-FFF2-40B4-BE49-F238E27FC236}">
                    <a16:creationId xmlns:a16="http://schemas.microsoft.com/office/drawing/2014/main" id="{5364E75D-F8BA-434C-986E-100B66AD0EF0}"/>
                  </a:ext>
                </a:extLst>
              </p:cNvPr>
              <p:cNvSpPr/>
              <p:nvPr/>
            </p:nvSpPr>
            <p:spPr>
              <a:xfrm>
                <a:off x="18072945" y="1479032"/>
                <a:ext cx="476481" cy="236132"/>
              </a:xfrm>
              <a:custGeom>
                <a:avLst/>
                <a:gdLst>
                  <a:gd name="connsiteX0" fmla="*/ 478167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7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7" y="0"/>
                    </a:moveTo>
                    <a:cubicBezTo>
                      <a:pt x="478167" y="131981"/>
                      <a:pt x="371065" y="239084"/>
                      <a:pt x="239084" y="239084"/>
                    </a:cubicBezTo>
                    <a:cubicBezTo>
                      <a:pt x="107102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7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7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6" name="Freeform: Shape 534">
                <a:extLst>
                  <a:ext uri="{FF2B5EF4-FFF2-40B4-BE49-F238E27FC236}">
                    <a16:creationId xmlns:a16="http://schemas.microsoft.com/office/drawing/2014/main" id="{4329D16B-2F2E-4768-8D20-426D50E318E2}"/>
                  </a:ext>
                </a:extLst>
              </p:cNvPr>
              <p:cNvSpPr/>
              <p:nvPr/>
            </p:nvSpPr>
            <p:spPr>
              <a:xfrm>
                <a:off x="18171614" y="147903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5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7" name="Freeform: Shape 536">
                <a:extLst>
                  <a:ext uri="{FF2B5EF4-FFF2-40B4-BE49-F238E27FC236}">
                    <a16:creationId xmlns:a16="http://schemas.microsoft.com/office/drawing/2014/main" id="{6937B9DD-D222-4E31-B47B-7FAB348CD744}"/>
                  </a:ext>
                </a:extLst>
              </p:cNvPr>
              <p:cNvSpPr/>
              <p:nvPr/>
            </p:nvSpPr>
            <p:spPr>
              <a:xfrm>
                <a:off x="19028859" y="1479032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5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8" name="Freeform: Shape 537">
                <a:extLst>
                  <a:ext uri="{FF2B5EF4-FFF2-40B4-BE49-F238E27FC236}">
                    <a16:creationId xmlns:a16="http://schemas.microsoft.com/office/drawing/2014/main" id="{AD1D3D09-B5AA-4FCC-9638-F3D2A5E64E3F}"/>
                  </a:ext>
                </a:extLst>
              </p:cNvPr>
              <p:cNvSpPr/>
              <p:nvPr/>
            </p:nvSpPr>
            <p:spPr>
              <a:xfrm>
                <a:off x="19127950" y="1479032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79" name="Freeform: Shape 539">
                <a:extLst>
                  <a:ext uri="{FF2B5EF4-FFF2-40B4-BE49-F238E27FC236}">
                    <a16:creationId xmlns:a16="http://schemas.microsoft.com/office/drawing/2014/main" id="{5F78DFF9-6456-4AA2-85FD-DD3C8D579FBE}"/>
                  </a:ext>
                </a:extLst>
              </p:cNvPr>
              <p:cNvSpPr/>
              <p:nvPr/>
            </p:nvSpPr>
            <p:spPr>
              <a:xfrm>
                <a:off x="16638863" y="2076531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7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0" name="Freeform: Shape 540">
                <a:extLst>
                  <a:ext uri="{FF2B5EF4-FFF2-40B4-BE49-F238E27FC236}">
                    <a16:creationId xmlns:a16="http://schemas.microsoft.com/office/drawing/2014/main" id="{854A798F-E8E8-408B-8EDF-C02449F4E6A5}"/>
                  </a:ext>
                </a:extLst>
              </p:cNvPr>
              <p:cNvSpPr/>
              <p:nvPr/>
            </p:nvSpPr>
            <p:spPr>
              <a:xfrm>
                <a:off x="16737111" y="2175200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4 w 278298"/>
                  <a:gd name="connsiteY1" fmla="*/ 0 h 139149"/>
                  <a:gd name="connsiteX2" fmla="*/ 280829 w 278298"/>
                  <a:gd name="connsiteY2" fmla="*/ 140414 h 139149"/>
                  <a:gd name="connsiteX3" fmla="*/ 200291 w 278298"/>
                  <a:gd name="connsiteY3" fmla="*/ 140414 h 139149"/>
                  <a:gd name="connsiteX4" fmla="*/ 140414 w 278298"/>
                  <a:gd name="connsiteY4" fmla="*/ 80538 h 139149"/>
                  <a:gd name="connsiteX5" fmla="*/ 80538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1" y="0"/>
                      <a:pt x="280829" y="62828"/>
                      <a:pt x="280829" y="140414"/>
                    </a:cubicBezTo>
                    <a:lnTo>
                      <a:pt x="200291" y="140414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1" name="Freeform: Shape 541">
                <a:extLst>
                  <a:ext uri="{FF2B5EF4-FFF2-40B4-BE49-F238E27FC236}">
                    <a16:creationId xmlns:a16="http://schemas.microsoft.com/office/drawing/2014/main" id="{63B1E366-BADE-4DE2-9AAC-F1389E3B81C9}"/>
                  </a:ext>
                </a:extLst>
              </p:cNvPr>
              <p:cNvSpPr/>
              <p:nvPr/>
            </p:nvSpPr>
            <p:spPr>
              <a:xfrm>
                <a:off x="17594777" y="2076531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2" name="Freeform: Shape 542">
                <a:extLst>
                  <a:ext uri="{FF2B5EF4-FFF2-40B4-BE49-F238E27FC236}">
                    <a16:creationId xmlns:a16="http://schemas.microsoft.com/office/drawing/2014/main" id="{0121A068-5572-43F1-9C34-4784865E6723}"/>
                  </a:ext>
                </a:extLst>
              </p:cNvPr>
              <p:cNvSpPr/>
              <p:nvPr/>
            </p:nvSpPr>
            <p:spPr>
              <a:xfrm>
                <a:off x="17693447" y="2175200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4 w 278298"/>
                  <a:gd name="connsiteY1" fmla="*/ 0 h 139149"/>
                  <a:gd name="connsiteX2" fmla="*/ 280829 w 278298"/>
                  <a:gd name="connsiteY2" fmla="*/ 140414 h 139149"/>
                  <a:gd name="connsiteX3" fmla="*/ 200291 w 278298"/>
                  <a:gd name="connsiteY3" fmla="*/ 140414 h 139149"/>
                  <a:gd name="connsiteX4" fmla="*/ 140414 w 278298"/>
                  <a:gd name="connsiteY4" fmla="*/ 80538 h 139149"/>
                  <a:gd name="connsiteX5" fmla="*/ 80538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0" y="0"/>
                      <a:pt x="280829" y="62828"/>
                      <a:pt x="280829" y="140414"/>
                    </a:cubicBezTo>
                    <a:lnTo>
                      <a:pt x="200291" y="140414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3" name="Freeform: Shape 543">
                <a:extLst>
                  <a:ext uri="{FF2B5EF4-FFF2-40B4-BE49-F238E27FC236}">
                    <a16:creationId xmlns:a16="http://schemas.microsoft.com/office/drawing/2014/main" id="{D502FFFB-8940-47A8-A743-5207FDCB3308}"/>
                  </a:ext>
                </a:extLst>
              </p:cNvPr>
              <p:cNvSpPr/>
              <p:nvPr/>
            </p:nvSpPr>
            <p:spPr>
              <a:xfrm>
                <a:off x="18551112" y="2076531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4" name="Freeform: Shape 544">
                <a:extLst>
                  <a:ext uri="{FF2B5EF4-FFF2-40B4-BE49-F238E27FC236}">
                    <a16:creationId xmlns:a16="http://schemas.microsoft.com/office/drawing/2014/main" id="{6CEA42C7-8D9D-4A1E-A14D-DDAD5A7DE6D0}"/>
                  </a:ext>
                </a:extLst>
              </p:cNvPr>
              <p:cNvSpPr/>
              <p:nvPr/>
            </p:nvSpPr>
            <p:spPr>
              <a:xfrm>
                <a:off x="18649782" y="2175200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5 w 278298"/>
                  <a:gd name="connsiteY1" fmla="*/ 0 h 139149"/>
                  <a:gd name="connsiteX2" fmla="*/ 280829 w 278298"/>
                  <a:gd name="connsiteY2" fmla="*/ 140414 h 139149"/>
                  <a:gd name="connsiteX3" fmla="*/ 199869 w 278298"/>
                  <a:gd name="connsiteY3" fmla="*/ 140414 h 139149"/>
                  <a:gd name="connsiteX4" fmla="*/ 139993 w 278298"/>
                  <a:gd name="connsiteY4" fmla="*/ 80538 h 139149"/>
                  <a:gd name="connsiteX5" fmla="*/ 80116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5" y="0"/>
                    </a:cubicBezTo>
                    <a:cubicBezTo>
                      <a:pt x="218001" y="0"/>
                      <a:pt x="280829" y="62828"/>
                      <a:pt x="280829" y="140414"/>
                    </a:cubicBezTo>
                    <a:lnTo>
                      <a:pt x="199869" y="140414"/>
                    </a:lnTo>
                    <a:cubicBezTo>
                      <a:pt x="199869" y="107525"/>
                      <a:pt x="173304" y="80538"/>
                      <a:pt x="139993" y="80538"/>
                    </a:cubicBezTo>
                    <a:cubicBezTo>
                      <a:pt x="107103" y="80538"/>
                      <a:pt x="80116" y="107103"/>
                      <a:pt x="80116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5" name="Freeform: Shape 545">
                <a:extLst>
                  <a:ext uri="{FF2B5EF4-FFF2-40B4-BE49-F238E27FC236}">
                    <a16:creationId xmlns:a16="http://schemas.microsoft.com/office/drawing/2014/main" id="{40F0CCFA-01CD-46FC-9AAF-684375FDFCB6}"/>
                  </a:ext>
                </a:extLst>
              </p:cNvPr>
              <p:cNvSpPr/>
              <p:nvPr/>
            </p:nvSpPr>
            <p:spPr>
              <a:xfrm>
                <a:off x="17116609" y="2674029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6" name="Freeform: Shape 546">
                <a:extLst>
                  <a:ext uri="{FF2B5EF4-FFF2-40B4-BE49-F238E27FC236}">
                    <a16:creationId xmlns:a16="http://schemas.microsoft.com/office/drawing/2014/main" id="{E08DF8EF-BC38-44C8-B4F9-FD5501112ADE}"/>
                  </a:ext>
                </a:extLst>
              </p:cNvPr>
              <p:cNvSpPr/>
              <p:nvPr/>
            </p:nvSpPr>
            <p:spPr>
              <a:xfrm>
                <a:off x="17215279" y="267402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7" name="Freeform: Shape 548">
                <a:extLst>
                  <a:ext uri="{FF2B5EF4-FFF2-40B4-BE49-F238E27FC236}">
                    <a16:creationId xmlns:a16="http://schemas.microsoft.com/office/drawing/2014/main" id="{20AA38FF-1681-47FF-841B-BF67B1D51E0D}"/>
                  </a:ext>
                </a:extLst>
              </p:cNvPr>
              <p:cNvSpPr/>
              <p:nvPr/>
            </p:nvSpPr>
            <p:spPr>
              <a:xfrm>
                <a:off x="18072945" y="2674029"/>
                <a:ext cx="476481" cy="236132"/>
              </a:xfrm>
              <a:custGeom>
                <a:avLst/>
                <a:gdLst>
                  <a:gd name="connsiteX0" fmla="*/ 478167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7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7" y="0"/>
                    </a:moveTo>
                    <a:cubicBezTo>
                      <a:pt x="478167" y="131981"/>
                      <a:pt x="371065" y="239084"/>
                      <a:pt x="239084" y="239084"/>
                    </a:cubicBezTo>
                    <a:cubicBezTo>
                      <a:pt x="107102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7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7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8" name="Freeform: Shape 549">
                <a:extLst>
                  <a:ext uri="{FF2B5EF4-FFF2-40B4-BE49-F238E27FC236}">
                    <a16:creationId xmlns:a16="http://schemas.microsoft.com/office/drawing/2014/main" id="{8A04CC78-694E-4E15-A8D2-DDE77F89CE2B}"/>
                  </a:ext>
                </a:extLst>
              </p:cNvPr>
              <p:cNvSpPr/>
              <p:nvPr/>
            </p:nvSpPr>
            <p:spPr>
              <a:xfrm>
                <a:off x="18171614" y="267402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5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89" name="Freeform: Shape 551">
                <a:extLst>
                  <a:ext uri="{FF2B5EF4-FFF2-40B4-BE49-F238E27FC236}">
                    <a16:creationId xmlns:a16="http://schemas.microsoft.com/office/drawing/2014/main" id="{2AA9F537-AA85-430F-94A7-3433AFA8217C}"/>
                  </a:ext>
                </a:extLst>
              </p:cNvPr>
              <p:cNvSpPr/>
              <p:nvPr/>
            </p:nvSpPr>
            <p:spPr>
              <a:xfrm>
                <a:off x="19028859" y="2674029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0" name="Freeform: Shape 552">
                <a:extLst>
                  <a:ext uri="{FF2B5EF4-FFF2-40B4-BE49-F238E27FC236}">
                    <a16:creationId xmlns:a16="http://schemas.microsoft.com/office/drawing/2014/main" id="{06D25172-20A3-4DA0-A75A-4870EA693E1C}"/>
                  </a:ext>
                </a:extLst>
              </p:cNvPr>
              <p:cNvSpPr/>
              <p:nvPr/>
            </p:nvSpPr>
            <p:spPr>
              <a:xfrm>
                <a:off x="19127950" y="267402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1" name="Freeform: Shape 554">
                <a:extLst>
                  <a:ext uri="{FF2B5EF4-FFF2-40B4-BE49-F238E27FC236}">
                    <a16:creationId xmlns:a16="http://schemas.microsoft.com/office/drawing/2014/main" id="{35E4EC78-58E2-4F79-AA18-704B71D8FBB7}"/>
                  </a:ext>
                </a:extLst>
              </p:cNvPr>
              <p:cNvSpPr/>
              <p:nvPr/>
            </p:nvSpPr>
            <p:spPr>
              <a:xfrm>
                <a:off x="16638863" y="3271528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7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2" name="Freeform: Shape 555">
                <a:extLst>
                  <a:ext uri="{FF2B5EF4-FFF2-40B4-BE49-F238E27FC236}">
                    <a16:creationId xmlns:a16="http://schemas.microsoft.com/office/drawing/2014/main" id="{77DC42BE-6675-42B4-BD0B-0A5BF4F72351}"/>
                  </a:ext>
                </a:extLst>
              </p:cNvPr>
              <p:cNvSpPr/>
              <p:nvPr/>
            </p:nvSpPr>
            <p:spPr>
              <a:xfrm>
                <a:off x="16737111" y="3370198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4 w 278298"/>
                  <a:gd name="connsiteY1" fmla="*/ 0 h 139149"/>
                  <a:gd name="connsiteX2" fmla="*/ 280829 w 278298"/>
                  <a:gd name="connsiteY2" fmla="*/ 140414 h 139149"/>
                  <a:gd name="connsiteX3" fmla="*/ 200291 w 278298"/>
                  <a:gd name="connsiteY3" fmla="*/ 140414 h 139149"/>
                  <a:gd name="connsiteX4" fmla="*/ 140414 w 278298"/>
                  <a:gd name="connsiteY4" fmla="*/ 80538 h 139149"/>
                  <a:gd name="connsiteX5" fmla="*/ 80538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1" y="0"/>
                      <a:pt x="280829" y="62828"/>
                      <a:pt x="280829" y="140414"/>
                    </a:cubicBezTo>
                    <a:lnTo>
                      <a:pt x="200291" y="140414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3" name="Freeform: Shape 556">
                <a:extLst>
                  <a:ext uri="{FF2B5EF4-FFF2-40B4-BE49-F238E27FC236}">
                    <a16:creationId xmlns:a16="http://schemas.microsoft.com/office/drawing/2014/main" id="{D35DA3F1-49FF-46DA-B537-7D4893C964E6}"/>
                  </a:ext>
                </a:extLst>
              </p:cNvPr>
              <p:cNvSpPr/>
              <p:nvPr/>
            </p:nvSpPr>
            <p:spPr>
              <a:xfrm>
                <a:off x="17594777" y="3271528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4" name="Freeform: Shape 557">
                <a:extLst>
                  <a:ext uri="{FF2B5EF4-FFF2-40B4-BE49-F238E27FC236}">
                    <a16:creationId xmlns:a16="http://schemas.microsoft.com/office/drawing/2014/main" id="{26BE17E4-BF2E-4F72-A949-4BDA7F488B4C}"/>
                  </a:ext>
                </a:extLst>
              </p:cNvPr>
              <p:cNvSpPr/>
              <p:nvPr/>
            </p:nvSpPr>
            <p:spPr>
              <a:xfrm>
                <a:off x="17693447" y="3370198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4 w 278298"/>
                  <a:gd name="connsiteY1" fmla="*/ 0 h 139149"/>
                  <a:gd name="connsiteX2" fmla="*/ 280829 w 278298"/>
                  <a:gd name="connsiteY2" fmla="*/ 140414 h 139149"/>
                  <a:gd name="connsiteX3" fmla="*/ 200291 w 278298"/>
                  <a:gd name="connsiteY3" fmla="*/ 140414 h 139149"/>
                  <a:gd name="connsiteX4" fmla="*/ 140414 w 278298"/>
                  <a:gd name="connsiteY4" fmla="*/ 80538 h 139149"/>
                  <a:gd name="connsiteX5" fmla="*/ 80538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0" y="0"/>
                      <a:pt x="280829" y="62828"/>
                      <a:pt x="280829" y="140414"/>
                    </a:cubicBezTo>
                    <a:lnTo>
                      <a:pt x="200291" y="140414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5" name="Freeform: Shape 558">
                <a:extLst>
                  <a:ext uri="{FF2B5EF4-FFF2-40B4-BE49-F238E27FC236}">
                    <a16:creationId xmlns:a16="http://schemas.microsoft.com/office/drawing/2014/main" id="{974F4788-DAF7-4802-B121-39E074400D6A}"/>
                  </a:ext>
                </a:extLst>
              </p:cNvPr>
              <p:cNvSpPr/>
              <p:nvPr/>
            </p:nvSpPr>
            <p:spPr>
              <a:xfrm>
                <a:off x="18551112" y="3271528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6" name="Freeform: Shape 559">
                <a:extLst>
                  <a:ext uri="{FF2B5EF4-FFF2-40B4-BE49-F238E27FC236}">
                    <a16:creationId xmlns:a16="http://schemas.microsoft.com/office/drawing/2014/main" id="{004682BA-C02A-4C47-8968-A2D163BAEB10}"/>
                  </a:ext>
                </a:extLst>
              </p:cNvPr>
              <p:cNvSpPr/>
              <p:nvPr/>
            </p:nvSpPr>
            <p:spPr>
              <a:xfrm>
                <a:off x="18649782" y="3370198"/>
                <a:ext cx="278299" cy="139149"/>
              </a:xfrm>
              <a:custGeom>
                <a:avLst/>
                <a:gdLst>
                  <a:gd name="connsiteX0" fmla="*/ 0 w 278298"/>
                  <a:gd name="connsiteY0" fmla="*/ 140414 h 139149"/>
                  <a:gd name="connsiteX1" fmla="*/ 140415 w 278298"/>
                  <a:gd name="connsiteY1" fmla="*/ 0 h 139149"/>
                  <a:gd name="connsiteX2" fmla="*/ 280829 w 278298"/>
                  <a:gd name="connsiteY2" fmla="*/ 140414 h 139149"/>
                  <a:gd name="connsiteX3" fmla="*/ 199869 w 278298"/>
                  <a:gd name="connsiteY3" fmla="*/ 140414 h 139149"/>
                  <a:gd name="connsiteX4" fmla="*/ 139993 w 278298"/>
                  <a:gd name="connsiteY4" fmla="*/ 80538 h 139149"/>
                  <a:gd name="connsiteX5" fmla="*/ 80116 w 278298"/>
                  <a:gd name="connsiteY5" fmla="*/ 140414 h 139149"/>
                  <a:gd name="connsiteX6" fmla="*/ 0 w 278298"/>
                  <a:gd name="connsiteY6" fmla="*/ 140414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4"/>
                    </a:moveTo>
                    <a:cubicBezTo>
                      <a:pt x="0" y="62828"/>
                      <a:pt x="62828" y="0"/>
                      <a:pt x="140415" y="0"/>
                    </a:cubicBezTo>
                    <a:cubicBezTo>
                      <a:pt x="218001" y="0"/>
                      <a:pt x="280829" y="62828"/>
                      <a:pt x="280829" y="140414"/>
                    </a:cubicBezTo>
                    <a:lnTo>
                      <a:pt x="199869" y="140414"/>
                    </a:lnTo>
                    <a:cubicBezTo>
                      <a:pt x="199869" y="107525"/>
                      <a:pt x="173304" y="80538"/>
                      <a:pt x="139993" y="80538"/>
                    </a:cubicBezTo>
                    <a:cubicBezTo>
                      <a:pt x="107103" y="80538"/>
                      <a:pt x="80116" y="107103"/>
                      <a:pt x="80116" y="140414"/>
                    </a:cubicBezTo>
                    <a:lnTo>
                      <a:pt x="0" y="14041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7" name="Freeform: Shape 560">
                <a:extLst>
                  <a:ext uri="{FF2B5EF4-FFF2-40B4-BE49-F238E27FC236}">
                    <a16:creationId xmlns:a16="http://schemas.microsoft.com/office/drawing/2014/main" id="{A2D194EA-6BDA-464B-B780-6598BB76F1C5}"/>
                  </a:ext>
                </a:extLst>
              </p:cNvPr>
              <p:cNvSpPr/>
              <p:nvPr/>
            </p:nvSpPr>
            <p:spPr>
              <a:xfrm>
                <a:off x="17116609" y="3869449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8" name="Freeform: Shape 561">
                <a:extLst>
                  <a:ext uri="{FF2B5EF4-FFF2-40B4-BE49-F238E27FC236}">
                    <a16:creationId xmlns:a16="http://schemas.microsoft.com/office/drawing/2014/main" id="{F50245F1-10B9-4E84-958F-B1941A329EC7}"/>
                  </a:ext>
                </a:extLst>
              </p:cNvPr>
              <p:cNvSpPr/>
              <p:nvPr/>
            </p:nvSpPr>
            <p:spPr>
              <a:xfrm>
                <a:off x="17215279" y="386944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99" name="Freeform: Shape 563">
                <a:extLst>
                  <a:ext uri="{FF2B5EF4-FFF2-40B4-BE49-F238E27FC236}">
                    <a16:creationId xmlns:a16="http://schemas.microsoft.com/office/drawing/2014/main" id="{7EC3A3B4-A1DF-4B22-B15B-1E221BE7BBE0}"/>
                  </a:ext>
                </a:extLst>
              </p:cNvPr>
              <p:cNvSpPr/>
              <p:nvPr/>
            </p:nvSpPr>
            <p:spPr>
              <a:xfrm>
                <a:off x="18072945" y="3869449"/>
                <a:ext cx="476481" cy="236132"/>
              </a:xfrm>
              <a:custGeom>
                <a:avLst/>
                <a:gdLst>
                  <a:gd name="connsiteX0" fmla="*/ 478167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7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7" y="0"/>
                    </a:moveTo>
                    <a:cubicBezTo>
                      <a:pt x="478167" y="131981"/>
                      <a:pt x="371065" y="239084"/>
                      <a:pt x="239084" y="239084"/>
                    </a:cubicBezTo>
                    <a:cubicBezTo>
                      <a:pt x="107102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7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7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0" name="Freeform: Shape 564">
                <a:extLst>
                  <a:ext uri="{FF2B5EF4-FFF2-40B4-BE49-F238E27FC236}">
                    <a16:creationId xmlns:a16="http://schemas.microsoft.com/office/drawing/2014/main" id="{3392E44F-CC51-42D7-ADD9-DD12197EBEE1}"/>
                  </a:ext>
                </a:extLst>
              </p:cNvPr>
              <p:cNvSpPr/>
              <p:nvPr/>
            </p:nvSpPr>
            <p:spPr>
              <a:xfrm>
                <a:off x="18171614" y="386944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5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1" name="Freeform: Shape 566">
                <a:extLst>
                  <a:ext uri="{FF2B5EF4-FFF2-40B4-BE49-F238E27FC236}">
                    <a16:creationId xmlns:a16="http://schemas.microsoft.com/office/drawing/2014/main" id="{91E98EBB-83C1-4F7C-9B18-113F071060A0}"/>
                  </a:ext>
                </a:extLst>
              </p:cNvPr>
              <p:cNvSpPr/>
              <p:nvPr/>
            </p:nvSpPr>
            <p:spPr>
              <a:xfrm>
                <a:off x="19028859" y="3869449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2" name="Freeform: Shape 567">
                <a:extLst>
                  <a:ext uri="{FF2B5EF4-FFF2-40B4-BE49-F238E27FC236}">
                    <a16:creationId xmlns:a16="http://schemas.microsoft.com/office/drawing/2014/main" id="{9DEA073B-D716-4C2C-AB83-2D848838E50B}"/>
                  </a:ext>
                </a:extLst>
              </p:cNvPr>
              <p:cNvSpPr/>
              <p:nvPr/>
            </p:nvSpPr>
            <p:spPr>
              <a:xfrm>
                <a:off x="19127950" y="3869449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3" name="Freeform: Shape 569">
                <a:extLst>
                  <a:ext uri="{FF2B5EF4-FFF2-40B4-BE49-F238E27FC236}">
                    <a16:creationId xmlns:a16="http://schemas.microsoft.com/office/drawing/2014/main" id="{1424070C-5913-4821-A3D1-E5A5AEA990D3}"/>
                  </a:ext>
                </a:extLst>
              </p:cNvPr>
              <p:cNvSpPr/>
              <p:nvPr/>
            </p:nvSpPr>
            <p:spPr>
              <a:xfrm>
                <a:off x="16638863" y="4466948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7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4" name="Freeform: Shape 570">
                <a:extLst>
                  <a:ext uri="{FF2B5EF4-FFF2-40B4-BE49-F238E27FC236}">
                    <a16:creationId xmlns:a16="http://schemas.microsoft.com/office/drawing/2014/main" id="{4ABD8D3F-F6E5-47BB-AA35-42EEE2CCD092}"/>
                  </a:ext>
                </a:extLst>
              </p:cNvPr>
              <p:cNvSpPr/>
              <p:nvPr/>
            </p:nvSpPr>
            <p:spPr>
              <a:xfrm>
                <a:off x="16737111" y="4565617"/>
                <a:ext cx="278299" cy="139149"/>
              </a:xfrm>
              <a:custGeom>
                <a:avLst/>
                <a:gdLst>
                  <a:gd name="connsiteX0" fmla="*/ 0 w 278298"/>
                  <a:gd name="connsiteY0" fmla="*/ 140415 h 139149"/>
                  <a:gd name="connsiteX1" fmla="*/ 140414 w 278298"/>
                  <a:gd name="connsiteY1" fmla="*/ 0 h 139149"/>
                  <a:gd name="connsiteX2" fmla="*/ 280829 w 278298"/>
                  <a:gd name="connsiteY2" fmla="*/ 140415 h 139149"/>
                  <a:gd name="connsiteX3" fmla="*/ 200291 w 278298"/>
                  <a:gd name="connsiteY3" fmla="*/ 140415 h 139149"/>
                  <a:gd name="connsiteX4" fmla="*/ 140414 w 278298"/>
                  <a:gd name="connsiteY4" fmla="*/ 80538 h 139149"/>
                  <a:gd name="connsiteX5" fmla="*/ 80538 w 278298"/>
                  <a:gd name="connsiteY5" fmla="*/ 140415 h 139149"/>
                  <a:gd name="connsiteX6" fmla="*/ 0 w 278298"/>
                  <a:gd name="connsiteY6" fmla="*/ 140415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5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1" y="0"/>
                      <a:pt x="280829" y="62828"/>
                      <a:pt x="280829" y="140415"/>
                    </a:cubicBezTo>
                    <a:lnTo>
                      <a:pt x="200291" y="140415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5"/>
                    </a:cubicBezTo>
                    <a:lnTo>
                      <a:pt x="0" y="140415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5" name="Freeform: Shape 571">
                <a:extLst>
                  <a:ext uri="{FF2B5EF4-FFF2-40B4-BE49-F238E27FC236}">
                    <a16:creationId xmlns:a16="http://schemas.microsoft.com/office/drawing/2014/main" id="{0FE783C3-48FA-4ED9-B63C-A62523A3106F}"/>
                  </a:ext>
                </a:extLst>
              </p:cNvPr>
              <p:cNvSpPr/>
              <p:nvPr/>
            </p:nvSpPr>
            <p:spPr>
              <a:xfrm>
                <a:off x="17594777" y="4466948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6" name="Freeform: Shape 572">
                <a:extLst>
                  <a:ext uri="{FF2B5EF4-FFF2-40B4-BE49-F238E27FC236}">
                    <a16:creationId xmlns:a16="http://schemas.microsoft.com/office/drawing/2014/main" id="{81917F5D-31F6-49A9-8358-8A350DA355F5}"/>
                  </a:ext>
                </a:extLst>
              </p:cNvPr>
              <p:cNvSpPr/>
              <p:nvPr/>
            </p:nvSpPr>
            <p:spPr>
              <a:xfrm>
                <a:off x="17693447" y="4565617"/>
                <a:ext cx="278299" cy="139149"/>
              </a:xfrm>
              <a:custGeom>
                <a:avLst/>
                <a:gdLst>
                  <a:gd name="connsiteX0" fmla="*/ 0 w 278298"/>
                  <a:gd name="connsiteY0" fmla="*/ 140415 h 139149"/>
                  <a:gd name="connsiteX1" fmla="*/ 140414 w 278298"/>
                  <a:gd name="connsiteY1" fmla="*/ 0 h 139149"/>
                  <a:gd name="connsiteX2" fmla="*/ 280829 w 278298"/>
                  <a:gd name="connsiteY2" fmla="*/ 140415 h 139149"/>
                  <a:gd name="connsiteX3" fmla="*/ 200291 w 278298"/>
                  <a:gd name="connsiteY3" fmla="*/ 140415 h 139149"/>
                  <a:gd name="connsiteX4" fmla="*/ 140414 w 278298"/>
                  <a:gd name="connsiteY4" fmla="*/ 80538 h 139149"/>
                  <a:gd name="connsiteX5" fmla="*/ 80538 w 278298"/>
                  <a:gd name="connsiteY5" fmla="*/ 140415 h 139149"/>
                  <a:gd name="connsiteX6" fmla="*/ 0 w 278298"/>
                  <a:gd name="connsiteY6" fmla="*/ 140415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5"/>
                    </a:moveTo>
                    <a:cubicBezTo>
                      <a:pt x="0" y="62828"/>
                      <a:pt x="62828" y="0"/>
                      <a:pt x="140414" y="0"/>
                    </a:cubicBezTo>
                    <a:cubicBezTo>
                      <a:pt x="218000" y="0"/>
                      <a:pt x="280829" y="62828"/>
                      <a:pt x="280829" y="140415"/>
                    </a:cubicBezTo>
                    <a:lnTo>
                      <a:pt x="200291" y="140415"/>
                    </a:lnTo>
                    <a:cubicBezTo>
                      <a:pt x="200291" y="107525"/>
                      <a:pt x="173726" y="80538"/>
                      <a:pt x="140414" y="80538"/>
                    </a:cubicBezTo>
                    <a:cubicBezTo>
                      <a:pt x="107525" y="80538"/>
                      <a:pt x="80538" y="107103"/>
                      <a:pt x="80538" y="140415"/>
                    </a:cubicBezTo>
                    <a:lnTo>
                      <a:pt x="0" y="140415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7" name="Freeform: Shape 573">
                <a:extLst>
                  <a:ext uri="{FF2B5EF4-FFF2-40B4-BE49-F238E27FC236}">
                    <a16:creationId xmlns:a16="http://schemas.microsoft.com/office/drawing/2014/main" id="{1781AF81-237D-45E7-96DD-8B1DA698F34C}"/>
                  </a:ext>
                </a:extLst>
              </p:cNvPr>
              <p:cNvSpPr/>
              <p:nvPr/>
            </p:nvSpPr>
            <p:spPr>
              <a:xfrm>
                <a:off x="18551112" y="4466948"/>
                <a:ext cx="476481" cy="236132"/>
              </a:xfrm>
              <a:custGeom>
                <a:avLst/>
                <a:gdLst>
                  <a:gd name="connsiteX0" fmla="*/ 0 w 476481"/>
                  <a:gd name="connsiteY0" fmla="*/ 239084 h 236132"/>
                  <a:gd name="connsiteX1" fmla="*/ 239084 w 476481"/>
                  <a:gd name="connsiteY1" fmla="*/ 0 h 236132"/>
                  <a:gd name="connsiteX2" fmla="*/ 478168 w 476481"/>
                  <a:gd name="connsiteY2" fmla="*/ 239084 h 236132"/>
                  <a:gd name="connsiteX3" fmla="*/ 397630 w 476481"/>
                  <a:gd name="connsiteY3" fmla="*/ 239084 h 236132"/>
                  <a:gd name="connsiteX4" fmla="*/ 239084 w 476481"/>
                  <a:gd name="connsiteY4" fmla="*/ 80538 h 236132"/>
                  <a:gd name="connsiteX5" fmla="*/ 80538 w 476481"/>
                  <a:gd name="connsiteY5" fmla="*/ 239084 h 236132"/>
                  <a:gd name="connsiteX6" fmla="*/ 0 w 476481"/>
                  <a:gd name="connsiteY6" fmla="*/ 239084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0" y="239084"/>
                    </a:moveTo>
                    <a:cubicBezTo>
                      <a:pt x="0" y="107103"/>
                      <a:pt x="107103" y="0"/>
                      <a:pt x="239084" y="0"/>
                    </a:cubicBezTo>
                    <a:cubicBezTo>
                      <a:pt x="371065" y="0"/>
                      <a:pt x="478168" y="107103"/>
                      <a:pt x="478168" y="239084"/>
                    </a:cubicBezTo>
                    <a:lnTo>
                      <a:pt x="397630" y="239084"/>
                    </a:lnTo>
                    <a:cubicBezTo>
                      <a:pt x="397630" y="151799"/>
                      <a:pt x="326790" y="80538"/>
                      <a:pt x="239084" y="80538"/>
                    </a:cubicBezTo>
                    <a:cubicBezTo>
                      <a:pt x="151378" y="80538"/>
                      <a:pt x="80538" y="151378"/>
                      <a:pt x="80538" y="239084"/>
                    </a:cubicBezTo>
                    <a:lnTo>
                      <a:pt x="0" y="239084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8" name="Freeform: Shape 574">
                <a:extLst>
                  <a:ext uri="{FF2B5EF4-FFF2-40B4-BE49-F238E27FC236}">
                    <a16:creationId xmlns:a16="http://schemas.microsoft.com/office/drawing/2014/main" id="{D1044C63-4E63-476C-B552-C5C1133F69AD}"/>
                  </a:ext>
                </a:extLst>
              </p:cNvPr>
              <p:cNvSpPr/>
              <p:nvPr/>
            </p:nvSpPr>
            <p:spPr>
              <a:xfrm>
                <a:off x="18649782" y="4565617"/>
                <a:ext cx="278299" cy="139149"/>
              </a:xfrm>
              <a:custGeom>
                <a:avLst/>
                <a:gdLst>
                  <a:gd name="connsiteX0" fmla="*/ 0 w 278298"/>
                  <a:gd name="connsiteY0" fmla="*/ 140415 h 139149"/>
                  <a:gd name="connsiteX1" fmla="*/ 140415 w 278298"/>
                  <a:gd name="connsiteY1" fmla="*/ 0 h 139149"/>
                  <a:gd name="connsiteX2" fmla="*/ 280829 w 278298"/>
                  <a:gd name="connsiteY2" fmla="*/ 140415 h 139149"/>
                  <a:gd name="connsiteX3" fmla="*/ 199869 w 278298"/>
                  <a:gd name="connsiteY3" fmla="*/ 140415 h 139149"/>
                  <a:gd name="connsiteX4" fmla="*/ 139993 w 278298"/>
                  <a:gd name="connsiteY4" fmla="*/ 80538 h 139149"/>
                  <a:gd name="connsiteX5" fmla="*/ 80116 w 278298"/>
                  <a:gd name="connsiteY5" fmla="*/ 140415 h 139149"/>
                  <a:gd name="connsiteX6" fmla="*/ 0 w 278298"/>
                  <a:gd name="connsiteY6" fmla="*/ 140415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0" y="140415"/>
                    </a:moveTo>
                    <a:cubicBezTo>
                      <a:pt x="0" y="62828"/>
                      <a:pt x="62828" y="0"/>
                      <a:pt x="140415" y="0"/>
                    </a:cubicBezTo>
                    <a:cubicBezTo>
                      <a:pt x="218001" y="0"/>
                      <a:pt x="280829" y="62828"/>
                      <a:pt x="280829" y="140415"/>
                    </a:cubicBezTo>
                    <a:lnTo>
                      <a:pt x="199869" y="140415"/>
                    </a:lnTo>
                    <a:cubicBezTo>
                      <a:pt x="199869" y="107525"/>
                      <a:pt x="173304" y="80538"/>
                      <a:pt x="139993" y="80538"/>
                    </a:cubicBezTo>
                    <a:cubicBezTo>
                      <a:pt x="107103" y="80538"/>
                      <a:pt x="80116" y="107103"/>
                      <a:pt x="80116" y="140415"/>
                    </a:cubicBezTo>
                    <a:lnTo>
                      <a:pt x="0" y="140415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09" name="Freeform: Shape 575">
                <a:extLst>
                  <a:ext uri="{FF2B5EF4-FFF2-40B4-BE49-F238E27FC236}">
                    <a16:creationId xmlns:a16="http://schemas.microsoft.com/office/drawing/2014/main" id="{4F2B4D9F-1266-4B79-8914-C07CB07701D8}"/>
                  </a:ext>
                </a:extLst>
              </p:cNvPr>
              <p:cNvSpPr/>
              <p:nvPr/>
            </p:nvSpPr>
            <p:spPr>
              <a:xfrm>
                <a:off x="17116609" y="5064447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10" name="Freeform: Shape 576">
                <a:extLst>
                  <a:ext uri="{FF2B5EF4-FFF2-40B4-BE49-F238E27FC236}">
                    <a16:creationId xmlns:a16="http://schemas.microsoft.com/office/drawing/2014/main" id="{C4CC3CD8-DEA0-43A1-B24D-E1803679783A}"/>
                  </a:ext>
                </a:extLst>
              </p:cNvPr>
              <p:cNvSpPr/>
              <p:nvPr/>
            </p:nvSpPr>
            <p:spPr>
              <a:xfrm>
                <a:off x="17215279" y="5064447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4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4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4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4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11" name="Freeform: Shape 578">
                <a:extLst>
                  <a:ext uri="{FF2B5EF4-FFF2-40B4-BE49-F238E27FC236}">
                    <a16:creationId xmlns:a16="http://schemas.microsoft.com/office/drawing/2014/main" id="{06574771-1E7F-41EE-971B-FAEF2C982DF6}"/>
                  </a:ext>
                </a:extLst>
              </p:cNvPr>
              <p:cNvSpPr/>
              <p:nvPr/>
            </p:nvSpPr>
            <p:spPr>
              <a:xfrm>
                <a:off x="18072945" y="5064447"/>
                <a:ext cx="476481" cy="236132"/>
              </a:xfrm>
              <a:custGeom>
                <a:avLst/>
                <a:gdLst>
                  <a:gd name="connsiteX0" fmla="*/ 478167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7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7" y="0"/>
                    </a:moveTo>
                    <a:cubicBezTo>
                      <a:pt x="478167" y="131981"/>
                      <a:pt x="371065" y="239084"/>
                      <a:pt x="239084" y="239084"/>
                    </a:cubicBezTo>
                    <a:cubicBezTo>
                      <a:pt x="107102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7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7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12" name="Freeform: Shape 579">
                <a:extLst>
                  <a:ext uri="{FF2B5EF4-FFF2-40B4-BE49-F238E27FC236}">
                    <a16:creationId xmlns:a16="http://schemas.microsoft.com/office/drawing/2014/main" id="{EBC7261D-D4F5-4448-9BD3-541BC3D2F2C1}"/>
                  </a:ext>
                </a:extLst>
              </p:cNvPr>
              <p:cNvSpPr/>
              <p:nvPr/>
            </p:nvSpPr>
            <p:spPr>
              <a:xfrm>
                <a:off x="18171614" y="5064447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1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5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13" name="Freeform: Shape 581">
                <a:extLst>
                  <a:ext uri="{FF2B5EF4-FFF2-40B4-BE49-F238E27FC236}">
                    <a16:creationId xmlns:a16="http://schemas.microsoft.com/office/drawing/2014/main" id="{65B520DF-B467-4ECD-BDD4-FBBB94142FC1}"/>
                  </a:ext>
                </a:extLst>
              </p:cNvPr>
              <p:cNvSpPr/>
              <p:nvPr/>
            </p:nvSpPr>
            <p:spPr>
              <a:xfrm>
                <a:off x="19028859" y="5064447"/>
                <a:ext cx="476481" cy="236132"/>
              </a:xfrm>
              <a:custGeom>
                <a:avLst/>
                <a:gdLst>
                  <a:gd name="connsiteX0" fmla="*/ 478168 w 476481"/>
                  <a:gd name="connsiteY0" fmla="*/ 0 h 236132"/>
                  <a:gd name="connsiteX1" fmla="*/ 239084 w 476481"/>
                  <a:gd name="connsiteY1" fmla="*/ 239084 h 236132"/>
                  <a:gd name="connsiteX2" fmla="*/ 0 w 476481"/>
                  <a:gd name="connsiteY2" fmla="*/ 0 h 236132"/>
                  <a:gd name="connsiteX3" fmla="*/ 80538 w 476481"/>
                  <a:gd name="connsiteY3" fmla="*/ 0 h 236132"/>
                  <a:gd name="connsiteX4" fmla="*/ 239084 w 476481"/>
                  <a:gd name="connsiteY4" fmla="*/ 158546 h 236132"/>
                  <a:gd name="connsiteX5" fmla="*/ 397630 w 476481"/>
                  <a:gd name="connsiteY5" fmla="*/ 0 h 236132"/>
                  <a:gd name="connsiteX6" fmla="*/ 478168 w 476481"/>
                  <a:gd name="connsiteY6" fmla="*/ 0 h 2361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481" h="236132">
                    <a:moveTo>
                      <a:pt x="478168" y="0"/>
                    </a:moveTo>
                    <a:cubicBezTo>
                      <a:pt x="478168" y="131981"/>
                      <a:pt x="371065" y="239084"/>
                      <a:pt x="239084" y="239084"/>
                    </a:cubicBezTo>
                    <a:cubicBezTo>
                      <a:pt x="107103" y="239084"/>
                      <a:pt x="0" y="131981"/>
                      <a:pt x="0" y="0"/>
                    </a:cubicBezTo>
                    <a:lnTo>
                      <a:pt x="80538" y="0"/>
                    </a:lnTo>
                    <a:cubicBezTo>
                      <a:pt x="80538" y="87284"/>
                      <a:pt x="151378" y="158546"/>
                      <a:pt x="239084" y="158546"/>
                    </a:cubicBezTo>
                    <a:cubicBezTo>
                      <a:pt x="326790" y="158546"/>
                      <a:pt x="397630" y="87706"/>
                      <a:pt x="397630" y="0"/>
                    </a:cubicBezTo>
                    <a:lnTo>
                      <a:pt x="478168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  <p:sp>
            <p:nvSpPr>
              <p:cNvPr id="114" name="Freeform: Shape 582">
                <a:extLst>
                  <a:ext uri="{FF2B5EF4-FFF2-40B4-BE49-F238E27FC236}">
                    <a16:creationId xmlns:a16="http://schemas.microsoft.com/office/drawing/2014/main" id="{232BF655-6EC6-4A37-987C-7C692E7B96F0}"/>
                  </a:ext>
                </a:extLst>
              </p:cNvPr>
              <p:cNvSpPr/>
              <p:nvPr/>
            </p:nvSpPr>
            <p:spPr>
              <a:xfrm>
                <a:off x="19127950" y="5064447"/>
                <a:ext cx="278299" cy="139149"/>
              </a:xfrm>
              <a:custGeom>
                <a:avLst/>
                <a:gdLst>
                  <a:gd name="connsiteX0" fmla="*/ 280829 w 278298"/>
                  <a:gd name="connsiteY0" fmla="*/ 0 h 139149"/>
                  <a:gd name="connsiteX1" fmla="*/ 140415 w 278298"/>
                  <a:gd name="connsiteY1" fmla="*/ 140414 h 139149"/>
                  <a:gd name="connsiteX2" fmla="*/ 0 w 278298"/>
                  <a:gd name="connsiteY2" fmla="*/ 0 h 139149"/>
                  <a:gd name="connsiteX3" fmla="*/ 80538 w 278298"/>
                  <a:gd name="connsiteY3" fmla="*/ 0 h 139149"/>
                  <a:gd name="connsiteX4" fmla="*/ 140415 w 278298"/>
                  <a:gd name="connsiteY4" fmla="*/ 59876 h 139149"/>
                  <a:gd name="connsiteX5" fmla="*/ 200291 w 278298"/>
                  <a:gd name="connsiteY5" fmla="*/ 0 h 139149"/>
                  <a:gd name="connsiteX6" fmla="*/ 280829 w 278298"/>
                  <a:gd name="connsiteY6" fmla="*/ 0 h 1391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8298" h="139149">
                    <a:moveTo>
                      <a:pt x="280829" y="0"/>
                    </a:moveTo>
                    <a:cubicBezTo>
                      <a:pt x="280829" y="77586"/>
                      <a:pt x="218000" y="140414"/>
                      <a:pt x="140415" y="140414"/>
                    </a:cubicBezTo>
                    <a:cubicBezTo>
                      <a:pt x="62828" y="140414"/>
                      <a:pt x="0" y="77586"/>
                      <a:pt x="0" y="0"/>
                    </a:cubicBezTo>
                    <a:lnTo>
                      <a:pt x="80538" y="0"/>
                    </a:lnTo>
                    <a:cubicBezTo>
                      <a:pt x="80538" y="32890"/>
                      <a:pt x="107103" y="59876"/>
                      <a:pt x="140415" y="59876"/>
                    </a:cubicBezTo>
                    <a:cubicBezTo>
                      <a:pt x="173304" y="59876"/>
                      <a:pt x="200291" y="33311"/>
                      <a:pt x="200291" y="0"/>
                    </a:cubicBezTo>
                    <a:lnTo>
                      <a:pt x="280829" y="0"/>
                    </a:lnTo>
                    <a:close/>
                  </a:path>
                </a:pathLst>
              </a:custGeom>
              <a:grpFill/>
              <a:ln w="4213" cap="flat">
                <a:noFill/>
                <a:prstDash val="solid"/>
                <a:miter/>
              </a:ln>
            </p:spPr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kern="0" dirty="0">
                  <a:solidFill>
                    <a:prstClr val="black"/>
                  </a:solidFill>
                  <a:cs typeface="+mn-cs"/>
                </a:endParaRPr>
              </a:p>
            </p:txBody>
          </p:sp>
        </p:grpSp>
        <p:sp>
          <p:nvSpPr>
            <p:cNvPr id="9" name="Freeform: Shape 588">
              <a:extLst>
                <a:ext uri="{FF2B5EF4-FFF2-40B4-BE49-F238E27FC236}">
                  <a16:creationId xmlns:a16="http://schemas.microsoft.com/office/drawing/2014/main" id="{3CA1A3BC-5C71-4545-B044-8A04CE63C1A3}"/>
                </a:ext>
              </a:extLst>
            </p:cNvPr>
            <p:cNvSpPr/>
            <p:nvPr/>
          </p:nvSpPr>
          <p:spPr>
            <a:xfrm>
              <a:off x="9271922" y="4790708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5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0" name="Freeform: Shape 589">
              <a:extLst>
                <a:ext uri="{FF2B5EF4-FFF2-40B4-BE49-F238E27FC236}">
                  <a16:creationId xmlns:a16="http://schemas.microsoft.com/office/drawing/2014/main" id="{EA62C885-58C5-490E-BB66-CA63D6860D57}"/>
                </a:ext>
              </a:extLst>
            </p:cNvPr>
            <p:cNvSpPr/>
            <p:nvPr/>
          </p:nvSpPr>
          <p:spPr>
            <a:xfrm>
              <a:off x="9342208" y="4790708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4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4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1" y="140414"/>
                    <a:pt x="140414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4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1" name="Freeform: Shape 590">
              <a:extLst>
                <a:ext uri="{FF2B5EF4-FFF2-40B4-BE49-F238E27FC236}">
                  <a16:creationId xmlns:a16="http://schemas.microsoft.com/office/drawing/2014/main" id="{56A19B46-F508-49CB-B84F-C10CF9F2F903}"/>
                </a:ext>
              </a:extLst>
            </p:cNvPr>
            <p:cNvSpPr/>
            <p:nvPr/>
          </p:nvSpPr>
          <p:spPr>
            <a:xfrm>
              <a:off x="9271922" y="5641944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2" name="Freeform: Shape 591">
              <a:extLst>
                <a:ext uri="{FF2B5EF4-FFF2-40B4-BE49-F238E27FC236}">
                  <a16:creationId xmlns:a16="http://schemas.microsoft.com/office/drawing/2014/main" id="{B0730E51-2CB4-4817-B5C7-38A9BEC1F8A4}"/>
                </a:ext>
              </a:extLst>
            </p:cNvPr>
            <p:cNvSpPr/>
            <p:nvPr/>
          </p:nvSpPr>
          <p:spPr>
            <a:xfrm>
              <a:off x="9342208" y="5641944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4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4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1" y="140414"/>
                    <a:pt x="140414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4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3" name="Freeform: Shape 592">
              <a:extLst>
                <a:ext uri="{FF2B5EF4-FFF2-40B4-BE49-F238E27FC236}">
                  <a16:creationId xmlns:a16="http://schemas.microsoft.com/office/drawing/2014/main" id="{BA197AAE-3D88-4E9F-BF03-DF67374792E7}"/>
                </a:ext>
              </a:extLst>
            </p:cNvPr>
            <p:cNvSpPr/>
            <p:nvPr/>
          </p:nvSpPr>
          <p:spPr>
            <a:xfrm>
              <a:off x="9271922" y="6493482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4" name="Freeform: Shape 593">
              <a:extLst>
                <a:ext uri="{FF2B5EF4-FFF2-40B4-BE49-F238E27FC236}">
                  <a16:creationId xmlns:a16="http://schemas.microsoft.com/office/drawing/2014/main" id="{A16FAC8B-E0A3-4BB2-860E-AF3F7BB337F0}"/>
                </a:ext>
              </a:extLst>
            </p:cNvPr>
            <p:cNvSpPr/>
            <p:nvPr/>
          </p:nvSpPr>
          <p:spPr>
            <a:xfrm>
              <a:off x="9342208" y="6493482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4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4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1" y="140414"/>
                    <a:pt x="140414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4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5" name="Freeform: Shape 596">
              <a:extLst>
                <a:ext uri="{FF2B5EF4-FFF2-40B4-BE49-F238E27FC236}">
                  <a16:creationId xmlns:a16="http://schemas.microsoft.com/office/drawing/2014/main" id="{05B3BAD3-CFA6-4F5D-875D-D5B1BA8C6A4A}"/>
                </a:ext>
              </a:extLst>
            </p:cNvPr>
            <p:cNvSpPr/>
            <p:nvPr/>
          </p:nvSpPr>
          <p:spPr>
            <a:xfrm>
              <a:off x="9612537" y="4364789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7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6" name="Freeform: Shape 597">
              <a:extLst>
                <a:ext uri="{FF2B5EF4-FFF2-40B4-BE49-F238E27FC236}">
                  <a16:creationId xmlns:a16="http://schemas.microsoft.com/office/drawing/2014/main" id="{19A9B4AC-7700-41D6-8314-E1A4856EAB33}"/>
                </a:ext>
              </a:extLst>
            </p:cNvPr>
            <p:cNvSpPr/>
            <p:nvPr/>
          </p:nvSpPr>
          <p:spPr>
            <a:xfrm>
              <a:off x="9682522" y="4435075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4 w 278298"/>
                <a:gd name="connsiteY1" fmla="*/ 0 h 139149"/>
                <a:gd name="connsiteX2" fmla="*/ 280829 w 278298"/>
                <a:gd name="connsiteY2" fmla="*/ 140414 h 139149"/>
                <a:gd name="connsiteX3" fmla="*/ 200291 w 278298"/>
                <a:gd name="connsiteY3" fmla="*/ 140414 h 139149"/>
                <a:gd name="connsiteX4" fmla="*/ 140414 w 278298"/>
                <a:gd name="connsiteY4" fmla="*/ 80538 h 139149"/>
                <a:gd name="connsiteX5" fmla="*/ 80538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4" y="0"/>
                  </a:cubicBezTo>
                  <a:cubicBezTo>
                    <a:pt x="218001" y="0"/>
                    <a:pt x="280829" y="62828"/>
                    <a:pt x="280829" y="140414"/>
                  </a:cubicBezTo>
                  <a:lnTo>
                    <a:pt x="200291" y="140414"/>
                  </a:lnTo>
                  <a:cubicBezTo>
                    <a:pt x="200291" y="107525"/>
                    <a:pt x="173726" y="80538"/>
                    <a:pt x="140414" y="80538"/>
                  </a:cubicBezTo>
                  <a:cubicBezTo>
                    <a:pt x="107525" y="80538"/>
                    <a:pt x="80538" y="107103"/>
                    <a:pt x="80538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7" name="Freeform: Shape 598">
              <a:extLst>
                <a:ext uri="{FF2B5EF4-FFF2-40B4-BE49-F238E27FC236}">
                  <a16:creationId xmlns:a16="http://schemas.microsoft.com/office/drawing/2014/main" id="{A1C46094-CC1A-4A7C-8C3B-9A642B071A99}"/>
                </a:ext>
              </a:extLst>
            </p:cNvPr>
            <p:cNvSpPr/>
            <p:nvPr/>
          </p:nvSpPr>
          <p:spPr>
            <a:xfrm>
              <a:off x="10293466" y="4364789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8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8" name="Freeform: Shape 599">
              <a:extLst>
                <a:ext uri="{FF2B5EF4-FFF2-40B4-BE49-F238E27FC236}">
                  <a16:creationId xmlns:a16="http://schemas.microsoft.com/office/drawing/2014/main" id="{634F72ED-57C4-4BC6-BF8E-DB0288E3F9C2}"/>
                </a:ext>
              </a:extLst>
            </p:cNvPr>
            <p:cNvSpPr/>
            <p:nvPr/>
          </p:nvSpPr>
          <p:spPr>
            <a:xfrm>
              <a:off x="10363752" y="4435075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4 w 278298"/>
                <a:gd name="connsiteY1" fmla="*/ 0 h 139149"/>
                <a:gd name="connsiteX2" fmla="*/ 280829 w 278298"/>
                <a:gd name="connsiteY2" fmla="*/ 140414 h 139149"/>
                <a:gd name="connsiteX3" fmla="*/ 200291 w 278298"/>
                <a:gd name="connsiteY3" fmla="*/ 140414 h 139149"/>
                <a:gd name="connsiteX4" fmla="*/ 140414 w 278298"/>
                <a:gd name="connsiteY4" fmla="*/ 80538 h 139149"/>
                <a:gd name="connsiteX5" fmla="*/ 80538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4" y="0"/>
                  </a:cubicBezTo>
                  <a:cubicBezTo>
                    <a:pt x="218000" y="0"/>
                    <a:pt x="280829" y="62828"/>
                    <a:pt x="280829" y="140414"/>
                  </a:cubicBezTo>
                  <a:lnTo>
                    <a:pt x="200291" y="140414"/>
                  </a:lnTo>
                  <a:cubicBezTo>
                    <a:pt x="200291" y="107525"/>
                    <a:pt x="173726" y="80538"/>
                    <a:pt x="140414" y="80538"/>
                  </a:cubicBezTo>
                  <a:cubicBezTo>
                    <a:pt x="107525" y="80538"/>
                    <a:pt x="80538" y="107103"/>
                    <a:pt x="80538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9" name="Freeform: Shape 600">
              <a:extLst>
                <a:ext uri="{FF2B5EF4-FFF2-40B4-BE49-F238E27FC236}">
                  <a16:creationId xmlns:a16="http://schemas.microsoft.com/office/drawing/2014/main" id="{709EAB15-464B-4A7F-B31A-864C55DA1D28}"/>
                </a:ext>
              </a:extLst>
            </p:cNvPr>
            <p:cNvSpPr/>
            <p:nvPr/>
          </p:nvSpPr>
          <p:spPr>
            <a:xfrm>
              <a:off x="10974696" y="4364789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8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0" name="Freeform: Shape 601">
              <a:extLst>
                <a:ext uri="{FF2B5EF4-FFF2-40B4-BE49-F238E27FC236}">
                  <a16:creationId xmlns:a16="http://schemas.microsoft.com/office/drawing/2014/main" id="{C2C005F0-3688-4580-BB75-7B21EF6F7F55}"/>
                </a:ext>
              </a:extLst>
            </p:cNvPr>
            <p:cNvSpPr/>
            <p:nvPr/>
          </p:nvSpPr>
          <p:spPr>
            <a:xfrm>
              <a:off x="11044982" y="4435075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5 w 278298"/>
                <a:gd name="connsiteY1" fmla="*/ 0 h 139149"/>
                <a:gd name="connsiteX2" fmla="*/ 280829 w 278298"/>
                <a:gd name="connsiteY2" fmla="*/ 140414 h 139149"/>
                <a:gd name="connsiteX3" fmla="*/ 199869 w 278298"/>
                <a:gd name="connsiteY3" fmla="*/ 140414 h 139149"/>
                <a:gd name="connsiteX4" fmla="*/ 139993 w 278298"/>
                <a:gd name="connsiteY4" fmla="*/ 80538 h 139149"/>
                <a:gd name="connsiteX5" fmla="*/ 80116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5" y="0"/>
                  </a:cubicBezTo>
                  <a:cubicBezTo>
                    <a:pt x="218001" y="0"/>
                    <a:pt x="280829" y="62828"/>
                    <a:pt x="280829" y="140414"/>
                  </a:cubicBezTo>
                  <a:lnTo>
                    <a:pt x="199869" y="140414"/>
                  </a:lnTo>
                  <a:cubicBezTo>
                    <a:pt x="199869" y="107525"/>
                    <a:pt x="173304" y="80538"/>
                    <a:pt x="139993" y="80538"/>
                  </a:cubicBezTo>
                  <a:cubicBezTo>
                    <a:pt x="107103" y="80538"/>
                    <a:pt x="80116" y="107103"/>
                    <a:pt x="80116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1" name="Freeform: Shape 608">
              <a:extLst>
                <a:ext uri="{FF2B5EF4-FFF2-40B4-BE49-F238E27FC236}">
                  <a16:creationId xmlns:a16="http://schemas.microsoft.com/office/drawing/2014/main" id="{BC4A7653-A112-4FE9-853C-9D7FC29C0BE5}"/>
                </a:ext>
              </a:extLst>
            </p:cNvPr>
            <p:cNvSpPr/>
            <p:nvPr/>
          </p:nvSpPr>
          <p:spPr>
            <a:xfrm>
              <a:off x="9952851" y="4790708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5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2" name="Freeform: Shape 609">
              <a:extLst>
                <a:ext uri="{FF2B5EF4-FFF2-40B4-BE49-F238E27FC236}">
                  <a16:creationId xmlns:a16="http://schemas.microsoft.com/office/drawing/2014/main" id="{355D9CD2-5C7D-48D7-86F9-6D3A8A193357}"/>
                </a:ext>
              </a:extLst>
            </p:cNvPr>
            <p:cNvSpPr/>
            <p:nvPr/>
          </p:nvSpPr>
          <p:spPr>
            <a:xfrm>
              <a:off x="10023137" y="4790708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4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4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0" y="140414"/>
                    <a:pt x="140414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4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3" name="Freeform: Shape 610">
              <a:extLst>
                <a:ext uri="{FF2B5EF4-FFF2-40B4-BE49-F238E27FC236}">
                  <a16:creationId xmlns:a16="http://schemas.microsoft.com/office/drawing/2014/main" id="{5A14EE28-1F6A-4FA0-8775-04E22A2CEB0C}"/>
                </a:ext>
              </a:extLst>
            </p:cNvPr>
            <p:cNvSpPr/>
            <p:nvPr/>
          </p:nvSpPr>
          <p:spPr>
            <a:xfrm>
              <a:off x="10634081" y="4790708"/>
              <a:ext cx="339413" cy="168205"/>
            </a:xfrm>
            <a:custGeom>
              <a:avLst/>
              <a:gdLst>
                <a:gd name="connsiteX0" fmla="*/ 478167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7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7" y="0"/>
                  </a:moveTo>
                  <a:cubicBezTo>
                    <a:pt x="478167" y="131981"/>
                    <a:pt x="371065" y="239084"/>
                    <a:pt x="239084" y="239084"/>
                  </a:cubicBezTo>
                  <a:cubicBezTo>
                    <a:pt x="107102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5"/>
                    <a:pt x="151377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7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4" name="Freeform: Shape 611">
              <a:extLst>
                <a:ext uri="{FF2B5EF4-FFF2-40B4-BE49-F238E27FC236}">
                  <a16:creationId xmlns:a16="http://schemas.microsoft.com/office/drawing/2014/main" id="{043432EC-D093-4991-B797-FE59221B9ED4}"/>
                </a:ext>
              </a:extLst>
            </p:cNvPr>
            <p:cNvSpPr/>
            <p:nvPr/>
          </p:nvSpPr>
          <p:spPr>
            <a:xfrm>
              <a:off x="10704367" y="4790708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5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5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1" y="140414"/>
                    <a:pt x="140415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5" y="59876"/>
                  </a:cubicBezTo>
                  <a:cubicBezTo>
                    <a:pt x="173305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5" name="Freeform: Shape 612">
              <a:extLst>
                <a:ext uri="{FF2B5EF4-FFF2-40B4-BE49-F238E27FC236}">
                  <a16:creationId xmlns:a16="http://schemas.microsoft.com/office/drawing/2014/main" id="{8989CFF4-3C49-406C-A1F8-E2D2D6E6D177}"/>
                </a:ext>
              </a:extLst>
            </p:cNvPr>
            <p:cNvSpPr/>
            <p:nvPr/>
          </p:nvSpPr>
          <p:spPr>
            <a:xfrm>
              <a:off x="11315011" y="4790708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5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6" name="Freeform: Shape 613">
              <a:extLst>
                <a:ext uri="{FF2B5EF4-FFF2-40B4-BE49-F238E27FC236}">
                  <a16:creationId xmlns:a16="http://schemas.microsoft.com/office/drawing/2014/main" id="{FCAEE561-5281-4F18-975E-305A564C2698}"/>
                </a:ext>
              </a:extLst>
            </p:cNvPr>
            <p:cNvSpPr/>
            <p:nvPr/>
          </p:nvSpPr>
          <p:spPr>
            <a:xfrm>
              <a:off x="11385597" y="4790708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5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5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0" y="140414"/>
                    <a:pt x="140415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5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7" name="Freeform: Shape 614">
              <a:extLst>
                <a:ext uri="{FF2B5EF4-FFF2-40B4-BE49-F238E27FC236}">
                  <a16:creationId xmlns:a16="http://schemas.microsoft.com/office/drawing/2014/main" id="{316143DA-CD54-44E2-BFA3-ED315795EE62}"/>
                </a:ext>
              </a:extLst>
            </p:cNvPr>
            <p:cNvSpPr/>
            <p:nvPr/>
          </p:nvSpPr>
          <p:spPr>
            <a:xfrm>
              <a:off x="9612537" y="5216327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7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8" name="Freeform: Shape 615">
              <a:extLst>
                <a:ext uri="{FF2B5EF4-FFF2-40B4-BE49-F238E27FC236}">
                  <a16:creationId xmlns:a16="http://schemas.microsoft.com/office/drawing/2014/main" id="{421AB5B4-3939-4602-AA3A-75F2823AA54B}"/>
                </a:ext>
              </a:extLst>
            </p:cNvPr>
            <p:cNvSpPr/>
            <p:nvPr/>
          </p:nvSpPr>
          <p:spPr>
            <a:xfrm>
              <a:off x="9682522" y="5286612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4 w 278298"/>
                <a:gd name="connsiteY1" fmla="*/ 0 h 139149"/>
                <a:gd name="connsiteX2" fmla="*/ 280829 w 278298"/>
                <a:gd name="connsiteY2" fmla="*/ 140414 h 139149"/>
                <a:gd name="connsiteX3" fmla="*/ 200291 w 278298"/>
                <a:gd name="connsiteY3" fmla="*/ 140414 h 139149"/>
                <a:gd name="connsiteX4" fmla="*/ 140414 w 278298"/>
                <a:gd name="connsiteY4" fmla="*/ 80538 h 139149"/>
                <a:gd name="connsiteX5" fmla="*/ 80538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4" y="0"/>
                  </a:cubicBezTo>
                  <a:cubicBezTo>
                    <a:pt x="218001" y="0"/>
                    <a:pt x="280829" y="62828"/>
                    <a:pt x="280829" y="140414"/>
                  </a:cubicBezTo>
                  <a:lnTo>
                    <a:pt x="200291" y="140414"/>
                  </a:lnTo>
                  <a:cubicBezTo>
                    <a:pt x="200291" y="107525"/>
                    <a:pt x="173726" y="80538"/>
                    <a:pt x="140414" y="80538"/>
                  </a:cubicBezTo>
                  <a:cubicBezTo>
                    <a:pt x="107525" y="80538"/>
                    <a:pt x="80538" y="107103"/>
                    <a:pt x="80538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29" name="Freeform: Shape 616">
              <a:extLst>
                <a:ext uri="{FF2B5EF4-FFF2-40B4-BE49-F238E27FC236}">
                  <a16:creationId xmlns:a16="http://schemas.microsoft.com/office/drawing/2014/main" id="{67248140-0990-4949-B5A4-F35F0C14855C}"/>
                </a:ext>
              </a:extLst>
            </p:cNvPr>
            <p:cNvSpPr/>
            <p:nvPr/>
          </p:nvSpPr>
          <p:spPr>
            <a:xfrm>
              <a:off x="10293466" y="5216327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8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0" name="Freeform: Shape 617">
              <a:extLst>
                <a:ext uri="{FF2B5EF4-FFF2-40B4-BE49-F238E27FC236}">
                  <a16:creationId xmlns:a16="http://schemas.microsoft.com/office/drawing/2014/main" id="{00C64367-8142-484B-A06B-77D1B4B0C37D}"/>
                </a:ext>
              </a:extLst>
            </p:cNvPr>
            <p:cNvSpPr/>
            <p:nvPr/>
          </p:nvSpPr>
          <p:spPr>
            <a:xfrm>
              <a:off x="10363752" y="5286612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4 w 278298"/>
                <a:gd name="connsiteY1" fmla="*/ 0 h 139149"/>
                <a:gd name="connsiteX2" fmla="*/ 280829 w 278298"/>
                <a:gd name="connsiteY2" fmla="*/ 140414 h 139149"/>
                <a:gd name="connsiteX3" fmla="*/ 200291 w 278298"/>
                <a:gd name="connsiteY3" fmla="*/ 140414 h 139149"/>
                <a:gd name="connsiteX4" fmla="*/ 140414 w 278298"/>
                <a:gd name="connsiteY4" fmla="*/ 80538 h 139149"/>
                <a:gd name="connsiteX5" fmla="*/ 80538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4" y="0"/>
                  </a:cubicBezTo>
                  <a:cubicBezTo>
                    <a:pt x="218000" y="0"/>
                    <a:pt x="280829" y="62828"/>
                    <a:pt x="280829" y="140414"/>
                  </a:cubicBezTo>
                  <a:lnTo>
                    <a:pt x="200291" y="140414"/>
                  </a:lnTo>
                  <a:cubicBezTo>
                    <a:pt x="200291" y="107525"/>
                    <a:pt x="173726" y="80538"/>
                    <a:pt x="140414" y="80538"/>
                  </a:cubicBezTo>
                  <a:cubicBezTo>
                    <a:pt x="107525" y="80538"/>
                    <a:pt x="80538" y="107103"/>
                    <a:pt x="80538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1" name="Freeform: Shape 618">
              <a:extLst>
                <a:ext uri="{FF2B5EF4-FFF2-40B4-BE49-F238E27FC236}">
                  <a16:creationId xmlns:a16="http://schemas.microsoft.com/office/drawing/2014/main" id="{528FED78-37AD-494C-A36E-467F36206830}"/>
                </a:ext>
              </a:extLst>
            </p:cNvPr>
            <p:cNvSpPr/>
            <p:nvPr/>
          </p:nvSpPr>
          <p:spPr>
            <a:xfrm>
              <a:off x="10974696" y="5216327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8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2" name="Freeform: Shape 619">
              <a:extLst>
                <a:ext uri="{FF2B5EF4-FFF2-40B4-BE49-F238E27FC236}">
                  <a16:creationId xmlns:a16="http://schemas.microsoft.com/office/drawing/2014/main" id="{D9EC035B-E9B6-4D57-A86D-03BBB9FF4FEF}"/>
                </a:ext>
              </a:extLst>
            </p:cNvPr>
            <p:cNvSpPr/>
            <p:nvPr/>
          </p:nvSpPr>
          <p:spPr>
            <a:xfrm>
              <a:off x="11044982" y="5286612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5 w 278298"/>
                <a:gd name="connsiteY1" fmla="*/ 0 h 139149"/>
                <a:gd name="connsiteX2" fmla="*/ 280829 w 278298"/>
                <a:gd name="connsiteY2" fmla="*/ 140414 h 139149"/>
                <a:gd name="connsiteX3" fmla="*/ 199869 w 278298"/>
                <a:gd name="connsiteY3" fmla="*/ 140414 h 139149"/>
                <a:gd name="connsiteX4" fmla="*/ 139993 w 278298"/>
                <a:gd name="connsiteY4" fmla="*/ 80538 h 139149"/>
                <a:gd name="connsiteX5" fmla="*/ 80116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5" y="0"/>
                  </a:cubicBezTo>
                  <a:cubicBezTo>
                    <a:pt x="218001" y="0"/>
                    <a:pt x="280829" y="62828"/>
                    <a:pt x="280829" y="140414"/>
                  </a:cubicBezTo>
                  <a:lnTo>
                    <a:pt x="199869" y="140414"/>
                  </a:lnTo>
                  <a:cubicBezTo>
                    <a:pt x="199869" y="107525"/>
                    <a:pt x="173304" y="80538"/>
                    <a:pt x="139993" y="80538"/>
                  </a:cubicBezTo>
                  <a:cubicBezTo>
                    <a:pt x="107103" y="80538"/>
                    <a:pt x="80116" y="107103"/>
                    <a:pt x="80116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3" name="Freeform: Shape 620">
              <a:extLst>
                <a:ext uri="{FF2B5EF4-FFF2-40B4-BE49-F238E27FC236}">
                  <a16:creationId xmlns:a16="http://schemas.microsoft.com/office/drawing/2014/main" id="{004323A6-62AB-4889-AA73-E3C735939E6F}"/>
                </a:ext>
              </a:extLst>
            </p:cNvPr>
            <p:cNvSpPr/>
            <p:nvPr/>
          </p:nvSpPr>
          <p:spPr>
            <a:xfrm>
              <a:off x="9952851" y="5641944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4" name="Freeform: Shape 621">
              <a:extLst>
                <a:ext uri="{FF2B5EF4-FFF2-40B4-BE49-F238E27FC236}">
                  <a16:creationId xmlns:a16="http://schemas.microsoft.com/office/drawing/2014/main" id="{0F9ED8B0-405F-4914-9402-98E23BE4D91E}"/>
                </a:ext>
              </a:extLst>
            </p:cNvPr>
            <p:cNvSpPr/>
            <p:nvPr/>
          </p:nvSpPr>
          <p:spPr>
            <a:xfrm>
              <a:off x="10023137" y="5641944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4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4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0" y="140414"/>
                    <a:pt x="140414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4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5" name="Freeform: Shape 622">
              <a:extLst>
                <a:ext uri="{FF2B5EF4-FFF2-40B4-BE49-F238E27FC236}">
                  <a16:creationId xmlns:a16="http://schemas.microsoft.com/office/drawing/2014/main" id="{9A3E05B4-4F81-470E-A2BD-93E244061370}"/>
                </a:ext>
              </a:extLst>
            </p:cNvPr>
            <p:cNvSpPr/>
            <p:nvPr/>
          </p:nvSpPr>
          <p:spPr>
            <a:xfrm>
              <a:off x="10634081" y="5641944"/>
              <a:ext cx="339413" cy="168205"/>
            </a:xfrm>
            <a:custGeom>
              <a:avLst/>
              <a:gdLst>
                <a:gd name="connsiteX0" fmla="*/ 478167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7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7" y="0"/>
                  </a:moveTo>
                  <a:cubicBezTo>
                    <a:pt x="478167" y="131981"/>
                    <a:pt x="371065" y="239084"/>
                    <a:pt x="239084" y="239084"/>
                  </a:cubicBezTo>
                  <a:cubicBezTo>
                    <a:pt x="107102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7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7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6" name="Freeform: Shape 623">
              <a:extLst>
                <a:ext uri="{FF2B5EF4-FFF2-40B4-BE49-F238E27FC236}">
                  <a16:creationId xmlns:a16="http://schemas.microsoft.com/office/drawing/2014/main" id="{A3C94204-078D-44DE-BC5F-A27A3130D0F0}"/>
                </a:ext>
              </a:extLst>
            </p:cNvPr>
            <p:cNvSpPr/>
            <p:nvPr/>
          </p:nvSpPr>
          <p:spPr>
            <a:xfrm>
              <a:off x="10704367" y="5641944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5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5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1" y="140414"/>
                    <a:pt x="140415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5" y="59876"/>
                  </a:cubicBezTo>
                  <a:cubicBezTo>
                    <a:pt x="173305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7" name="Freeform: Shape 624">
              <a:extLst>
                <a:ext uri="{FF2B5EF4-FFF2-40B4-BE49-F238E27FC236}">
                  <a16:creationId xmlns:a16="http://schemas.microsoft.com/office/drawing/2014/main" id="{0A1235AB-AF6A-4FB8-81EC-1BCCDBA2D2BC}"/>
                </a:ext>
              </a:extLst>
            </p:cNvPr>
            <p:cNvSpPr/>
            <p:nvPr/>
          </p:nvSpPr>
          <p:spPr>
            <a:xfrm>
              <a:off x="11315011" y="5641944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8" name="Freeform: Shape 625">
              <a:extLst>
                <a:ext uri="{FF2B5EF4-FFF2-40B4-BE49-F238E27FC236}">
                  <a16:creationId xmlns:a16="http://schemas.microsoft.com/office/drawing/2014/main" id="{8FC3BBC7-D59C-4E79-BE6C-5A60BFB44C23}"/>
                </a:ext>
              </a:extLst>
            </p:cNvPr>
            <p:cNvSpPr/>
            <p:nvPr/>
          </p:nvSpPr>
          <p:spPr>
            <a:xfrm>
              <a:off x="11385597" y="5641944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5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5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0" y="140414"/>
                    <a:pt x="140415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5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39" name="Freeform: Shape 626">
              <a:extLst>
                <a:ext uri="{FF2B5EF4-FFF2-40B4-BE49-F238E27FC236}">
                  <a16:creationId xmlns:a16="http://schemas.microsoft.com/office/drawing/2014/main" id="{9944E0B8-9D98-4B24-B55D-4A2BCAA87A48}"/>
                </a:ext>
              </a:extLst>
            </p:cNvPr>
            <p:cNvSpPr/>
            <p:nvPr/>
          </p:nvSpPr>
          <p:spPr>
            <a:xfrm>
              <a:off x="9612537" y="6067563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7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0" name="Freeform: Shape 627">
              <a:extLst>
                <a:ext uri="{FF2B5EF4-FFF2-40B4-BE49-F238E27FC236}">
                  <a16:creationId xmlns:a16="http://schemas.microsoft.com/office/drawing/2014/main" id="{6823A0EA-39B2-4F7A-A488-C2BBBE2122C2}"/>
                </a:ext>
              </a:extLst>
            </p:cNvPr>
            <p:cNvSpPr/>
            <p:nvPr/>
          </p:nvSpPr>
          <p:spPr>
            <a:xfrm>
              <a:off x="9682522" y="6137849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4 w 278298"/>
                <a:gd name="connsiteY1" fmla="*/ 0 h 139149"/>
                <a:gd name="connsiteX2" fmla="*/ 280829 w 278298"/>
                <a:gd name="connsiteY2" fmla="*/ 140414 h 139149"/>
                <a:gd name="connsiteX3" fmla="*/ 200291 w 278298"/>
                <a:gd name="connsiteY3" fmla="*/ 140414 h 139149"/>
                <a:gd name="connsiteX4" fmla="*/ 140414 w 278298"/>
                <a:gd name="connsiteY4" fmla="*/ 80538 h 139149"/>
                <a:gd name="connsiteX5" fmla="*/ 80538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4" y="0"/>
                  </a:cubicBezTo>
                  <a:cubicBezTo>
                    <a:pt x="218001" y="0"/>
                    <a:pt x="280829" y="62828"/>
                    <a:pt x="280829" y="140414"/>
                  </a:cubicBezTo>
                  <a:lnTo>
                    <a:pt x="200291" y="140414"/>
                  </a:lnTo>
                  <a:cubicBezTo>
                    <a:pt x="200291" y="107525"/>
                    <a:pt x="173726" y="80538"/>
                    <a:pt x="140414" y="80538"/>
                  </a:cubicBezTo>
                  <a:cubicBezTo>
                    <a:pt x="107525" y="80538"/>
                    <a:pt x="80538" y="107103"/>
                    <a:pt x="80538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1" name="Freeform: Shape 628">
              <a:extLst>
                <a:ext uri="{FF2B5EF4-FFF2-40B4-BE49-F238E27FC236}">
                  <a16:creationId xmlns:a16="http://schemas.microsoft.com/office/drawing/2014/main" id="{34677938-9485-44CB-9971-437DB02F19B3}"/>
                </a:ext>
              </a:extLst>
            </p:cNvPr>
            <p:cNvSpPr/>
            <p:nvPr/>
          </p:nvSpPr>
          <p:spPr>
            <a:xfrm>
              <a:off x="10293466" y="6067563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8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2" name="Freeform: Shape 629">
              <a:extLst>
                <a:ext uri="{FF2B5EF4-FFF2-40B4-BE49-F238E27FC236}">
                  <a16:creationId xmlns:a16="http://schemas.microsoft.com/office/drawing/2014/main" id="{D0C0FAE0-40E0-40E9-87F6-B6DBF78B3E31}"/>
                </a:ext>
              </a:extLst>
            </p:cNvPr>
            <p:cNvSpPr/>
            <p:nvPr/>
          </p:nvSpPr>
          <p:spPr>
            <a:xfrm>
              <a:off x="10363752" y="6137849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4 w 278298"/>
                <a:gd name="connsiteY1" fmla="*/ 0 h 139149"/>
                <a:gd name="connsiteX2" fmla="*/ 280829 w 278298"/>
                <a:gd name="connsiteY2" fmla="*/ 140414 h 139149"/>
                <a:gd name="connsiteX3" fmla="*/ 200291 w 278298"/>
                <a:gd name="connsiteY3" fmla="*/ 140414 h 139149"/>
                <a:gd name="connsiteX4" fmla="*/ 140414 w 278298"/>
                <a:gd name="connsiteY4" fmla="*/ 80538 h 139149"/>
                <a:gd name="connsiteX5" fmla="*/ 80538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4" y="0"/>
                  </a:cubicBezTo>
                  <a:cubicBezTo>
                    <a:pt x="218000" y="0"/>
                    <a:pt x="280829" y="62828"/>
                    <a:pt x="280829" y="140414"/>
                  </a:cubicBezTo>
                  <a:lnTo>
                    <a:pt x="200291" y="140414"/>
                  </a:lnTo>
                  <a:cubicBezTo>
                    <a:pt x="200291" y="107525"/>
                    <a:pt x="173726" y="80538"/>
                    <a:pt x="140414" y="80538"/>
                  </a:cubicBezTo>
                  <a:cubicBezTo>
                    <a:pt x="107525" y="80538"/>
                    <a:pt x="80538" y="107103"/>
                    <a:pt x="80538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3" name="Freeform: Shape 630">
              <a:extLst>
                <a:ext uri="{FF2B5EF4-FFF2-40B4-BE49-F238E27FC236}">
                  <a16:creationId xmlns:a16="http://schemas.microsoft.com/office/drawing/2014/main" id="{6995F2A9-21B8-4422-B0C5-317135AD5A1E}"/>
                </a:ext>
              </a:extLst>
            </p:cNvPr>
            <p:cNvSpPr/>
            <p:nvPr/>
          </p:nvSpPr>
          <p:spPr>
            <a:xfrm>
              <a:off x="10974696" y="6067563"/>
              <a:ext cx="339413" cy="168205"/>
            </a:xfrm>
            <a:custGeom>
              <a:avLst/>
              <a:gdLst>
                <a:gd name="connsiteX0" fmla="*/ 0 w 476481"/>
                <a:gd name="connsiteY0" fmla="*/ 239084 h 236132"/>
                <a:gd name="connsiteX1" fmla="*/ 239084 w 476481"/>
                <a:gd name="connsiteY1" fmla="*/ 0 h 236132"/>
                <a:gd name="connsiteX2" fmla="*/ 478168 w 476481"/>
                <a:gd name="connsiteY2" fmla="*/ 239084 h 236132"/>
                <a:gd name="connsiteX3" fmla="*/ 397630 w 476481"/>
                <a:gd name="connsiteY3" fmla="*/ 239084 h 236132"/>
                <a:gd name="connsiteX4" fmla="*/ 239084 w 476481"/>
                <a:gd name="connsiteY4" fmla="*/ 80538 h 236132"/>
                <a:gd name="connsiteX5" fmla="*/ 80538 w 476481"/>
                <a:gd name="connsiteY5" fmla="*/ 239084 h 236132"/>
                <a:gd name="connsiteX6" fmla="*/ 0 w 476481"/>
                <a:gd name="connsiteY6" fmla="*/ 239084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0" y="239084"/>
                  </a:moveTo>
                  <a:cubicBezTo>
                    <a:pt x="0" y="107103"/>
                    <a:pt x="107103" y="0"/>
                    <a:pt x="239084" y="0"/>
                  </a:cubicBezTo>
                  <a:cubicBezTo>
                    <a:pt x="371065" y="0"/>
                    <a:pt x="478168" y="107103"/>
                    <a:pt x="478168" y="239084"/>
                  </a:cubicBezTo>
                  <a:lnTo>
                    <a:pt x="397630" y="239084"/>
                  </a:lnTo>
                  <a:cubicBezTo>
                    <a:pt x="397630" y="151799"/>
                    <a:pt x="326790" y="80538"/>
                    <a:pt x="239084" y="80538"/>
                  </a:cubicBezTo>
                  <a:cubicBezTo>
                    <a:pt x="151378" y="80538"/>
                    <a:pt x="80538" y="151378"/>
                    <a:pt x="80538" y="239084"/>
                  </a:cubicBezTo>
                  <a:lnTo>
                    <a:pt x="0" y="23908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4" name="Freeform: Shape 631">
              <a:extLst>
                <a:ext uri="{FF2B5EF4-FFF2-40B4-BE49-F238E27FC236}">
                  <a16:creationId xmlns:a16="http://schemas.microsoft.com/office/drawing/2014/main" id="{556C58BD-4434-46BC-BB56-85FD6AB681E6}"/>
                </a:ext>
              </a:extLst>
            </p:cNvPr>
            <p:cNvSpPr/>
            <p:nvPr/>
          </p:nvSpPr>
          <p:spPr>
            <a:xfrm>
              <a:off x="11044982" y="6137849"/>
              <a:ext cx="198242" cy="99120"/>
            </a:xfrm>
            <a:custGeom>
              <a:avLst/>
              <a:gdLst>
                <a:gd name="connsiteX0" fmla="*/ 0 w 278298"/>
                <a:gd name="connsiteY0" fmla="*/ 140414 h 139149"/>
                <a:gd name="connsiteX1" fmla="*/ 140415 w 278298"/>
                <a:gd name="connsiteY1" fmla="*/ 0 h 139149"/>
                <a:gd name="connsiteX2" fmla="*/ 280829 w 278298"/>
                <a:gd name="connsiteY2" fmla="*/ 140414 h 139149"/>
                <a:gd name="connsiteX3" fmla="*/ 199869 w 278298"/>
                <a:gd name="connsiteY3" fmla="*/ 140414 h 139149"/>
                <a:gd name="connsiteX4" fmla="*/ 139993 w 278298"/>
                <a:gd name="connsiteY4" fmla="*/ 80538 h 139149"/>
                <a:gd name="connsiteX5" fmla="*/ 80116 w 278298"/>
                <a:gd name="connsiteY5" fmla="*/ 140414 h 139149"/>
                <a:gd name="connsiteX6" fmla="*/ 0 w 278298"/>
                <a:gd name="connsiteY6" fmla="*/ 140414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0" y="140414"/>
                  </a:moveTo>
                  <a:cubicBezTo>
                    <a:pt x="0" y="62828"/>
                    <a:pt x="62828" y="0"/>
                    <a:pt x="140415" y="0"/>
                  </a:cubicBezTo>
                  <a:cubicBezTo>
                    <a:pt x="218001" y="0"/>
                    <a:pt x="280829" y="62828"/>
                    <a:pt x="280829" y="140414"/>
                  </a:cubicBezTo>
                  <a:lnTo>
                    <a:pt x="199869" y="140414"/>
                  </a:lnTo>
                  <a:cubicBezTo>
                    <a:pt x="199869" y="107525"/>
                    <a:pt x="173304" y="80538"/>
                    <a:pt x="139993" y="80538"/>
                  </a:cubicBezTo>
                  <a:cubicBezTo>
                    <a:pt x="107103" y="80538"/>
                    <a:pt x="80116" y="107103"/>
                    <a:pt x="80116" y="140414"/>
                  </a:cubicBezTo>
                  <a:lnTo>
                    <a:pt x="0" y="140414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5" name="Freeform: Shape 632">
              <a:extLst>
                <a:ext uri="{FF2B5EF4-FFF2-40B4-BE49-F238E27FC236}">
                  <a16:creationId xmlns:a16="http://schemas.microsoft.com/office/drawing/2014/main" id="{9973C0A3-AB6F-4603-8F98-CF4284A9079A}"/>
                </a:ext>
              </a:extLst>
            </p:cNvPr>
            <p:cNvSpPr/>
            <p:nvPr/>
          </p:nvSpPr>
          <p:spPr>
            <a:xfrm>
              <a:off x="9952851" y="6493482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6" name="Freeform: Shape 633">
              <a:extLst>
                <a:ext uri="{FF2B5EF4-FFF2-40B4-BE49-F238E27FC236}">
                  <a16:creationId xmlns:a16="http://schemas.microsoft.com/office/drawing/2014/main" id="{6957F180-7013-4767-B55B-A87C69D5C28E}"/>
                </a:ext>
              </a:extLst>
            </p:cNvPr>
            <p:cNvSpPr/>
            <p:nvPr/>
          </p:nvSpPr>
          <p:spPr>
            <a:xfrm>
              <a:off x="10023137" y="6493482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4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4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0" y="140414"/>
                    <a:pt x="140414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4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7" name="Freeform: Shape 634">
              <a:extLst>
                <a:ext uri="{FF2B5EF4-FFF2-40B4-BE49-F238E27FC236}">
                  <a16:creationId xmlns:a16="http://schemas.microsoft.com/office/drawing/2014/main" id="{0CA32F1E-19A3-4145-B5C0-179FF8F17980}"/>
                </a:ext>
              </a:extLst>
            </p:cNvPr>
            <p:cNvSpPr/>
            <p:nvPr/>
          </p:nvSpPr>
          <p:spPr>
            <a:xfrm>
              <a:off x="10634081" y="6493482"/>
              <a:ext cx="339413" cy="168205"/>
            </a:xfrm>
            <a:custGeom>
              <a:avLst/>
              <a:gdLst>
                <a:gd name="connsiteX0" fmla="*/ 478167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7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7" y="0"/>
                  </a:moveTo>
                  <a:cubicBezTo>
                    <a:pt x="478167" y="131981"/>
                    <a:pt x="371065" y="239084"/>
                    <a:pt x="239084" y="239084"/>
                  </a:cubicBezTo>
                  <a:cubicBezTo>
                    <a:pt x="107102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7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7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8" name="Freeform: Shape 635">
              <a:extLst>
                <a:ext uri="{FF2B5EF4-FFF2-40B4-BE49-F238E27FC236}">
                  <a16:creationId xmlns:a16="http://schemas.microsoft.com/office/drawing/2014/main" id="{F316F4CF-86BF-4D0C-836C-5CCEC324255B}"/>
                </a:ext>
              </a:extLst>
            </p:cNvPr>
            <p:cNvSpPr/>
            <p:nvPr/>
          </p:nvSpPr>
          <p:spPr>
            <a:xfrm>
              <a:off x="10704367" y="6493482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5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5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1" y="140414"/>
                    <a:pt x="140415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5" y="59876"/>
                  </a:cubicBezTo>
                  <a:cubicBezTo>
                    <a:pt x="173305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49" name="Freeform: Shape 636">
              <a:extLst>
                <a:ext uri="{FF2B5EF4-FFF2-40B4-BE49-F238E27FC236}">
                  <a16:creationId xmlns:a16="http://schemas.microsoft.com/office/drawing/2014/main" id="{353A91DD-EBAB-4D66-918C-3D172683D924}"/>
                </a:ext>
              </a:extLst>
            </p:cNvPr>
            <p:cNvSpPr/>
            <p:nvPr/>
          </p:nvSpPr>
          <p:spPr>
            <a:xfrm>
              <a:off x="11315011" y="6493482"/>
              <a:ext cx="339413" cy="168205"/>
            </a:xfrm>
            <a:custGeom>
              <a:avLst/>
              <a:gdLst>
                <a:gd name="connsiteX0" fmla="*/ 478168 w 476481"/>
                <a:gd name="connsiteY0" fmla="*/ 0 h 236132"/>
                <a:gd name="connsiteX1" fmla="*/ 239084 w 476481"/>
                <a:gd name="connsiteY1" fmla="*/ 239084 h 236132"/>
                <a:gd name="connsiteX2" fmla="*/ 0 w 476481"/>
                <a:gd name="connsiteY2" fmla="*/ 0 h 236132"/>
                <a:gd name="connsiteX3" fmla="*/ 80538 w 476481"/>
                <a:gd name="connsiteY3" fmla="*/ 0 h 236132"/>
                <a:gd name="connsiteX4" fmla="*/ 239084 w 476481"/>
                <a:gd name="connsiteY4" fmla="*/ 158546 h 236132"/>
                <a:gd name="connsiteX5" fmla="*/ 397630 w 476481"/>
                <a:gd name="connsiteY5" fmla="*/ 0 h 236132"/>
                <a:gd name="connsiteX6" fmla="*/ 478168 w 476481"/>
                <a:gd name="connsiteY6" fmla="*/ 0 h 236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481" h="236132">
                  <a:moveTo>
                    <a:pt x="478168" y="0"/>
                  </a:moveTo>
                  <a:cubicBezTo>
                    <a:pt x="478168" y="131981"/>
                    <a:pt x="371065" y="239084"/>
                    <a:pt x="239084" y="239084"/>
                  </a:cubicBezTo>
                  <a:cubicBezTo>
                    <a:pt x="107103" y="239084"/>
                    <a:pt x="0" y="131981"/>
                    <a:pt x="0" y="0"/>
                  </a:cubicBezTo>
                  <a:lnTo>
                    <a:pt x="80538" y="0"/>
                  </a:lnTo>
                  <a:cubicBezTo>
                    <a:pt x="80538" y="87284"/>
                    <a:pt x="151378" y="158546"/>
                    <a:pt x="239084" y="158546"/>
                  </a:cubicBezTo>
                  <a:cubicBezTo>
                    <a:pt x="326790" y="158546"/>
                    <a:pt x="397630" y="87706"/>
                    <a:pt x="397630" y="0"/>
                  </a:cubicBezTo>
                  <a:lnTo>
                    <a:pt x="478168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50" name="Freeform: Shape 637">
              <a:extLst>
                <a:ext uri="{FF2B5EF4-FFF2-40B4-BE49-F238E27FC236}">
                  <a16:creationId xmlns:a16="http://schemas.microsoft.com/office/drawing/2014/main" id="{1BD51F2F-9840-48B6-8F94-D36FB4CE0579}"/>
                </a:ext>
              </a:extLst>
            </p:cNvPr>
            <p:cNvSpPr/>
            <p:nvPr/>
          </p:nvSpPr>
          <p:spPr>
            <a:xfrm>
              <a:off x="11385597" y="6493482"/>
              <a:ext cx="198242" cy="99120"/>
            </a:xfrm>
            <a:custGeom>
              <a:avLst/>
              <a:gdLst>
                <a:gd name="connsiteX0" fmla="*/ 280829 w 278298"/>
                <a:gd name="connsiteY0" fmla="*/ 0 h 139149"/>
                <a:gd name="connsiteX1" fmla="*/ 140415 w 278298"/>
                <a:gd name="connsiteY1" fmla="*/ 140414 h 139149"/>
                <a:gd name="connsiteX2" fmla="*/ 0 w 278298"/>
                <a:gd name="connsiteY2" fmla="*/ 0 h 139149"/>
                <a:gd name="connsiteX3" fmla="*/ 80538 w 278298"/>
                <a:gd name="connsiteY3" fmla="*/ 0 h 139149"/>
                <a:gd name="connsiteX4" fmla="*/ 140415 w 278298"/>
                <a:gd name="connsiteY4" fmla="*/ 59876 h 139149"/>
                <a:gd name="connsiteX5" fmla="*/ 200291 w 278298"/>
                <a:gd name="connsiteY5" fmla="*/ 0 h 139149"/>
                <a:gd name="connsiteX6" fmla="*/ 280829 w 278298"/>
                <a:gd name="connsiteY6" fmla="*/ 0 h 13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8298" h="139149">
                  <a:moveTo>
                    <a:pt x="280829" y="0"/>
                  </a:moveTo>
                  <a:cubicBezTo>
                    <a:pt x="280829" y="77586"/>
                    <a:pt x="218000" y="140414"/>
                    <a:pt x="140415" y="140414"/>
                  </a:cubicBezTo>
                  <a:cubicBezTo>
                    <a:pt x="62828" y="140414"/>
                    <a:pt x="0" y="77586"/>
                    <a:pt x="0" y="0"/>
                  </a:cubicBezTo>
                  <a:lnTo>
                    <a:pt x="80538" y="0"/>
                  </a:lnTo>
                  <a:cubicBezTo>
                    <a:pt x="80538" y="32890"/>
                    <a:pt x="107103" y="59876"/>
                    <a:pt x="140415" y="59876"/>
                  </a:cubicBezTo>
                  <a:cubicBezTo>
                    <a:pt x="173304" y="59876"/>
                    <a:pt x="200291" y="33311"/>
                    <a:pt x="200291" y="0"/>
                  </a:cubicBezTo>
                  <a:lnTo>
                    <a:pt x="280829" y="0"/>
                  </a:lnTo>
                  <a:close/>
                </a:path>
              </a:pathLst>
            </a:custGeom>
            <a:grpFill/>
            <a:ln w="4213" cap="flat">
              <a:noFill/>
              <a:prstDash val="solid"/>
              <a:miter/>
            </a:ln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prstClr val="black"/>
                </a:solidFill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007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Zástupný symbol pro text 1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73100" y="504825"/>
            <a:ext cx="9445625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cs-CZ" altLang="cs-CZ" smtClean="0"/>
              <a:t>ČEŠI JSOU NÁRODEM CYKLISTŮ</a:t>
            </a:r>
          </a:p>
        </p:txBody>
      </p:sp>
      <p:sp>
        <p:nvSpPr>
          <p:cNvPr id="15363" name="Zástupný symbol pro text 2"/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673100" y="5741988"/>
            <a:ext cx="9445625" cy="6064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r>
              <a:rPr lang="cs-CZ" altLang="cs-CZ" smtClean="0"/>
              <a:t>Průzkum Ipsos, 2022; N=1 000; </a:t>
            </a:r>
            <a:r>
              <a:rPr lang="cs-CZ" altLang="cs-CZ" i="1" smtClean="0"/>
              <a:t>Jak často řídíte v silničním provozu následující vozidla? - Kolo, koloběžka</a:t>
            </a:r>
          </a:p>
        </p:txBody>
      </p:sp>
      <p:sp>
        <p:nvSpPr>
          <p:cNvPr id="15364" name="Zástupný symbol pro text 3"/>
          <p:cNvSpPr>
            <a:spLocks noGrp="1" noChangeArrowheads="1"/>
          </p:cNvSpPr>
          <p:nvPr>
            <p:ph type="body" sz="quarter" idx="12"/>
          </p:nvPr>
        </p:nvSpPr>
        <p:spPr bwMode="auto">
          <a:xfrm>
            <a:off x="673100" y="1552575"/>
            <a:ext cx="10947400" cy="39354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pPr marL="239713" indent="-239713">
              <a:buFont typeface=".AppleSystemUIFont"/>
              <a:buChar char="–"/>
            </a:pPr>
            <a:r>
              <a:rPr lang="cs-CZ" altLang="cs-CZ" smtClean="0"/>
              <a:t>Podle aktuálního průzkumu České asociace pojišťoven na kole či koloběžce jezdí alespoň několikrát do měsíce 37 % Čechů. Párkrát do roka na nich vyrazí dalších 21 %.</a:t>
            </a:r>
          </a:p>
          <a:p>
            <a:pPr marL="239713" indent="-239713">
              <a:buFont typeface=".AppleSystemUIFont"/>
              <a:buChar char="–"/>
            </a:pPr>
            <a:r>
              <a:rPr lang="cs-CZ" altLang="cs-CZ" smtClean="0"/>
              <a:t>Na kole/koloběžce alespoň několikrát měsíčně jezdí častěji muži (43 %) než ženy (33 %).</a:t>
            </a:r>
          </a:p>
          <a:p>
            <a:pPr marL="239713" indent="-239713">
              <a:buFont typeface=".AppleSystemUIFont"/>
              <a:buChar char="–"/>
            </a:pPr>
            <a:endParaRPr lang="cs-CZ" altLang="cs-CZ" smtClean="0"/>
          </a:p>
          <a:p>
            <a:pPr marL="239713" indent="-239713">
              <a:buFont typeface=".AppleSystemUIFont"/>
              <a:buChar char="–"/>
            </a:pPr>
            <a:endParaRPr lang="cs-CZ" altLang="cs-CZ" smtClean="0"/>
          </a:p>
        </p:txBody>
      </p:sp>
      <p:graphicFrame>
        <p:nvGraphicFramePr>
          <p:cNvPr id="15365" name="Graf 4"/>
          <p:cNvGraphicFramePr>
            <a:graphicFrameLocks/>
          </p:cNvGraphicFramePr>
          <p:nvPr/>
        </p:nvGraphicFramePr>
        <p:xfrm>
          <a:off x="3103563" y="2068513"/>
          <a:ext cx="4384675" cy="3946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Chart" r:id="rId3" imgW="4390885" imgH="3952875" progId="Excel.Chart.8">
                  <p:embed/>
                </p:oleObj>
              </mc:Choice>
              <mc:Fallback>
                <p:oleObj name="Chart" r:id="rId3" imgW="4390885" imgH="3952875" progId="Excel.Chart.8">
                  <p:embed/>
                  <p:pic>
                    <p:nvPicPr>
                      <p:cNvPr id="15365" name="Graf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03563" y="2068513"/>
                        <a:ext cx="4384675" cy="3946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53527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Zástupný symbol pro text 1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73100" y="504825"/>
            <a:ext cx="9445625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cs-CZ" altLang="cs-CZ" smtClean="0"/>
              <a:t>NEBEZPEČNÉ SITUACE Z POHLEDU CYKLISTŮ</a:t>
            </a:r>
          </a:p>
        </p:txBody>
      </p:sp>
      <p:sp>
        <p:nvSpPr>
          <p:cNvPr id="16387" name="Zástupný symbol pro text 2"/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673100" y="5741988"/>
            <a:ext cx="9445625" cy="6064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r>
              <a:rPr lang="cs-CZ" altLang="cs-CZ" smtClean="0"/>
              <a:t>Průzkum Ipsos, 2022; N=1 000; </a:t>
            </a:r>
            <a:r>
              <a:rPr lang="cs-CZ" altLang="cs-CZ" i="1" smtClean="0"/>
              <a:t>Které z uvedených situací Vám z pohledu cyklisty přijdou nebezpečné? </a:t>
            </a:r>
          </a:p>
        </p:txBody>
      </p:sp>
      <p:sp>
        <p:nvSpPr>
          <p:cNvPr id="16388" name="Zástupný symbol pro text 3"/>
          <p:cNvSpPr>
            <a:spLocks noGrp="1" noChangeArrowheads="1"/>
          </p:cNvSpPr>
          <p:nvPr>
            <p:ph type="body" sz="quarter" idx="12"/>
          </p:nvPr>
        </p:nvSpPr>
        <p:spPr bwMode="auto">
          <a:xfrm>
            <a:off x="673100" y="1552575"/>
            <a:ext cx="10947400" cy="39354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pPr marL="239713" indent="-239713">
              <a:buFont typeface=".AppleSystemUIFont"/>
              <a:buChar char="–"/>
            </a:pPr>
            <a:r>
              <a:rPr lang="cs-CZ" altLang="cs-CZ" smtClean="0"/>
              <a:t>Cyklisti považují za nejnebezpečnější situaci na silnici náhlé otevření dveří vozidla do vozovky nebo nečekanou překážku na silnici.</a:t>
            </a:r>
            <a:endParaRPr lang="en-GB" altLang="cs-CZ" smtClean="0"/>
          </a:p>
          <a:p>
            <a:pPr marL="239713" indent="-239713">
              <a:buFont typeface=".AppleSystemUIFont"/>
              <a:buChar char="–"/>
            </a:pPr>
            <a:endParaRPr lang="cs-CZ" altLang="cs-CZ" smtClean="0"/>
          </a:p>
        </p:txBody>
      </p:sp>
      <p:graphicFrame>
        <p:nvGraphicFramePr>
          <p:cNvPr id="16389" name="Graf 4"/>
          <p:cNvGraphicFramePr>
            <a:graphicFrameLocks/>
          </p:cNvGraphicFramePr>
          <p:nvPr/>
        </p:nvGraphicFramePr>
        <p:xfrm>
          <a:off x="1095375" y="1954213"/>
          <a:ext cx="7832725" cy="3833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Chart" r:id="rId3" imgW="7839126" imgH="3838575" progId="Excel.Chart.8">
                  <p:embed/>
                </p:oleObj>
              </mc:Choice>
              <mc:Fallback>
                <p:oleObj name="Chart" r:id="rId3" imgW="7839126" imgH="3838575" progId="Excel.Chart.8">
                  <p:embed/>
                  <p:pic>
                    <p:nvPicPr>
                      <p:cNvPr id="16389" name="Graf 4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95375" y="1954213"/>
                        <a:ext cx="7832725" cy="38338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8213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/>
        </p:nvSpPr>
        <p:spPr>
          <a:xfrm>
            <a:off x="1" y="288961"/>
            <a:ext cx="169545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4257675" y="288961"/>
            <a:ext cx="7934326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0007AB47-8DE6-47F4-AEF7-D4BFBF5E4C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090" y="30830"/>
            <a:ext cx="616147" cy="615653"/>
          </a:xfrm>
          <a:prstGeom prst="rect">
            <a:avLst/>
          </a:prstGeom>
        </p:spPr>
      </p:pic>
      <p:sp>
        <p:nvSpPr>
          <p:cNvPr id="8" name="TextovéPole 7"/>
          <p:cNvSpPr txBox="1"/>
          <p:nvPr/>
        </p:nvSpPr>
        <p:spPr>
          <a:xfrm>
            <a:off x="1475393" y="138601"/>
            <a:ext cx="3021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HODY CYKLISTŮ</a:t>
            </a:r>
          </a:p>
        </p:txBody>
      </p:sp>
      <p:sp>
        <p:nvSpPr>
          <p:cNvPr id="54" name="Obdélník 53"/>
          <p:cNvSpPr/>
          <p:nvPr/>
        </p:nvSpPr>
        <p:spPr>
          <a:xfrm>
            <a:off x="10496550" y="6669660"/>
            <a:ext cx="169545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Obdélník 54"/>
          <p:cNvSpPr/>
          <p:nvPr/>
        </p:nvSpPr>
        <p:spPr>
          <a:xfrm>
            <a:off x="0" y="6669660"/>
            <a:ext cx="6677025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TextovéPole 55"/>
          <p:cNvSpPr txBox="1"/>
          <p:nvPr/>
        </p:nvSpPr>
        <p:spPr>
          <a:xfrm>
            <a:off x="6666274" y="6588550"/>
            <a:ext cx="38302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VOJ DOPRAVNÍ NEHODOVOSTI V ROCE 2022</a:t>
            </a:r>
            <a:endParaRPr lang="cs-CZ" sz="105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Obrázek 13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8185" y="2832876"/>
            <a:ext cx="563853" cy="404520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2013" y="2315660"/>
            <a:ext cx="513258" cy="394789"/>
          </a:xfrm>
          <a:prstGeom prst="rect">
            <a:avLst/>
          </a:prstGeom>
        </p:spPr>
      </p:pic>
      <p:pic>
        <p:nvPicPr>
          <p:cNvPr id="16" name="Obrázek 15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1583" y="3369381"/>
            <a:ext cx="513899" cy="376165"/>
          </a:xfrm>
          <a:prstGeom prst="rect">
            <a:avLst/>
          </a:prstGeom>
        </p:spPr>
      </p:pic>
      <p:pic>
        <p:nvPicPr>
          <p:cNvPr id="17" name="Obrázek 16"/>
          <p:cNvPicPr>
            <a:picLocks noChangeAspect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6766" y="1691358"/>
            <a:ext cx="551018" cy="478978"/>
          </a:xfrm>
          <a:prstGeom prst="rect">
            <a:avLst/>
          </a:prstGeom>
        </p:spPr>
      </p:pic>
      <p:sp>
        <p:nvSpPr>
          <p:cNvPr id="18" name="TextovéPole 17"/>
          <p:cNvSpPr txBox="1"/>
          <p:nvPr/>
        </p:nvSpPr>
        <p:spPr>
          <a:xfrm>
            <a:off x="4797256" y="1727369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4 333</a:t>
            </a:r>
          </a:p>
        </p:txBody>
      </p:sp>
      <p:sp>
        <p:nvSpPr>
          <p:cNvPr id="19" name="TextovéPole 18"/>
          <p:cNvSpPr txBox="1"/>
          <p:nvPr/>
        </p:nvSpPr>
        <p:spPr>
          <a:xfrm>
            <a:off x="4797256" y="2294954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42</a:t>
            </a:r>
          </a:p>
        </p:txBody>
      </p:sp>
      <p:sp>
        <p:nvSpPr>
          <p:cNvPr id="20" name="TextovéPole 19"/>
          <p:cNvSpPr txBox="1"/>
          <p:nvPr/>
        </p:nvSpPr>
        <p:spPr>
          <a:xfrm>
            <a:off x="4797256" y="2816891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286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4797256" y="3362391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3 542</a:t>
            </a:r>
          </a:p>
        </p:txBody>
      </p:sp>
      <p:sp>
        <p:nvSpPr>
          <p:cNvPr id="22" name="TextovéPole 21"/>
          <p:cNvSpPr txBox="1"/>
          <p:nvPr/>
        </p:nvSpPr>
        <p:spPr>
          <a:xfrm>
            <a:off x="6251816" y="1762046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339</a:t>
            </a:r>
          </a:p>
        </p:txBody>
      </p:sp>
      <p:sp>
        <p:nvSpPr>
          <p:cNvPr id="23" name="TextovéPole 22"/>
          <p:cNvSpPr txBox="1"/>
          <p:nvPr/>
        </p:nvSpPr>
        <p:spPr>
          <a:xfrm>
            <a:off x="6260668" y="2308031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6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4" name="TextovéPole 23"/>
          <p:cNvSpPr txBox="1"/>
          <p:nvPr/>
        </p:nvSpPr>
        <p:spPr>
          <a:xfrm>
            <a:off x="6251816" y="2844512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41</a:t>
            </a:r>
          </a:p>
        </p:txBody>
      </p:sp>
      <p:sp>
        <p:nvSpPr>
          <p:cNvPr id="25" name="TextovéPole 24"/>
          <p:cNvSpPr txBox="1"/>
          <p:nvPr/>
        </p:nvSpPr>
        <p:spPr>
          <a:xfrm>
            <a:off x="6251816" y="3392470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278</a:t>
            </a:r>
          </a:p>
        </p:txBody>
      </p:sp>
      <p:sp>
        <p:nvSpPr>
          <p:cNvPr id="26" name="Rovnoramenný trojúhelník 25"/>
          <p:cNvSpPr/>
          <p:nvPr/>
        </p:nvSpPr>
        <p:spPr>
          <a:xfrm flipV="1">
            <a:off x="6162102" y="2474307"/>
            <a:ext cx="158819" cy="176023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Rovnoramenný trojúhelník 26"/>
          <p:cNvSpPr/>
          <p:nvPr/>
        </p:nvSpPr>
        <p:spPr>
          <a:xfrm>
            <a:off x="6168767" y="1800393"/>
            <a:ext cx="158819" cy="17602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" name="Rovnoramenný trojúhelník 27"/>
          <p:cNvSpPr/>
          <p:nvPr/>
        </p:nvSpPr>
        <p:spPr>
          <a:xfrm>
            <a:off x="6169499" y="2876499"/>
            <a:ext cx="158819" cy="17602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" name="Rovnoramenný trojúhelník 28"/>
          <p:cNvSpPr/>
          <p:nvPr/>
        </p:nvSpPr>
        <p:spPr>
          <a:xfrm>
            <a:off x="6162102" y="3420132"/>
            <a:ext cx="158819" cy="17602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1" name="Obrázek 30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4352" y="5184401"/>
            <a:ext cx="563853" cy="404520"/>
          </a:xfrm>
          <a:prstGeom prst="rect">
            <a:avLst/>
          </a:prstGeom>
        </p:spPr>
      </p:pic>
      <p:pic>
        <p:nvPicPr>
          <p:cNvPr id="32" name="Obrázek 31"/>
          <p:cNvPicPr>
            <a:picLocks noChangeAspect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180" y="4667185"/>
            <a:ext cx="513258" cy="394789"/>
          </a:xfrm>
          <a:prstGeom prst="rect">
            <a:avLst/>
          </a:prstGeom>
        </p:spPr>
      </p:pic>
      <p:pic>
        <p:nvPicPr>
          <p:cNvPr id="33" name="Obrázek 32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750" y="5720906"/>
            <a:ext cx="513899" cy="376165"/>
          </a:xfrm>
          <a:prstGeom prst="rect">
            <a:avLst/>
          </a:prstGeom>
        </p:spPr>
      </p:pic>
      <p:pic>
        <p:nvPicPr>
          <p:cNvPr id="34" name="Obrázek 33"/>
          <p:cNvPicPr>
            <a:picLocks noChangeAspect="1"/>
          </p:cNvPicPr>
          <p:nvPr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2933" y="4042883"/>
            <a:ext cx="551018" cy="478978"/>
          </a:xfrm>
          <a:prstGeom prst="rect">
            <a:avLst/>
          </a:prstGeom>
        </p:spPr>
      </p:pic>
      <p:sp>
        <p:nvSpPr>
          <p:cNvPr id="35" name="TextovéPole 34"/>
          <p:cNvSpPr txBox="1"/>
          <p:nvPr/>
        </p:nvSpPr>
        <p:spPr>
          <a:xfrm>
            <a:off x="9353423" y="4078894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2 826</a:t>
            </a:r>
          </a:p>
        </p:txBody>
      </p:sp>
      <p:sp>
        <p:nvSpPr>
          <p:cNvPr id="36" name="TextovéPole 35"/>
          <p:cNvSpPr txBox="1"/>
          <p:nvPr/>
        </p:nvSpPr>
        <p:spPr>
          <a:xfrm>
            <a:off x="9353423" y="4627429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20</a:t>
            </a:r>
          </a:p>
        </p:txBody>
      </p:sp>
      <p:sp>
        <p:nvSpPr>
          <p:cNvPr id="37" name="TextovéPole 36"/>
          <p:cNvSpPr txBox="1"/>
          <p:nvPr/>
        </p:nvSpPr>
        <p:spPr>
          <a:xfrm>
            <a:off x="9353423" y="5168416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159</a:t>
            </a:r>
          </a:p>
        </p:txBody>
      </p:sp>
      <p:sp>
        <p:nvSpPr>
          <p:cNvPr id="38" name="TextovéPole 37"/>
          <p:cNvSpPr txBox="1"/>
          <p:nvPr/>
        </p:nvSpPr>
        <p:spPr>
          <a:xfrm>
            <a:off x="9353423" y="5713916"/>
            <a:ext cx="14545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2 337</a:t>
            </a:r>
          </a:p>
        </p:txBody>
      </p:sp>
      <p:sp>
        <p:nvSpPr>
          <p:cNvPr id="39" name="TextovéPole 38"/>
          <p:cNvSpPr txBox="1"/>
          <p:nvPr/>
        </p:nvSpPr>
        <p:spPr>
          <a:xfrm>
            <a:off x="10807983" y="4113571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155</a:t>
            </a:r>
          </a:p>
        </p:txBody>
      </p:sp>
      <p:sp>
        <p:nvSpPr>
          <p:cNvPr id="40" name="TextovéPole 39"/>
          <p:cNvSpPr txBox="1"/>
          <p:nvPr/>
        </p:nvSpPr>
        <p:spPr>
          <a:xfrm>
            <a:off x="10816835" y="4659556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6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41" name="TextovéPole 40"/>
          <p:cNvSpPr txBox="1"/>
          <p:nvPr/>
        </p:nvSpPr>
        <p:spPr>
          <a:xfrm>
            <a:off x="10807983" y="5196037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25</a:t>
            </a:r>
          </a:p>
        </p:txBody>
      </p:sp>
      <p:sp>
        <p:nvSpPr>
          <p:cNvPr id="42" name="TextovéPole 41"/>
          <p:cNvSpPr txBox="1"/>
          <p:nvPr/>
        </p:nvSpPr>
        <p:spPr>
          <a:xfrm>
            <a:off x="10807983" y="5743995"/>
            <a:ext cx="9834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FF0000"/>
                </a:solidFill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rPr>
              <a:t>106</a:t>
            </a:r>
          </a:p>
        </p:txBody>
      </p:sp>
      <p:sp>
        <p:nvSpPr>
          <p:cNvPr id="44" name="Rovnoramenný trojúhelník 43"/>
          <p:cNvSpPr/>
          <p:nvPr/>
        </p:nvSpPr>
        <p:spPr>
          <a:xfrm>
            <a:off x="10724934" y="4151918"/>
            <a:ext cx="158819" cy="17602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5" name="Rovnoramenný trojúhelník 44"/>
          <p:cNvSpPr/>
          <p:nvPr/>
        </p:nvSpPr>
        <p:spPr>
          <a:xfrm>
            <a:off x="10724934" y="5213436"/>
            <a:ext cx="158819" cy="17602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Rovnoramenný trojúhelník 45"/>
          <p:cNvSpPr/>
          <p:nvPr/>
        </p:nvSpPr>
        <p:spPr>
          <a:xfrm>
            <a:off x="10718269" y="5771657"/>
            <a:ext cx="158819" cy="176023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7" name="TextovéPole 46"/>
          <p:cNvSpPr txBox="1"/>
          <p:nvPr/>
        </p:nvSpPr>
        <p:spPr>
          <a:xfrm>
            <a:off x="3705818" y="1242005"/>
            <a:ext cx="16868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 ÚČASTÍ</a:t>
            </a:r>
          </a:p>
        </p:txBody>
      </p:sp>
      <p:sp>
        <p:nvSpPr>
          <p:cNvPr id="52" name="TextovéPole 51"/>
          <p:cNvSpPr txBox="1"/>
          <p:nvPr/>
        </p:nvSpPr>
        <p:spPr>
          <a:xfrm>
            <a:off x="8214998" y="3592525"/>
            <a:ext cx="16868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ZAVINĚNO</a:t>
            </a: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0894" y="469462"/>
            <a:ext cx="4572638" cy="6134956"/>
          </a:xfrm>
          <a:prstGeom prst="rect">
            <a:avLst/>
          </a:prstGeom>
        </p:spPr>
      </p:pic>
      <p:sp>
        <p:nvSpPr>
          <p:cNvPr id="12" name="Obdélník 56"/>
          <p:cNvSpPr/>
          <p:nvPr/>
        </p:nvSpPr>
        <p:spPr>
          <a:xfrm>
            <a:off x="-10894" y="469462"/>
            <a:ext cx="4576112" cy="6131350"/>
          </a:xfrm>
          <a:custGeom>
            <a:avLst/>
            <a:gdLst>
              <a:gd name="connsiteX0" fmla="*/ 0 w 4552950"/>
              <a:gd name="connsiteY0" fmla="*/ 0 h 6281308"/>
              <a:gd name="connsiteX1" fmla="*/ 4552950 w 4552950"/>
              <a:gd name="connsiteY1" fmla="*/ 0 h 6281308"/>
              <a:gd name="connsiteX2" fmla="*/ 4552950 w 4552950"/>
              <a:gd name="connsiteY2" fmla="*/ 6281308 h 6281308"/>
              <a:gd name="connsiteX3" fmla="*/ 0 w 4552950"/>
              <a:gd name="connsiteY3" fmla="*/ 6281308 h 6281308"/>
              <a:gd name="connsiteX4" fmla="*/ 0 w 4552950"/>
              <a:gd name="connsiteY4" fmla="*/ 0 h 6281308"/>
              <a:gd name="connsiteX0" fmla="*/ 0 w 4552950"/>
              <a:gd name="connsiteY0" fmla="*/ 0 h 6281308"/>
              <a:gd name="connsiteX1" fmla="*/ 1666875 w 4552950"/>
              <a:gd name="connsiteY1" fmla="*/ 9525 h 6281308"/>
              <a:gd name="connsiteX2" fmla="*/ 4552950 w 4552950"/>
              <a:gd name="connsiteY2" fmla="*/ 6281308 h 6281308"/>
              <a:gd name="connsiteX3" fmla="*/ 0 w 4552950"/>
              <a:gd name="connsiteY3" fmla="*/ 6281308 h 6281308"/>
              <a:gd name="connsiteX4" fmla="*/ 0 w 4552950"/>
              <a:gd name="connsiteY4" fmla="*/ 0 h 6281308"/>
              <a:gd name="connsiteX0" fmla="*/ 0 w 4552950"/>
              <a:gd name="connsiteY0" fmla="*/ 0 h 6281308"/>
              <a:gd name="connsiteX1" fmla="*/ 1685925 w 4552950"/>
              <a:gd name="connsiteY1" fmla="*/ 0 h 6281308"/>
              <a:gd name="connsiteX2" fmla="*/ 4552950 w 4552950"/>
              <a:gd name="connsiteY2" fmla="*/ 6281308 h 6281308"/>
              <a:gd name="connsiteX3" fmla="*/ 0 w 4552950"/>
              <a:gd name="connsiteY3" fmla="*/ 6281308 h 6281308"/>
              <a:gd name="connsiteX4" fmla="*/ 0 w 4552950"/>
              <a:gd name="connsiteY4" fmla="*/ 0 h 6281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2950" h="6281308">
                <a:moveTo>
                  <a:pt x="0" y="0"/>
                </a:moveTo>
                <a:lnTo>
                  <a:pt x="1685925" y="0"/>
                </a:lnTo>
                <a:lnTo>
                  <a:pt x="4552950" y="6281308"/>
                </a:lnTo>
                <a:lnTo>
                  <a:pt x="0" y="6281308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Obdélník 1"/>
          <p:cNvSpPr/>
          <p:nvPr/>
        </p:nvSpPr>
        <p:spPr>
          <a:xfrm>
            <a:off x="10734703" y="4816610"/>
            <a:ext cx="132785" cy="457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22724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Zástupný symbol pro text 1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73100" y="504825"/>
            <a:ext cx="9445625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cs-CZ" altLang="cs-CZ" smtClean="0"/>
              <a:t>SAMONEHODY CYKLISTŮ</a:t>
            </a:r>
          </a:p>
        </p:txBody>
      </p:sp>
      <p:sp>
        <p:nvSpPr>
          <p:cNvPr id="17411" name="Zástupný symbol pro text 2"/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673100" y="5741988"/>
            <a:ext cx="9445625" cy="6064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endParaRPr lang="cs-CZ" altLang="cs-CZ" smtClean="0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D1D18533-8710-4A8A-B780-3985B8D773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3100" y="1552575"/>
            <a:ext cx="10947400" cy="3935413"/>
          </a:xfrm>
        </p:spPr>
        <p:txBody>
          <a:bodyPr/>
          <a:lstStyle/>
          <a:p>
            <a:pPr>
              <a:defRPr/>
            </a:pPr>
            <a:r>
              <a:rPr lang="cs-CZ" dirty="0"/>
              <a:t>Od roku 2019 došlo k 17 246 nehodám s účastí cyklisty.</a:t>
            </a:r>
          </a:p>
          <a:p>
            <a:pPr>
              <a:defRPr/>
            </a:pPr>
            <a:r>
              <a:rPr lang="cs-CZ" dirty="0"/>
              <a:t>Za viníka byl cyklista označen v 11 tisících případech,</a:t>
            </a:r>
          </a:p>
          <a:p>
            <a:pPr marL="0" indent="271463">
              <a:buFont typeface=".AppleSystemUIFont" charset="-120"/>
              <a:buNone/>
              <a:defRPr/>
            </a:pPr>
            <a:r>
              <a:rPr lang="cs-CZ" dirty="0"/>
              <a:t>více než polovinu tvořily tzv. </a:t>
            </a:r>
            <a:r>
              <a:rPr lang="cs-CZ" dirty="0" err="1"/>
              <a:t>samonehody</a:t>
            </a:r>
            <a:r>
              <a:rPr lang="cs-CZ" dirty="0"/>
              <a:t>.</a:t>
            </a:r>
          </a:p>
          <a:p>
            <a:pPr>
              <a:defRPr/>
            </a:pPr>
            <a:r>
              <a:rPr lang="cs-CZ" dirty="0"/>
              <a:t>Většina z nich skončila lehkým zraněním cyklisty.</a:t>
            </a:r>
          </a:p>
          <a:p>
            <a:pPr marL="0" indent="0">
              <a:buFont typeface=".AppleSystemUIFont" charset="-120"/>
              <a:buNone/>
              <a:defRPr/>
            </a:pPr>
            <a:endParaRPr lang="cs-CZ" dirty="0"/>
          </a:p>
          <a:p>
            <a:pPr marL="239713" indent="-239713">
              <a:buFont typeface=".AppleSystemUIFont"/>
              <a:buChar char="–"/>
              <a:defRPr/>
            </a:pPr>
            <a:r>
              <a:rPr lang="cs-CZ" altLang="cs-CZ" dirty="0"/>
              <a:t>Nejvyšší riziko </a:t>
            </a:r>
            <a:r>
              <a:rPr lang="cs-CZ" altLang="cs-CZ" dirty="0" err="1"/>
              <a:t>samonehody</a:t>
            </a:r>
            <a:r>
              <a:rPr lang="cs-CZ" altLang="cs-CZ" dirty="0"/>
              <a:t> mají cyklisté ve věku kolem 50 až 65 let.</a:t>
            </a:r>
          </a:p>
          <a:p>
            <a:pPr marL="239713" indent="-239713">
              <a:buFont typeface=".AppleSystemUIFont"/>
              <a:buChar char="–"/>
              <a:defRPr/>
            </a:pPr>
            <a:r>
              <a:rPr lang="cs-CZ" altLang="cs-CZ" dirty="0"/>
              <a:t>S věkem významně stoupá riziko těžkých zranění a úmrtí.</a:t>
            </a:r>
          </a:p>
          <a:p>
            <a:pPr>
              <a:defRPr/>
            </a:pPr>
            <a:r>
              <a:rPr lang="cs-CZ" altLang="cs-CZ" dirty="0"/>
              <a:t>S rostoucím věkem zásadně klesá podíl nehod kvůli nepřiměřené rychlosti, naopak narůstá nedání přednosti v jízdě.</a:t>
            </a:r>
          </a:p>
          <a:p>
            <a:pPr>
              <a:defRPr/>
            </a:pPr>
            <a:endParaRPr lang="cs-CZ" dirty="0"/>
          </a:p>
          <a:p>
            <a:pPr>
              <a:defRPr/>
            </a:pPr>
            <a:endParaRPr lang="cs-CZ" dirty="0"/>
          </a:p>
        </p:txBody>
      </p:sp>
      <p:graphicFrame>
        <p:nvGraphicFramePr>
          <p:cNvPr id="5" name="Tabulka 4"/>
          <p:cNvGraphicFramePr>
            <a:graphicFrameLocks noGrp="1"/>
          </p:cNvGraphicFramePr>
          <p:nvPr/>
        </p:nvGraphicFramePr>
        <p:xfrm>
          <a:off x="6302375" y="1322388"/>
          <a:ext cx="5318125" cy="1704978"/>
        </p:xfrm>
        <a:graphic>
          <a:graphicData uri="http://schemas.openxmlformats.org/drawingml/2006/table">
            <a:tbl>
              <a:tblPr/>
              <a:tblGrid>
                <a:gridCol w="1927225">
                  <a:extLst>
                    <a:ext uri="{9D8B030D-6E8A-4147-A177-3AD203B41FA5}">
                      <a16:colId xmlns:a16="http://schemas.microsoft.com/office/drawing/2014/main" val="1624402584"/>
                    </a:ext>
                  </a:extLst>
                </a:gridCol>
                <a:gridCol w="1228725">
                  <a:extLst>
                    <a:ext uri="{9D8B030D-6E8A-4147-A177-3AD203B41FA5}">
                      <a16:colId xmlns:a16="http://schemas.microsoft.com/office/drawing/2014/main" val="3052847474"/>
                    </a:ext>
                  </a:extLst>
                </a:gridCol>
                <a:gridCol w="1228725">
                  <a:extLst>
                    <a:ext uri="{9D8B030D-6E8A-4147-A177-3AD203B41FA5}">
                      <a16:colId xmlns:a16="http://schemas.microsoft.com/office/drawing/2014/main" val="636012455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3463816700"/>
                    </a:ext>
                  </a:extLst>
                </a:gridCol>
              </a:tblGrid>
              <a:tr h="411163"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Roky 2019 – 20. 4. 2023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Všechny nehody s účastí cyklisty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Z toho nehody zaviněné cyklisty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Z toho samonehody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281311"/>
                  </a:ext>
                </a:extLst>
              </a:tr>
              <a:tr h="258763"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Lehké zranění cyklisty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12 512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8 116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5 098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9063430"/>
                  </a:ext>
                </a:extLst>
              </a:tr>
              <a:tr h="258763"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Těžké zranění cyklisty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1292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612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365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5066460"/>
                  </a:ext>
                </a:extLst>
              </a:tr>
              <a:tr h="258763"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Úmrtí cyklisty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230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130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68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408191"/>
                  </a:ext>
                </a:extLst>
              </a:tr>
              <a:tr h="258763"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Bez zranění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3 212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1 864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377</a:t>
                      </a: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575621"/>
                  </a:ext>
                </a:extLst>
              </a:tr>
              <a:tr h="258763"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Celkem</a:t>
                      </a:r>
                      <a:endParaRPr kumimoji="0" lang="cs-CZ" altLang="cs-CZ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5AA0"/>
                        </a:solidFill>
                        <a:effectLst/>
                        <a:latin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17 246</a:t>
                      </a:r>
                      <a:endParaRPr kumimoji="0" lang="cs-CZ" altLang="cs-CZ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5AA0"/>
                        </a:solidFill>
                        <a:effectLst/>
                        <a:latin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10 722</a:t>
                      </a:r>
                      <a:endParaRPr kumimoji="0" lang="cs-CZ" altLang="cs-CZ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5AA0"/>
                        </a:solidFill>
                        <a:effectLst/>
                        <a:latin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defTabSz="91281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 marL="4556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 marL="9128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 marL="13700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 marL="1827213" defTabSz="912813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marL="22844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marL="27416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marL="31988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marL="3656013" indent="-36513" defTabSz="912813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r" defTabSz="91281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5AA0"/>
                          </a:solidFill>
                          <a:effectLst/>
                          <a:latin typeface="Arial" panose="020B0604020202020204" pitchFamily="34" charset="0"/>
                          <a:cs typeface="Calibri" panose="020F0502020204030204" pitchFamily="34" charset="0"/>
                        </a:rPr>
                        <a:t>5 908</a:t>
                      </a:r>
                      <a:endParaRPr kumimoji="0" lang="cs-CZ" altLang="cs-CZ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5AA0"/>
                        </a:solidFill>
                        <a:effectLst/>
                        <a:latin typeface="Arial" panose="020B060402020202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 horzOverflow="overflow">
                    <a:lnL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ED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ED300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1398071"/>
                  </a:ext>
                </a:extLst>
              </a:tr>
            </a:tbl>
          </a:graphicData>
        </a:graphic>
      </p:graphicFrame>
      <p:graphicFrame>
        <p:nvGraphicFramePr>
          <p:cNvPr id="7" name="Graf 6">
            <a:extLst>
              <a:ext uri="{FF2B5EF4-FFF2-40B4-BE49-F238E27FC236}">
                <a16:creationId xmlns:a16="http://schemas.microsoft.com/office/drawing/2014/main" id="{A6DA5FD7-A81E-4FA5-BAE0-72BF3AB21503}"/>
              </a:ext>
            </a:extLst>
          </p:cNvPr>
          <p:cNvGraphicFramePr>
            <a:graphicFrameLocks/>
          </p:cNvGraphicFramePr>
          <p:nvPr/>
        </p:nvGraphicFramePr>
        <p:xfrm>
          <a:off x="1400282" y="3940804"/>
          <a:ext cx="8616779" cy="2729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67699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Zástupný symbol pro text 1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73100" y="504825"/>
            <a:ext cx="9445625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cs-CZ" altLang="cs-CZ" smtClean="0"/>
              <a:t>STOUPÁ POČET ELEKTRONEHOD</a:t>
            </a:r>
          </a:p>
        </p:txBody>
      </p:sp>
      <p:sp>
        <p:nvSpPr>
          <p:cNvPr id="18435" name="Zástupný symbol pro text 2"/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673100" y="5741988"/>
            <a:ext cx="9445625" cy="6064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endParaRPr lang="cs-CZ" altLang="cs-CZ" smtClean="0"/>
          </a:p>
        </p:txBody>
      </p:sp>
      <p:sp>
        <p:nvSpPr>
          <p:cNvPr id="18436" name="Zástupný symbol pro text 3"/>
          <p:cNvSpPr>
            <a:spLocks noGrp="1" noChangeArrowheads="1"/>
          </p:cNvSpPr>
          <p:nvPr>
            <p:ph type="body" sz="quarter" idx="12"/>
          </p:nvPr>
        </p:nvSpPr>
        <p:spPr bwMode="auto">
          <a:xfrm>
            <a:off x="673100" y="1552575"/>
            <a:ext cx="10947400" cy="39354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pPr marL="239713" indent="-239713">
              <a:buFont typeface=".AppleSystemUIFont"/>
              <a:buChar char="–"/>
            </a:pPr>
            <a:r>
              <a:rPr lang="cs-CZ" altLang="cs-CZ" smtClean="0"/>
              <a:t>Stoupá počet nehod na koloběžkách – za posledních 5 let vzrostl 10krát.</a:t>
            </a:r>
          </a:p>
          <a:p>
            <a:pPr marL="239713" indent="-239713">
              <a:buFont typeface=".AppleSystemUIFont"/>
              <a:buChar char="–"/>
            </a:pPr>
            <a:r>
              <a:rPr lang="cs-CZ" altLang="cs-CZ" smtClean="0"/>
              <a:t>Především u elektrokoloběžek, kde činil v roce 2022 meziroční růst 68 % (u klasických koloběžek 28 %).</a:t>
            </a:r>
          </a:p>
          <a:p>
            <a:pPr marL="239713" indent="-239713">
              <a:buFont typeface=".AppleSystemUIFont"/>
              <a:buChar char="–"/>
            </a:pPr>
            <a:r>
              <a:rPr lang="cs-CZ" altLang="cs-CZ" b="1" smtClean="0"/>
              <a:t>Počet nehod na elektrokoloběžkách tvoří 223 % oproti těm na běžných koloběžkách!</a:t>
            </a:r>
          </a:p>
          <a:p>
            <a:pPr marL="239713" indent="-239713">
              <a:buFont typeface=".AppleSystemUIFont"/>
              <a:buChar char="–"/>
            </a:pPr>
            <a:endParaRPr lang="cs-CZ" altLang="cs-CZ" smtClean="0"/>
          </a:p>
          <a:p>
            <a:pPr marL="239713" indent="-239713">
              <a:buFont typeface=".AppleSystemUIFont"/>
              <a:buChar char="–"/>
            </a:pPr>
            <a:r>
              <a:rPr lang="cs-CZ" altLang="cs-CZ" smtClean="0"/>
              <a:t>Nehody na elektrokolech činí asi 13 % všech nehod na kolech – část nehod na klasických kolech se přesouvá do segmentu elektrokol.</a:t>
            </a:r>
          </a:p>
          <a:p>
            <a:pPr marL="239713" indent="-239713">
              <a:buFont typeface=".AppleSystemUIFont"/>
              <a:buChar char="–"/>
            </a:pPr>
            <a:endParaRPr lang="cs-CZ" altLang="cs-CZ" smtClean="0"/>
          </a:p>
        </p:txBody>
      </p:sp>
      <p:graphicFrame>
        <p:nvGraphicFramePr>
          <p:cNvPr id="5" name="Graf 4">
            <a:extLst>
              <a:ext uri="{FF2B5EF4-FFF2-40B4-BE49-F238E27FC236}">
                <a16:creationId xmlns:a16="http://schemas.microsoft.com/office/drawing/2014/main" id="{BEF711F9-D72F-4CD9-A7BE-AAD494C77FF1}"/>
              </a:ext>
            </a:extLst>
          </p:cNvPr>
          <p:cNvGraphicFramePr>
            <a:graphicFrameLocks/>
          </p:cNvGraphicFramePr>
          <p:nvPr/>
        </p:nvGraphicFramePr>
        <p:xfrm>
          <a:off x="787496" y="2900516"/>
          <a:ext cx="10718296" cy="3597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00442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Zástupný symbol pro text 1"/>
          <p:cNvSpPr>
            <a:spLocks noGrp="1" noChangeArrowheads="1"/>
          </p:cNvSpPr>
          <p:nvPr>
            <p:ph type="body" sz="quarter" idx="10"/>
          </p:nvPr>
        </p:nvSpPr>
        <p:spPr bwMode="auto">
          <a:xfrm>
            <a:off x="673100" y="504825"/>
            <a:ext cx="9445625" cy="7921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cs-CZ" altLang="cs-CZ" smtClean="0"/>
              <a:t>NOVÁ PRAVIDLA</a:t>
            </a:r>
          </a:p>
        </p:txBody>
      </p:sp>
      <p:sp>
        <p:nvSpPr>
          <p:cNvPr id="19459" name="Zástupný symbol pro text 2"/>
          <p:cNvSpPr>
            <a:spLocks noGrp="1" noChangeArrowheads="1"/>
          </p:cNvSpPr>
          <p:nvPr>
            <p:ph type="body" sz="quarter" idx="11"/>
          </p:nvPr>
        </p:nvSpPr>
        <p:spPr bwMode="auto">
          <a:xfrm>
            <a:off x="673100" y="5741988"/>
            <a:ext cx="9445625" cy="6064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endParaRPr lang="cs-CZ" altLang="cs-CZ" smtClean="0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6F05425B-8C80-43B5-82D8-56E4A826FA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3100" y="1552575"/>
            <a:ext cx="10947400" cy="3935413"/>
          </a:xfrm>
        </p:spPr>
        <p:txBody>
          <a:bodyPr/>
          <a:lstStyle/>
          <a:p>
            <a:pPr>
              <a:defRPr/>
            </a:pPr>
            <a:r>
              <a:rPr lang="cs-CZ" dirty="0"/>
              <a:t>Motorová směrnice Evropského parlamentu a Rady 2021/2118.</a:t>
            </a:r>
          </a:p>
          <a:p>
            <a:pPr>
              <a:defRPr/>
            </a:pPr>
            <a:endParaRPr lang="cs-CZ" dirty="0"/>
          </a:p>
          <a:p>
            <a:pPr marL="0" indent="0">
              <a:buFont typeface=".AppleSystemUIFont" charset="-120"/>
              <a:buNone/>
              <a:defRPr/>
            </a:pPr>
            <a:r>
              <a:rPr lang="cs-CZ" dirty="0"/>
              <a:t>		povinné pojištění odpovědnosti z provozu vozidla, tzv. </a:t>
            </a:r>
            <a:r>
              <a:rPr lang="cs-CZ" b="1" dirty="0"/>
              <a:t>povinné ručení</a:t>
            </a:r>
          </a:p>
          <a:p>
            <a:pPr marL="0" indent="0">
              <a:buFont typeface=".AppleSystemUIFont" charset="-120"/>
              <a:buNone/>
              <a:defRPr/>
            </a:pPr>
            <a:endParaRPr lang="cs-CZ" dirty="0"/>
          </a:p>
          <a:p>
            <a:pPr>
              <a:defRPr/>
            </a:pPr>
            <a:r>
              <a:rPr lang="cs-CZ" dirty="0"/>
              <a:t>Týká se </a:t>
            </a:r>
            <a:r>
              <a:rPr lang="cs-CZ" dirty="0" err="1"/>
              <a:t>elektrokoloběžek</a:t>
            </a:r>
            <a:r>
              <a:rPr lang="cs-CZ" dirty="0"/>
              <a:t> s elektrickým motorem překračující rychlost 25 km/hod. nebo na ty, které váží víc než 25 kg a zároveň jezdí rychleji než 14 km/hod.</a:t>
            </a:r>
          </a:p>
          <a:p>
            <a:pPr>
              <a:defRPr/>
            </a:pPr>
            <a:r>
              <a:rPr lang="cs-CZ" dirty="0"/>
              <a:t>Netýká se </a:t>
            </a:r>
            <a:r>
              <a:rPr lang="cs-CZ" dirty="0" err="1"/>
              <a:t>elektrokol</a:t>
            </a:r>
            <a:r>
              <a:rPr lang="cs-CZ" dirty="0"/>
              <a:t>, protože motor u nich má pouze doplňkovou funkci.</a:t>
            </a:r>
          </a:p>
          <a:p>
            <a:pPr>
              <a:defRPr/>
            </a:pPr>
            <a:r>
              <a:rPr lang="cs-CZ" dirty="0"/>
              <a:t>Cílem je </a:t>
            </a:r>
            <a:r>
              <a:rPr lang="cs-CZ" b="1" dirty="0"/>
              <a:t>nastavit pravidla pro odškodňování při nehodách</a:t>
            </a:r>
            <a:r>
              <a:rPr lang="cs-CZ" dirty="0"/>
              <a:t>, které u silných </a:t>
            </a:r>
            <a:r>
              <a:rPr lang="cs-CZ" dirty="0" err="1"/>
              <a:t>elektrokoloběžek</a:t>
            </a:r>
            <a:r>
              <a:rPr lang="cs-CZ" dirty="0"/>
              <a:t> mohou mít vážné následky na majetku i na zdraví.</a:t>
            </a:r>
          </a:p>
          <a:p>
            <a:pPr>
              <a:defRPr/>
            </a:pPr>
            <a:endParaRPr lang="cs-CZ" dirty="0"/>
          </a:p>
          <a:p>
            <a:pPr>
              <a:defRPr/>
            </a:pPr>
            <a:r>
              <a:rPr lang="cs-CZ" dirty="0"/>
              <a:t>Platnost </a:t>
            </a:r>
            <a:r>
              <a:rPr lang="cs-CZ" b="1" dirty="0"/>
              <a:t>od 1. 1. 2024</a:t>
            </a:r>
            <a:r>
              <a:rPr lang="cs-CZ" dirty="0"/>
              <a:t>.</a:t>
            </a:r>
          </a:p>
        </p:txBody>
      </p:sp>
      <p:sp>
        <p:nvSpPr>
          <p:cNvPr id="5" name="Šipka: doprava 4">
            <a:extLst>
              <a:ext uri="{FF2B5EF4-FFF2-40B4-BE49-F238E27FC236}">
                <a16:creationId xmlns:a16="http://schemas.microsoft.com/office/drawing/2014/main" id="{82E405BD-FEC2-43EE-9C6D-7E1904D477D8}"/>
              </a:ext>
            </a:extLst>
          </p:cNvPr>
          <p:cNvSpPr/>
          <p:nvPr/>
        </p:nvSpPr>
        <p:spPr>
          <a:xfrm>
            <a:off x="1062038" y="2092325"/>
            <a:ext cx="1228725" cy="296863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9462" name="TextovéPole 5"/>
          <p:cNvSpPr txBox="1">
            <a:spLocks noChangeArrowheads="1"/>
          </p:cNvSpPr>
          <p:nvPr/>
        </p:nvSpPr>
        <p:spPr bwMode="auto">
          <a:xfrm>
            <a:off x="9048750" y="1066800"/>
            <a:ext cx="717550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cs-CZ" altLang="cs-CZ" sz="8000" b="1">
                <a:solidFill>
                  <a:srgbClr val="005AA0"/>
                </a:solidFill>
              </a:rPr>
              <a:t>§</a:t>
            </a:r>
            <a:endParaRPr lang="cs-CZ" altLang="cs-CZ" sz="3600" b="1">
              <a:solidFill>
                <a:srgbClr val="005A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073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0482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0B07A39D-5EA8-4598-8469-0FC5C1856325}"/>
              </a:ext>
            </a:extLst>
          </p:cNvPr>
          <p:cNvSpPr/>
          <p:nvPr/>
        </p:nvSpPr>
        <p:spPr>
          <a:xfrm>
            <a:off x="673100" y="4052888"/>
            <a:ext cx="10571163" cy="531812"/>
          </a:xfrm>
          <a:prstGeom prst="rect">
            <a:avLst/>
          </a:prstGeom>
          <a:solidFill>
            <a:srgbClr val="1267A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sz="1200" dirty="0"/>
          </a:p>
        </p:txBody>
      </p:sp>
      <p:grpSp>
        <p:nvGrpSpPr>
          <p:cNvPr id="32" name="Group 36">
            <a:extLst>
              <a:ext uri="{FF2B5EF4-FFF2-40B4-BE49-F238E27FC236}">
                <a16:creationId xmlns:a16="http://schemas.microsoft.com/office/drawing/2014/main" id="{406CFD25-496C-4333-A2AF-748BD7F2FC6B}"/>
              </a:ext>
            </a:extLst>
          </p:cNvPr>
          <p:cNvGrpSpPr/>
          <p:nvPr/>
        </p:nvGrpSpPr>
        <p:grpSpPr>
          <a:xfrm>
            <a:off x="2483583" y="3037321"/>
            <a:ext cx="691858" cy="732838"/>
            <a:chOff x="2874046" y="3860800"/>
            <a:chExt cx="1648545" cy="1529395"/>
          </a:xfrm>
          <a:solidFill>
            <a:schemeClr val="bg1">
              <a:lumMod val="85000"/>
            </a:schemeClr>
          </a:solidFill>
        </p:grpSpPr>
        <p:sp>
          <p:nvSpPr>
            <p:cNvPr id="36" name="Shape">
              <a:extLst>
                <a:ext uri="{FF2B5EF4-FFF2-40B4-BE49-F238E27FC236}">
                  <a16:creationId xmlns:a16="http://schemas.microsoft.com/office/drawing/2014/main" id="{B68B9E7F-67E0-44AF-8398-D5C60B381560}"/>
                </a:ext>
              </a:extLst>
            </p:cNvPr>
            <p:cNvSpPr/>
            <p:nvPr/>
          </p:nvSpPr>
          <p:spPr>
            <a:xfrm>
              <a:off x="2874046" y="3962400"/>
              <a:ext cx="1648545" cy="10722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8" h="21506" extrusionOk="0">
                  <a:moveTo>
                    <a:pt x="21535" y="11241"/>
                  </a:moveTo>
                  <a:cubicBezTo>
                    <a:pt x="21535" y="11241"/>
                    <a:pt x="14905" y="12056"/>
                    <a:pt x="12097" y="11827"/>
                  </a:cubicBezTo>
                  <a:cubicBezTo>
                    <a:pt x="9289" y="11598"/>
                    <a:pt x="8442" y="11445"/>
                    <a:pt x="7993" y="10833"/>
                  </a:cubicBezTo>
                  <a:cubicBezTo>
                    <a:pt x="7545" y="10222"/>
                    <a:pt x="7063" y="8057"/>
                    <a:pt x="6963" y="7598"/>
                  </a:cubicBezTo>
                  <a:cubicBezTo>
                    <a:pt x="6880" y="7114"/>
                    <a:pt x="6614" y="6376"/>
                    <a:pt x="6265" y="5815"/>
                  </a:cubicBezTo>
                  <a:cubicBezTo>
                    <a:pt x="5916" y="5281"/>
                    <a:pt x="5119" y="3421"/>
                    <a:pt x="4936" y="2377"/>
                  </a:cubicBezTo>
                  <a:cubicBezTo>
                    <a:pt x="4770" y="1307"/>
                    <a:pt x="4737" y="110"/>
                    <a:pt x="4288" y="8"/>
                  </a:cubicBezTo>
                  <a:cubicBezTo>
                    <a:pt x="3839" y="-94"/>
                    <a:pt x="3258" y="874"/>
                    <a:pt x="3191" y="1485"/>
                  </a:cubicBezTo>
                  <a:cubicBezTo>
                    <a:pt x="3125" y="2097"/>
                    <a:pt x="3191" y="3472"/>
                    <a:pt x="3590" y="4491"/>
                  </a:cubicBezTo>
                  <a:cubicBezTo>
                    <a:pt x="3989" y="5510"/>
                    <a:pt x="4305" y="7318"/>
                    <a:pt x="4138" y="7700"/>
                  </a:cubicBezTo>
                  <a:cubicBezTo>
                    <a:pt x="3972" y="8082"/>
                    <a:pt x="3839" y="8566"/>
                    <a:pt x="2959" y="8592"/>
                  </a:cubicBezTo>
                  <a:cubicBezTo>
                    <a:pt x="2078" y="8617"/>
                    <a:pt x="1148" y="8388"/>
                    <a:pt x="699" y="9076"/>
                  </a:cubicBezTo>
                  <a:cubicBezTo>
                    <a:pt x="250" y="9764"/>
                    <a:pt x="84" y="10502"/>
                    <a:pt x="583" y="11164"/>
                  </a:cubicBezTo>
                  <a:cubicBezTo>
                    <a:pt x="583" y="11164"/>
                    <a:pt x="34" y="11547"/>
                    <a:pt x="1" y="12464"/>
                  </a:cubicBezTo>
                  <a:cubicBezTo>
                    <a:pt x="-32" y="13381"/>
                    <a:pt x="699" y="13763"/>
                    <a:pt x="699" y="13763"/>
                  </a:cubicBezTo>
                  <a:cubicBezTo>
                    <a:pt x="699" y="13763"/>
                    <a:pt x="151" y="13966"/>
                    <a:pt x="151" y="14756"/>
                  </a:cubicBezTo>
                  <a:cubicBezTo>
                    <a:pt x="151" y="15546"/>
                    <a:pt x="633" y="16055"/>
                    <a:pt x="1065" y="16182"/>
                  </a:cubicBezTo>
                  <a:cubicBezTo>
                    <a:pt x="1065" y="16182"/>
                    <a:pt x="649" y="16845"/>
                    <a:pt x="898" y="17456"/>
                  </a:cubicBezTo>
                  <a:cubicBezTo>
                    <a:pt x="1131" y="18067"/>
                    <a:pt x="1962" y="18602"/>
                    <a:pt x="2876" y="18857"/>
                  </a:cubicBezTo>
                  <a:cubicBezTo>
                    <a:pt x="3790" y="19086"/>
                    <a:pt x="5036" y="19137"/>
                    <a:pt x="5950" y="18857"/>
                  </a:cubicBezTo>
                  <a:cubicBezTo>
                    <a:pt x="6863" y="18577"/>
                    <a:pt x="7262" y="18373"/>
                    <a:pt x="8060" y="18628"/>
                  </a:cubicBezTo>
                  <a:cubicBezTo>
                    <a:pt x="8841" y="18857"/>
                    <a:pt x="17314" y="20920"/>
                    <a:pt x="21568" y="21506"/>
                  </a:cubicBezTo>
                  <a:lnTo>
                    <a:pt x="21568" y="1124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algn="ctr" eaLnBrk="1" hangingPunct="1">
                <a:defRPr sz="3000">
                  <a:solidFill>
                    <a:srgbClr val="FFFFFF"/>
                  </a:solidFill>
                </a:defRPr>
              </a:pPr>
              <a:endParaRPr sz="1200" dirty="0">
                <a:solidFill>
                  <a:srgbClr val="FFFFFF"/>
                </a:solidFill>
                <a:cs typeface="+mn-cs"/>
              </a:endParaRPr>
            </a:p>
          </p:txBody>
        </p:sp>
        <p:sp>
          <p:nvSpPr>
            <p:cNvPr id="37" name="Shape">
              <a:extLst>
                <a:ext uri="{FF2B5EF4-FFF2-40B4-BE49-F238E27FC236}">
                  <a16:creationId xmlns:a16="http://schemas.microsoft.com/office/drawing/2014/main" id="{BEBE302D-2D0F-427E-BB9D-BA5A33F2218F}"/>
                </a:ext>
              </a:extLst>
            </p:cNvPr>
            <p:cNvSpPr/>
            <p:nvPr/>
          </p:nvSpPr>
          <p:spPr>
            <a:xfrm>
              <a:off x="3293116" y="3860800"/>
              <a:ext cx="1229475" cy="74198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7" h="21498" extrusionOk="0">
                  <a:moveTo>
                    <a:pt x="21535" y="11305"/>
                  </a:moveTo>
                  <a:cubicBezTo>
                    <a:pt x="21535" y="11305"/>
                    <a:pt x="14253" y="12115"/>
                    <a:pt x="11581" y="11894"/>
                  </a:cubicBezTo>
                  <a:cubicBezTo>
                    <a:pt x="8909" y="11673"/>
                    <a:pt x="8085" y="11526"/>
                    <a:pt x="7662" y="10900"/>
                  </a:cubicBezTo>
                  <a:cubicBezTo>
                    <a:pt x="7216" y="10275"/>
                    <a:pt x="6771" y="8104"/>
                    <a:pt x="6682" y="7625"/>
                  </a:cubicBezTo>
                  <a:cubicBezTo>
                    <a:pt x="6593" y="7147"/>
                    <a:pt x="6348" y="6374"/>
                    <a:pt x="6014" y="5822"/>
                  </a:cubicBezTo>
                  <a:cubicBezTo>
                    <a:pt x="5680" y="5270"/>
                    <a:pt x="4901" y="3431"/>
                    <a:pt x="4745" y="2363"/>
                  </a:cubicBezTo>
                  <a:cubicBezTo>
                    <a:pt x="4589" y="1296"/>
                    <a:pt x="4566" y="82"/>
                    <a:pt x="4121" y="8"/>
                  </a:cubicBezTo>
                  <a:cubicBezTo>
                    <a:pt x="3676" y="-102"/>
                    <a:pt x="3141" y="855"/>
                    <a:pt x="3075" y="1480"/>
                  </a:cubicBezTo>
                  <a:cubicBezTo>
                    <a:pt x="3008" y="2106"/>
                    <a:pt x="3075" y="3467"/>
                    <a:pt x="3453" y="4498"/>
                  </a:cubicBezTo>
                  <a:cubicBezTo>
                    <a:pt x="3832" y="5528"/>
                    <a:pt x="4143" y="7368"/>
                    <a:pt x="3965" y="7736"/>
                  </a:cubicBezTo>
                  <a:cubicBezTo>
                    <a:pt x="3787" y="8104"/>
                    <a:pt x="3676" y="8582"/>
                    <a:pt x="2830" y="8619"/>
                  </a:cubicBezTo>
                  <a:cubicBezTo>
                    <a:pt x="1983" y="8656"/>
                    <a:pt x="1093" y="8398"/>
                    <a:pt x="670" y="9097"/>
                  </a:cubicBezTo>
                  <a:cubicBezTo>
                    <a:pt x="224" y="9796"/>
                    <a:pt x="91" y="10532"/>
                    <a:pt x="558" y="11195"/>
                  </a:cubicBezTo>
                  <a:cubicBezTo>
                    <a:pt x="558" y="11195"/>
                    <a:pt x="46" y="11563"/>
                    <a:pt x="2" y="12483"/>
                  </a:cubicBezTo>
                  <a:cubicBezTo>
                    <a:pt x="-43" y="13403"/>
                    <a:pt x="670" y="13771"/>
                    <a:pt x="670" y="13771"/>
                  </a:cubicBezTo>
                  <a:cubicBezTo>
                    <a:pt x="670" y="13771"/>
                    <a:pt x="157" y="13991"/>
                    <a:pt x="157" y="14764"/>
                  </a:cubicBezTo>
                  <a:cubicBezTo>
                    <a:pt x="157" y="15537"/>
                    <a:pt x="625" y="16052"/>
                    <a:pt x="1026" y="16199"/>
                  </a:cubicBezTo>
                  <a:cubicBezTo>
                    <a:pt x="1026" y="16199"/>
                    <a:pt x="625" y="16862"/>
                    <a:pt x="870" y="17487"/>
                  </a:cubicBezTo>
                  <a:cubicBezTo>
                    <a:pt x="1093" y="18113"/>
                    <a:pt x="1894" y="18665"/>
                    <a:pt x="2763" y="18885"/>
                  </a:cubicBezTo>
                  <a:cubicBezTo>
                    <a:pt x="3631" y="19143"/>
                    <a:pt x="4811" y="19143"/>
                    <a:pt x="5702" y="18885"/>
                  </a:cubicBezTo>
                  <a:cubicBezTo>
                    <a:pt x="6571" y="18628"/>
                    <a:pt x="6971" y="18407"/>
                    <a:pt x="7706" y="18628"/>
                  </a:cubicBezTo>
                  <a:cubicBezTo>
                    <a:pt x="8463" y="18885"/>
                    <a:pt x="17504" y="20946"/>
                    <a:pt x="21557" y="21498"/>
                  </a:cubicBezTo>
                  <a:lnTo>
                    <a:pt x="21557" y="11305"/>
                  </a:lnTo>
                  <a:close/>
                </a:path>
              </a:pathLst>
            </a:custGeom>
            <a:grpFill/>
            <a:ln w="12700">
              <a:miter lim="400000"/>
            </a:ln>
            <a:effectLst>
              <a:outerShdw blurRad="127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38100" tIns="38100" rIns="38100" bIns="38100" anchor="ctr"/>
            <a:lstStyle/>
            <a:p>
              <a:pPr algn="ctr" eaLnBrk="1" hangingPunct="1">
                <a:defRPr sz="3000">
                  <a:solidFill>
                    <a:srgbClr val="FFFFFF"/>
                  </a:solidFill>
                </a:defRPr>
              </a:pPr>
              <a:endParaRPr sz="1200" dirty="0">
                <a:solidFill>
                  <a:srgbClr val="FFFFFF"/>
                </a:solidFill>
                <a:cs typeface="+mn-cs"/>
              </a:endParaRPr>
            </a:p>
          </p:txBody>
        </p:sp>
        <p:sp>
          <p:nvSpPr>
            <p:cNvPr id="38" name="Shape">
              <a:extLst>
                <a:ext uri="{FF2B5EF4-FFF2-40B4-BE49-F238E27FC236}">
                  <a16:creationId xmlns:a16="http://schemas.microsoft.com/office/drawing/2014/main" id="{42E70C51-7C04-445E-88DA-3E4F6FCDC399}"/>
                </a:ext>
              </a:extLst>
            </p:cNvPr>
            <p:cNvSpPr/>
            <p:nvPr/>
          </p:nvSpPr>
          <p:spPr>
            <a:xfrm>
              <a:off x="3124199" y="4660899"/>
              <a:ext cx="1398392" cy="7292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3" h="21497" extrusionOk="0">
                  <a:moveTo>
                    <a:pt x="21563" y="9855"/>
                  </a:moveTo>
                  <a:cubicBezTo>
                    <a:pt x="21563" y="9855"/>
                    <a:pt x="11713" y="11502"/>
                    <a:pt x="9500" y="11277"/>
                  </a:cubicBezTo>
                  <a:cubicBezTo>
                    <a:pt x="7307" y="11053"/>
                    <a:pt x="6641" y="10903"/>
                    <a:pt x="6288" y="10341"/>
                  </a:cubicBezTo>
                  <a:cubicBezTo>
                    <a:pt x="5936" y="9742"/>
                    <a:pt x="5564" y="7683"/>
                    <a:pt x="5485" y="7234"/>
                  </a:cubicBezTo>
                  <a:cubicBezTo>
                    <a:pt x="5427" y="6785"/>
                    <a:pt x="5211" y="6074"/>
                    <a:pt x="4937" y="5550"/>
                  </a:cubicBezTo>
                  <a:cubicBezTo>
                    <a:pt x="4663" y="5026"/>
                    <a:pt x="4036" y="3266"/>
                    <a:pt x="3899" y="2255"/>
                  </a:cubicBezTo>
                  <a:cubicBezTo>
                    <a:pt x="3762" y="1245"/>
                    <a:pt x="3743" y="122"/>
                    <a:pt x="3390" y="9"/>
                  </a:cubicBezTo>
                  <a:cubicBezTo>
                    <a:pt x="3038" y="-103"/>
                    <a:pt x="2587" y="833"/>
                    <a:pt x="2528" y="1394"/>
                  </a:cubicBezTo>
                  <a:cubicBezTo>
                    <a:pt x="2470" y="1993"/>
                    <a:pt x="2528" y="3266"/>
                    <a:pt x="2842" y="4277"/>
                  </a:cubicBezTo>
                  <a:cubicBezTo>
                    <a:pt x="3155" y="5250"/>
                    <a:pt x="3410" y="6972"/>
                    <a:pt x="3273" y="7347"/>
                  </a:cubicBezTo>
                  <a:cubicBezTo>
                    <a:pt x="3135" y="7721"/>
                    <a:pt x="3038" y="8170"/>
                    <a:pt x="2333" y="8208"/>
                  </a:cubicBezTo>
                  <a:cubicBezTo>
                    <a:pt x="1628" y="8245"/>
                    <a:pt x="923" y="8020"/>
                    <a:pt x="550" y="8657"/>
                  </a:cubicBezTo>
                  <a:cubicBezTo>
                    <a:pt x="198" y="9293"/>
                    <a:pt x="80" y="10042"/>
                    <a:pt x="472" y="10641"/>
                  </a:cubicBezTo>
                  <a:cubicBezTo>
                    <a:pt x="472" y="10641"/>
                    <a:pt x="41" y="11015"/>
                    <a:pt x="2" y="11876"/>
                  </a:cubicBezTo>
                  <a:cubicBezTo>
                    <a:pt x="-37" y="12775"/>
                    <a:pt x="550" y="13112"/>
                    <a:pt x="550" y="13112"/>
                  </a:cubicBezTo>
                  <a:cubicBezTo>
                    <a:pt x="550" y="13112"/>
                    <a:pt x="120" y="13299"/>
                    <a:pt x="120" y="14047"/>
                  </a:cubicBezTo>
                  <a:cubicBezTo>
                    <a:pt x="120" y="14796"/>
                    <a:pt x="492" y="15283"/>
                    <a:pt x="844" y="15433"/>
                  </a:cubicBezTo>
                  <a:cubicBezTo>
                    <a:pt x="844" y="15433"/>
                    <a:pt x="511" y="16069"/>
                    <a:pt x="707" y="16630"/>
                  </a:cubicBezTo>
                  <a:cubicBezTo>
                    <a:pt x="903" y="17192"/>
                    <a:pt x="1549" y="17716"/>
                    <a:pt x="2254" y="17941"/>
                  </a:cubicBezTo>
                  <a:cubicBezTo>
                    <a:pt x="2979" y="18165"/>
                    <a:pt x="3938" y="18203"/>
                    <a:pt x="4663" y="17941"/>
                  </a:cubicBezTo>
                  <a:cubicBezTo>
                    <a:pt x="5387" y="17679"/>
                    <a:pt x="5701" y="17491"/>
                    <a:pt x="6308" y="17716"/>
                  </a:cubicBezTo>
                  <a:cubicBezTo>
                    <a:pt x="6935" y="17941"/>
                    <a:pt x="18195" y="20935"/>
                    <a:pt x="21543" y="21497"/>
                  </a:cubicBezTo>
                  <a:lnTo>
                    <a:pt x="21563" y="9855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 w="12700">
              <a:miter lim="400000"/>
            </a:ln>
            <a:effectLst>
              <a:outerShdw blurRad="12700" dist="12700" dir="16200000" rotWithShape="0">
                <a:prstClr val="black">
                  <a:alpha val="40000"/>
                </a:prstClr>
              </a:outerShdw>
            </a:effectLst>
          </p:spPr>
          <p:txBody>
            <a:bodyPr lIns="38100" tIns="38100" rIns="38100" bIns="38100" anchor="ctr"/>
            <a:lstStyle/>
            <a:p>
              <a:pPr algn="ctr" eaLnBrk="1" hangingPunct="1">
                <a:defRPr sz="3000">
                  <a:solidFill>
                    <a:srgbClr val="FFFFFF"/>
                  </a:solidFill>
                </a:defRPr>
              </a:pPr>
              <a:endParaRPr sz="1200" dirty="0">
                <a:solidFill>
                  <a:srgbClr val="FFFFFF"/>
                </a:solidFill>
                <a:cs typeface="+mn-cs"/>
              </a:endParaRPr>
            </a:p>
          </p:txBody>
        </p:sp>
      </p:grp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C22B8C98-8502-4AEC-8D6A-FCFA386AF4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113" y="314325"/>
            <a:ext cx="9445625" cy="792163"/>
          </a:xfrm>
        </p:spPr>
        <p:txBody>
          <a:bodyPr/>
          <a:lstStyle/>
          <a:p>
            <a:pPr defTabSz="914310" eaLnBrk="1" fontAlgn="auto" hangingPunct="1">
              <a:spcAft>
                <a:spcPts val="0"/>
              </a:spcAft>
              <a:defRPr/>
            </a:pPr>
            <a:r>
              <a:rPr lang="cs-CZ" cap="all" dirty="0">
                <a:solidFill>
                  <a:srgbClr val="FBB900"/>
                </a:solidFill>
              </a:rPr>
              <a:t>FOND ZÁBRANY ŠKOD</a:t>
            </a:r>
          </a:p>
        </p:txBody>
      </p:sp>
      <p:sp>
        <p:nvSpPr>
          <p:cNvPr id="20486" name="Zástupný text 3"/>
          <p:cNvSpPr>
            <a:spLocks noGrp="1"/>
          </p:cNvSpPr>
          <p:nvPr>
            <p:ph type="body" sz="quarter" idx="12"/>
          </p:nvPr>
        </p:nvSpPr>
        <p:spPr bwMode="auto">
          <a:xfrm>
            <a:off x="682625" y="4618038"/>
            <a:ext cx="10947400" cy="2159000"/>
          </a:xfrm>
          <a:solidFill>
            <a:schemeClr val="bg1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/>
          <a:p>
            <a:pPr marL="0" indent="0" eaLnBrk="1" hangingPunct="1">
              <a:lnSpc>
                <a:spcPct val="90000"/>
              </a:lnSpc>
              <a:spcBef>
                <a:spcPts val="1000"/>
              </a:spcBef>
              <a:buFont typeface=".AppleSystemUIFont"/>
              <a:buNone/>
            </a:pPr>
            <a:r>
              <a:rPr lang="cs-CZ" altLang="cs-CZ" sz="1800" smtClean="0"/>
              <a:t>Z toho se rozdělilo:</a:t>
            </a:r>
          </a:p>
          <a:p>
            <a:pPr marL="741363" lvl="1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800" b="1" smtClean="0">
                <a:solidFill>
                  <a:srgbClr val="005AA0"/>
                </a:solidFill>
              </a:rPr>
              <a:t>nejméně 60 % ve výši  589 902 000 Kč na HZS,</a:t>
            </a:r>
          </a:p>
          <a:p>
            <a:pPr marL="741363" lvl="1" indent="-285750" eaLnBrk="1" hangingPunct="1">
              <a:buFont typeface="Arial" panose="020B0604020202020204" pitchFamily="34" charset="0"/>
              <a:buChar char="•"/>
            </a:pPr>
            <a:r>
              <a:rPr lang="cs-CZ" altLang="cs-CZ" sz="1800" b="1" smtClean="0">
                <a:solidFill>
                  <a:srgbClr val="005AA0"/>
                </a:solidFill>
              </a:rPr>
              <a:t>nejméně 15 % ve výši 147 475 000 Kč na IZS (PČR a ZZS),</a:t>
            </a:r>
          </a:p>
          <a:p>
            <a:pPr marL="741363" lvl="1" indent="-285750">
              <a:buFont typeface="Arial" panose="020B0604020202020204" pitchFamily="34" charset="0"/>
              <a:buChar char="•"/>
            </a:pPr>
            <a:r>
              <a:rPr lang="cs-CZ" altLang="cs-CZ" sz="1800" b="1" smtClean="0">
                <a:solidFill>
                  <a:srgbClr val="005AA0"/>
                </a:solidFill>
              </a:rPr>
              <a:t>nejméně 21 % ve výši 211 713 574 Kč na dopravně-bezpečnostní projekty. </a:t>
            </a:r>
            <a:endParaRPr lang="cs-CZ" altLang="cs-CZ" sz="1800" smtClean="0">
              <a:solidFill>
                <a:srgbClr val="005AA0"/>
              </a:solidFill>
            </a:endParaRPr>
          </a:p>
          <a:p>
            <a:pPr marL="0" indent="0">
              <a:lnSpc>
                <a:spcPct val="90000"/>
              </a:lnSpc>
              <a:spcBef>
                <a:spcPts val="1000"/>
              </a:spcBef>
              <a:buFont typeface=".AppleSystemUIFont"/>
              <a:buNone/>
            </a:pPr>
            <a:r>
              <a:rPr lang="cs-CZ" altLang="cs-CZ" sz="1800" smtClean="0"/>
              <a:t>Komise rozhodovala o </a:t>
            </a:r>
            <a:r>
              <a:rPr lang="cs-CZ" altLang="cs-CZ" sz="1800" b="1" smtClean="0"/>
              <a:t>53 dopravně-bezpečnostních projektech v celkové výši 363 mil. Kč</a:t>
            </a:r>
            <a:br>
              <a:rPr lang="cs-CZ" altLang="cs-CZ" sz="1800" b="1" smtClean="0"/>
            </a:br>
            <a:r>
              <a:rPr lang="cs-CZ" altLang="cs-CZ" sz="1800" smtClean="0"/>
              <a:t>(tj. projekty schválené vládou nebo dle programů Komise) a pro rok 2023 vybrala k realizaci celkem </a:t>
            </a:r>
            <a:br>
              <a:rPr lang="cs-CZ" altLang="cs-CZ" sz="1800" smtClean="0"/>
            </a:br>
            <a:r>
              <a:rPr lang="cs-CZ" altLang="cs-CZ" sz="1800" b="1" smtClean="0"/>
              <a:t>27 projektů </a:t>
            </a:r>
            <a:r>
              <a:rPr lang="cs-CZ" altLang="cs-CZ" sz="1800" smtClean="0"/>
              <a:t>v celkové výši </a:t>
            </a:r>
            <a:r>
              <a:rPr lang="cs-CZ" altLang="cs-CZ" sz="1800" b="1" smtClean="0"/>
              <a:t>212 mil. Kč. </a:t>
            </a:r>
            <a:endParaRPr lang="cs-CZ" altLang="cs-CZ" sz="1800" smtClean="0"/>
          </a:p>
        </p:txBody>
      </p:sp>
      <p:sp>
        <p:nvSpPr>
          <p:cNvPr id="18439" name="Obdélník: se zakulacenými rohy 79">
            <a:extLst>
              <a:ext uri="{FF2B5EF4-FFF2-40B4-BE49-F238E27FC236}">
                <a16:creationId xmlns:a16="http://schemas.microsoft.com/office/drawing/2014/main" id="{48E02CE0-B1D1-4BC2-B70C-BB3148B52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113" y="1263650"/>
            <a:ext cx="3538537" cy="1192213"/>
          </a:xfrm>
          <a:prstGeom prst="roundRect">
            <a:avLst>
              <a:gd name="adj" fmla="val 16667"/>
            </a:avLst>
          </a:prstGeom>
          <a:solidFill>
            <a:srgbClr val="FBB900"/>
          </a:solidFill>
          <a:ln w="9525">
            <a:solidFill>
              <a:srgbClr val="FABE00"/>
            </a:solidFill>
            <a:round/>
            <a:headEnd/>
            <a:tailEnd/>
          </a:ln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altLang="cs-CZ" sz="1600" b="1" dirty="0">
                <a:solidFill>
                  <a:schemeClr val="bg1"/>
                </a:solidFill>
              </a:rPr>
              <a:t>OBJEKTIVITA HODNOCENÍ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cs-CZ" altLang="cs-CZ" sz="1600" dirty="0">
                <a:solidFill>
                  <a:schemeClr val="bg1"/>
                </a:solidFill>
              </a:rPr>
              <a:t>dvě expertní skupiny hodnotitelů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cs-CZ" altLang="cs-CZ" sz="1600" dirty="0">
                <a:solidFill>
                  <a:schemeClr val="bg1"/>
                </a:solidFill>
              </a:rPr>
              <a:t>celkový výsledek hodnocení je váženým průměrem hodnocení </a:t>
            </a:r>
          </a:p>
        </p:txBody>
      </p:sp>
      <p:grpSp>
        <p:nvGrpSpPr>
          <p:cNvPr id="23" name="Group 32">
            <a:extLst>
              <a:ext uri="{FF2B5EF4-FFF2-40B4-BE49-F238E27FC236}">
                <a16:creationId xmlns:a16="http://schemas.microsoft.com/office/drawing/2014/main" id="{98FDC65F-D4D1-40B6-8833-0F45317B8FDF}"/>
              </a:ext>
            </a:extLst>
          </p:cNvPr>
          <p:cNvGrpSpPr/>
          <p:nvPr/>
        </p:nvGrpSpPr>
        <p:grpSpPr>
          <a:xfrm>
            <a:off x="1825846" y="3012989"/>
            <a:ext cx="638351" cy="746771"/>
            <a:chOff x="863599" y="3695700"/>
            <a:chExt cx="1925536" cy="1695885"/>
          </a:xfrm>
          <a:solidFill>
            <a:schemeClr val="bg2">
              <a:lumMod val="75000"/>
            </a:schemeClr>
          </a:solidFill>
        </p:grpSpPr>
        <p:sp>
          <p:nvSpPr>
            <p:cNvPr id="24" name="Shape">
              <a:extLst>
                <a:ext uri="{FF2B5EF4-FFF2-40B4-BE49-F238E27FC236}">
                  <a16:creationId xmlns:a16="http://schemas.microsoft.com/office/drawing/2014/main" id="{A93624C1-16BE-443A-9424-A1103D46F215}"/>
                </a:ext>
              </a:extLst>
            </p:cNvPr>
            <p:cNvSpPr/>
            <p:nvPr/>
          </p:nvSpPr>
          <p:spPr>
            <a:xfrm>
              <a:off x="863599" y="3695700"/>
              <a:ext cx="1496244" cy="10722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8" h="21506" extrusionOk="0">
                  <a:moveTo>
                    <a:pt x="37" y="11215"/>
                  </a:moveTo>
                  <a:cubicBezTo>
                    <a:pt x="37" y="11215"/>
                    <a:pt x="5176" y="12031"/>
                    <a:pt x="8249" y="11801"/>
                  </a:cubicBezTo>
                  <a:cubicBezTo>
                    <a:pt x="11321" y="11572"/>
                    <a:pt x="12272" y="11419"/>
                    <a:pt x="12766" y="10808"/>
                  </a:cubicBezTo>
                  <a:cubicBezTo>
                    <a:pt x="13260" y="10197"/>
                    <a:pt x="13790" y="8031"/>
                    <a:pt x="13882" y="7573"/>
                  </a:cubicBezTo>
                  <a:cubicBezTo>
                    <a:pt x="13973" y="7089"/>
                    <a:pt x="14266" y="6350"/>
                    <a:pt x="14650" y="5790"/>
                  </a:cubicBezTo>
                  <a:cubicBezTo>
                    <a:pt x="15034" y="5255"/>
                    <a:pt x="15912" y="3396"/>
                    <a:pt x="16113" y="2351"/>
                  </a:cubicBezTo>
                  <a:cubicBezTo>
                    <a:pt x="16296" y="1281"/>
                    <a:pt x="16333" y="110"/>
                    <a:pt x="16826" y="8"/>
                  </a:cubicBezTo>
                  <a:cubicBezTo>
                    <a:pt x="17320" y="-94"/>
                    <a:pt x="17960" y="874"/>
                    <a:pt x="18034" y="1485"/>
                  </a:cubicBezTo>
                  <a:cubicBezTo>
                    <a:pt x="18107" y="2097"/>
                    <a:pt x="18034" y="3472"/>
                    <a:pt x="17595" y="4491"/>
                  </a:cubicBezTo>
                  <a:cubicBezTo>
                    <a:pt x="17156" y="5510"/>
                    <a:pt x="16808" y="7318"/>
                    <a:pt x="16991" y="7700"/>
                  </a:cubicBezTo>
                  <a:cubicBezTo>
                    <a:pt x="17174" y="8082"/>
                    <a:pt x="17320" y="8566"/>
                    <a:pt x="18290" y="8592"/>
                  </a:cubicBezTo>
                  <a:cubicBezTo>
                    <a:pt x="19259" y="8617"/>
                    <a:pt x="20283" y="8388"/>
                    <a:pt x="20777" y="9076"/>
                  </a:cubicBezTo>
                  <a:cubicBezTo>
                    <a:pt x="21271" y="9764"/>
                    <a:pt x="21454" y="10502"/>
                    <a:pt x="20905" y="11164"/>
                  </a:cubicBezTo>
                  <a:cubicBezTo>
                    <a:pt x="20905" y="11164"/>
                    <a:pt x="21509" y="11547"/>
                    <a:pt x="21545" y="12464"/>
                  </a:cubicBezTo>
                  <a:cubicBezTo>
                    <a:pt x="21600" y="13381"/>
                    <a:pt x="20777" y="13763"/>
                    <a:pt x="20777" y="13763"/>
                  </a:cubicBezTo>
                  <a:cubicBezTo>
                    <a:pt x="20777" y="13763"/>
                    <a:pt x="21381" y="13966"/>
                    <a:pt x="21381" y="14756"/>
                  </a:cubicBezTo>
                  <a:cubicBezTo>
                    <a:pt x="21381" y="15546"/>
                    <a:pt x="20850" y="16055"/>
                    <a:pt x="20375" y="16182"/>
                  </a:cubicBezTo>
                  <a:cubicBezTo>
                    <a:pt x="20375" y="16182"/>
                    <a:pt x="20832" y="16845"/>
                    <a:pt x="20557" y="17456"/>
                  </a:cubicBezTo>
                  <a:cubicBezTo>
                    <a:pt x="20283" y="18067"/>
                    <a:pt x="19387" y="18602"/>
                    <a:pt x="18381" y="18857"/>
                  </a:cubicBezTo>
                  <a:cubicBezTo>
                    <a:pt x="17375" y="19086"/>
                    <a:pt x="16003" y="19137"/>
                    <a:pt x="15016" y="18857"/>
                  </a:cubicBezTo>
                  <a:cubicBezTo>
                    <a:pt x="14010" y="18577"/>
                    <a:pt x="13571" y="18373"/>
                    <a:pt x="12693" y="18628"/>
                  </a:cubicBezTo>
                  <a:cubicBezTo>
                    <a:pt x="11833" y="18857"/>
                    <a:pt x="4682" y="20920"/>
                    <a:pt x="0" y="21506"/>
                  </a:cubicBezTo>
                  <a:lnTo>
                    <a:pt x="0" y="11215"/>
                  </a:ln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algn="ctr" eaLnBrk="1" hangingPunct="1">
                <a:defRPr sz="3000">
                  <a:solidFill>
                    <a:srgbClr val="FFFFFF"/>
                  </a:solidFill>
                </a:defRPr>
              </a:pPr>
              <a:endParaRPr sz="1200" dirty="0">
                <a:solidFill>
                  <a:srgbClr val="FFFFFF"/>
                </a:solidFill>
                <a:cs typeface="+mn-cs"/>
              </a:endParaRPr>
            </a:p>
          </p:txBody>
        </p:sp>
        <p:sp>
          <p:nvSpPr>
            <p:cNvPr id="25" name="Shape">
              <a:extLst>
                <a:ext uri="{FF2B5EF4-FFF2-40B4-BE49-F238E27FC236}">
                  <a16:creationId xmlns:a16="http://schemas.microsoft.com/office/drawing/2014/main" id="{E92AB8C2-E5B7-4583-B8E4-109CA679E499}"/>
                </a:ext>
              </a:extLst>
            </p:cNvPr>
            <p:cNvSpPr/>
            <p:nvPr/>
          </p:nvSpPr>
          <p:spPr>
            <a:xfrm>
              <a:off x="863600" y="4445000"/>
              <a:ext cx="1925535" cy="94658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0" h="21495" extrusionOk="0">
                  <a:moveTo>
                    <a:pt x="0" y="10738"/>
                  </a:moveTo>
                  <a:cubicBezTo>
                    <a:pt x="0" y="10738"/>
                    <a:pt x="10836" y="11517"/>
                    <a:pt x="12855" y="11286"/>
                  </a:cubicBezTo>
                  <a:cubicBezTo>
                    <a:pt x="14874" y="11055"/>
                    <a:pt x="15471" y="10940"/>
                    <a:pt x="15813" y="10335"/>
                  </a:cubicBezTo>
                  <a:cubicBezTo>
                    <a:pt x="16140" y="9758"/>
                    <a:pt x="16481" y="7710"/>
                    <a:pt x="16552" y="7249"/>
                  </a:cubicBezTo>
                  <a:cubicBezTo>
                    <a:pt x="16609" y="6787"/>
                    <a:pt x="16808" y="6066"/>
                    <a:pt x="17050" y="5547"/>
                  </a:cubicBezTo>
                  <a:cubicBezTo>
                    <a:pt x="17306" y="5028"/>
                    <a:pt x="17874" y="3269"/>
                    <a:pt x="18002" y="2260"/>
                  </a:cubicBezTo>
                  <a:cubicBezTo>
                    <a:pt x="18130" y="1250"/>
                    <a:pt x="18145" y="126"/>
                    <a:pt x="18472" y="10"/>
                  </a:cubicBezTo>
                  <a:cubicBezTo>
                    <a:pt x="18799" y="-105"/>
                    <a:pt x="19211" y="818"/>
                    <a:pt x="19254" y="1395"/>
                  </a:cubicBezTo>
                  <a:cubicBezTo>
                    <a:pt x="19296" y="1971"/>
                    <a:pt x="19254" y="3269"/>
                    <a:pt x="18969" y="4250"/>
                  </a:cubicBezTo>
                  <a:cubicBezTo>
                    <a:pt x="18685" y="5230"/>
                    <a:pt x="18457" y="6932"/>
                    <a:pt x="18585" y="7306"/>
                  </a:cubicBezTo>
                  <a:cubicBezTo>
                    <a:pt x="18713" y="7653"/>
                    <a:pt x="18799" y="8114"/>
                    <a:pt x="19439" y="8143"/>
                  </a:cubicBezTo>
                  <a:cubicBezTo>
                    <a:pt x="20078" y="8172"/>
                    <a:pt x="20733" y="7941"/>
                    <a:pt x="21060" y="8604"/>
                  </a:cubicBezTo>
                  <a:cubicBezTo>
                    <a:pt x="21387" y="9267"/>
                    <a:pt x="21500" y="9960"/>
                    <a:pt x="21131" y="10594"/>
                  </a:cubicBezTo>
                  <a:cubicBezTo>
                    <a:pt x="21131" y="10594"/>
                    <a:pt x="21515" y="10940"/>
                    <a:pt x="21557" y="11834"/>
                  </a:cubicBezTo>
                  <a:cubicBezTo>
                    <a:pt x="21600" y="12728"/>
                    <a:pt x="21060" y="13074"/>
                    <a:pt x="21060" y="13074"/>
                  </a:cubicBezTo>
                  <a:cubicBezTo>
                    <a:pt x="21060" y="13074"/>
                    <a:pt x="21444" y="13276"/>
                    <a:pt x="21444" y="14026"/>
                  </a:cubicBezTo>
                  <a:cubicBezTo>
                    <a:pt x="21444" y="14776"/>
                    <a:pt x="21102" y="15266"/>
                    <a:pt x="20789" y="15381"/>
                  </a:cubicBezTo>
                  <a:cubicBezTo>
                    <a:pt x="20789" y="15381"/>
                    <a:pt x="21088" y="16016"/>
                    <a:pt x="20917" y="16592"/>
                  </a:cubicBezTo>
                  <a:cubicBezTo>
                    <a:pt x="20747" y="17169"/>
                    <a:pt x="20150" y="17688"/>
                    <a:pt x="19495" y="17919"/>
                  </a:cubicBezTo>
                  <a:cubicBezTo>
                    <a:pt x="18841" y="18150"/>
                    <a:pt x="17945" y="18179"/>
                    <a:pt x="17291" y="17919"/>
                  </a:cubicBezTo>
                  <a:cubicBezTo>
                    <a:pt x="16637" y="17659"/>
                    <a:pt x="16353" y="17458"/>
                    <a:pt x="15784" y="17688"/>
                  </a:cubicBezTo>
                  <a:cubicBezTo>
                    <a:pt x="15215" y="17919"/>
                    <a:pt x="3057" y="20947"/>
                    <a:pt x="0" y="21495"/>
                  </a:cubicBezTo>
                  <a:lnTo>
                    <a:pt x="0" y="10738"/>
                  </a:lnTo>
                  <a:close/>
                </a:path>
              </a:pathLst>
            </a:custGeom>
            <a:grpFill/>
            <a:ln w="12700">
              <a:miter lim="400000"/>
            </a:ln>
          </p:spPr>
          <p:txBody>
            <a:bodyPr lIns="38100" tIns="38100" rIns="38100" bIns="38100" anchor="ctr"/>
            <a:lstStyle/>
            <a:p>
              <a:pPr algn="ctr" eaLnBrk="1" hangingPunct="1">
                <a:defRPr sz="3000">
                  <a:solidFill>
                    <a:srgbClr val="FFFFFF"/>
                  </a:solidFill>
                </a:defRPr>
              </a:pPr>
              <a:endParaRPr sz="1200" dirty="0">
                <a:solidFill>
                  <a:srgbClr val="FFFFFF"/>
                </a:solidFill>
                <a:cs typeface="+mn-cs"/>
              </a:endParaRPr>
            </a:p>
          </p:txBody>
        </p:sp>
        <p:sp>
          <p:nvSpPr>
            <p:cNvPr id="26" name="Shape">
              <a:extLst>
                <a:ext uri="{FF2B5EF4-FFF2-40B4-BE49-F238E27FC236}">
                  <a16:creationId xmlns:a16="http://schemas.microsoft.com/office/drawing/2014/main" id="{4A332C1F-72A5-48E9-9733-39DAD598E8D4}"/>
                </a:ext>
              </a:extLst>
            </p:cNvPr>
            <p:cNvSpPr/>
            <p:nvPr/>
          </p:nvSpPr>
          <p:spPr>
            <a:xfrm>
              <a:off x="863600" y="4254499"/>
              <a:ext cx="1229475" cy="74182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7" h="21530" extrusionOk="0">
                  <a:moveTo>
                    <a:pt x="22" y="11320"/>
                  </a:moveTo>
                  <a:cubicBezTo>
                    <a:pt x="22" y="11320"/>
                    <a:pt x="7304" y="12131"/>
                    <a:pt x="9976" y="11910"/>
                  </a:cubicBezTo>
                  <a:cubicBezTo>
                    <a:pt x="12648" y="11688"/>
                    <a:pt x="13472" y="11541"/>
                    <a:pt x="13895" y="10914"/>
                  </a:cubicBezTo>
                  <a:cubicBezTo>
                    <a:pt x="14341" y="10288"/>
                    <a:pt x="14786" y="8113"/>
                    <a:pt x="14875" y="7634"/>
                  </a:cubicBezTo>
                  <a:cubicBezTo>
                    <a:pt x="14964" y="7155"/>
                    <a:pt x="15209" y="6381"/>
                    <a:pt x="15543" y="5828"/>
                  </a:cubicBezTo>
                  <a:cubicBezTo>
                    <a:pt x="15877" y="5275"/>
                    <a:pt x="16656" y="3432"/>
                    <a:pt x="16812" y="2363"/>
                  </a:cubicBezTo>
                  <a:cubicBezTo>
                    <a:pt x="16968" y="1294"/>
                    <a:pt x="16991" y="77"/>
                    <a:pt x="17436" y="4"/>
                  </a:cubicBezTo>
                  <a:cubicBezTo>
                    <a:pt x="17881" y="-70"/>
                    <a:pt x="18416" y="851"/>
                    <a:pt x="18482" y="1478"/>
                  </a:cubicBezTo>
                  <a:cubicBezTo>
                    <a:pt x="18549" y="2105"/>
                    <a:pt x="18482" y="3469"/>
                    <a:pt x="18104" y="4501"/>
                  </a:cubicBezTo>
                  <a:cubicBezTo>
                    <a:pt x="17725" y="5533"/>
                    <a:pt x="17414" y="7376"/>
                    <a:pt x="17592" y="7744"/>
                  </a:cubicBezTo>
                  <a:cubicBezTo>
                    <a:pt x="17748" y="8113"/>
                    <a:pt x="17881" y="8592"/>
                    <a:pt x="18727" y="8629"/>
                  </a:cubicBezTo>
                  <a:cubicBezTo>
                    <a:pt x="19574" y="8666"/>
                    <a:pt x="20464" y="8408"/>
                    <a:pt x="20887" y="9108"/>
                  </a:cubicBezTo>
                  <a:cubicBezTo>
                    <a:pt x="21333" y="9808"/>
                    <a:pt x="21466" y="10546"/>
                    <a:pt x="20999" y="11209"/>
                  </a:cubicBezTo>
                  <a:cubicBezTo>
                    <a:pt x="20999" y="11209"/>
                    <a:pt x="21511" y="11578"/>
                    <a:pt x="21555" y="12499"/>
                  </a:cubicBezTo>
                  <a:cubicBezTo>
                    <a:pt x="21600" y="13421"/>
                    <a:pt x="20887" y="13789"/>
                    <a:pt x="20887" y="13789"/>
                  </a:cubicBezTo>
                  <a:cubicBezTo>
                    <a:pt x="20887" y="13789"/>
                    <a:pt x="21400" y="14011"/>
                    <a:pt x="21400" y="14785"/>
                  </a:cubicBezTo>
                  <a:cubicBezTo>
                    <a:pt x="21400" y="15559"/>
                    <a:pt x="20932" y="16075"/>
                    <a:pt x="20531" y="16222"/>
                  </a:cubicBezTo>
                  <a:cubicBezTo>
                    <a:pt x="20531" y="16222"/>
                    <a:pt x="20932" y="16886"/>
                    <a:pt x="20687" y="17512"/>
                  </a:cubicBezTo>
                  <a:cubicBezTo>
                    <a:pt x="20464" y="18139"/>
                    <a:pt x="19663" y="18692"/>
                    <a:pt x="18794" y="18913"/>
                  </a:cubicBezTo>
                  <a:cubicBezTo>
                    <a:pt x="17926" y="19134"/>
                    <a:pt x="16746" y="19171"/>
                    <a:pt x="15855" y="18913"/>
                  </a:cubicBezTo>
                  <a:cubicBezTo>
                    <a:pt x="14986" y="18655"/>
                    <a:pt x="14586" y="18434"/>
                    <a:pt x="13851" y="18655"/>
                  </a:cubicBezTo>
                  <a:cubicBezTo>
                    <a:pt x="13094" y="18913"/>
                    <a:pt x="4053" y="20977"/>
                    <a:pt x="0" y="21530"/>
                  </a:cubicBezTo>
                  <a:lnTo>
                    <a:pt x="0" y="113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miter lim="400000"/>
            </a:ln>
            <a:effectLst>
              <a:outerShdw blurRad="50800" dist="38100" dir="5400000" algn="t" rotWithShape="0">
                <a:prstClr val="black">
                  <a:alpha val="67000"/>
                </a:prstClr>
              </a:outerShdw>
            </a:effectLst>
          </p:spPr>
          <p:txBody>
            <a:bodyPr lIns="38100" tIns="38100" rIns="38100" bIns="38100" anchor="ctr"/>
            <a:lstStyle/>
            <a:p>
              <a:pPr algn="ctr" eaLnBrk="1" hangingPunct="1">
                <a:defRPr sz="3000">
                  <a:solidFill>
                    <a:srgbClr val="FFFFFF"/>
                  </a:solidFill>
                </a:defRPr>
              </a:pPr>
              <a:endParaRPr sz="1200" dirty="0">
                <a:solidFill>
                  <a:srgbClr val="FFFFFF"/>
                </a:solidFill>
                <a:cs typeface="+mn-cs"/>
              </a:endParaRPr>
            </a:p>
          </p:txBody>
        </p:sp>
      </p:grpSp>
      <p:sp>
        <p:nvSpPr>
          <p:cNvPr id="27" name="Obdélník: se zakulacenými rohy 26">
            <a:extLst>
              <a:ext uri="{FF2B5EF4-FFF2-40B4-BE49-F238E27FC236}">
                <a16:creationId xmlns:a16="http://schemas.microsoft.com/office/drawing/2014/main" id="{2EECB96B-EA94-46BA-B65F-6399EF308941}"/>
              </a:ext>
            </a:extLst>
          </p:cNvPr>
          <p:cNvSpPr/>
          <p:nvPr/>
        </p:nvSpPr>
        <p:spPr>
          <a:xfrm>
            <a:off x="673100" y="3076575"/>
            <a:ext cx="1249363" cy="792163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sz="1200" dirty="0">
              <a:solidFill>
                <a:srgbClr val="005AA0"/>
              </a:solidFill>
            </a:endParaRPr>
          </a:p>
        </p:txBody>
      </p:sp>
      <p:sp>
        <p:nvSpPr>
          <p:cNvPr id="20490" name="TextovéPole 27"/>
          <p:cNvSpPr>
            <a:spLocks noChangeArrowheads="1"/>
          </p:cNvSpPr>
          <p:nvPr/>
        </p:nvSpPr>
        <p:spPr bwMode="auto">
          <a:xfrm>
            <a:off x="731838" y="3109913"/>
            <a:ext cx="1138237" cy="7143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cs-CZ" altLang="cs-CZ" sz="1200" b="1">
                <a:solidFill>
                  <a:schemeClr val="bg1"/>
                </a:solidFill>
              </a:rPr>
              <a:t>dopravně </a:t>
            </a:r>
            <a:br>
              <a:rPr lang="cs-CZ" altLang="cs-CZ" sz="1200" b="1">
                <a:solidFill>
                  <a:schemeClr val="bg1"/>
                </a:solidFill>
              </a:rPr>
            </a:br>
            <a:r>
              <a:rPr lang="cs-CZ" altLang="cs-CZ" sz="1200" b="1">
                <a:solidFill>
                  <a:schemeClr val="bg1"/>
                </a:solidFill>
              </a:rPr>
              <a:t>bezpečostní</a:t>
            </a:r>
          </a:p>
          <a:p>
            <a:pPr algn="ctr" eaLnBrk="1" hangingPunct="1"/>
            <a:r>
              <a:rPr lang="cs-CZ" altLang="cs-CZ" sz="1200" b="1">
                <a:solidFill>
                  <a:schemeClr val="bg1"/>
                </a:solidFill>
              </a:rPr>
              <a:t>skupina</a:t>
            </a:r>
            <a:endParaRPr lang="cs-CZ" altLang="cs-CZ" sz="1200">
              <a:solidFill>
                <a:schemeClr val="bg1"/>
              </a:solidFill>
            </a:endParaRPr>
          </a:p>
        </p:txBody>
      </p:sp>
      <p:sp>
        <p:nvSpPr>
          <p:cNvPr id="29" name="Obdélník: se zakulacenými rohy 28">
            <a:extLst>
              <a:ext uri="{FF2B5EF4-FFF2-40B4-BE49-F238E27FC236}">
                <a16:creationId xmlns:a16="http://schemas.microsoft.com/office/drawing/2014/main" id="{D51EBD92-5DE4-4013-BEDC-D06C63FCCEC4}"/>
              </a:ext>
            </a:extLst>
          </p:cNvPr>
          <p:cNvSpPr/>
          <p:nvPr/>
        </p:nvSpPr>
        <p:spPr>
          <a:xfrm>
            <a:off x="3046413" y="3084513"/>
            <a:ext cx="1165225" cy="784225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cs-CZ" sz="1200" dirty="0"/>
          </a:p>
        </p:txBody>
      </p:sp>
      <p:sp>
        <p:nvSpPr>
          <p:cNvPr id="20492" name="Obdélník: se zakulacenými rohy 29"/>
          <p:cNvSpPr>
            <a:spLocks noChangeArrowheads="1"/>
          </p:cNvSpPr>
          <p:nvPr/>
        </p:nvSpPr>
        <p:spPr bwMode="auto">
          <a:xfrm>
            <a:off x="3025775" y="3221038"/>
            <a:ext cx="1273175" cy="511175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cs-CZ" altLang="cs-CZ" sz="1200" b="1">
                <a:solidFill>
                  <a:schemeClr val="bg1"/>
                </a:solidFill>
              </a:rPr>
              <a:t>marketingová </a:t>
            </a:r>
          </a:p>
          <a:p>
            <a:pPr algn="ctr" eaLnBrk="1" hangingPunct="1"/>
            <a:r>
              <a:rPr lang="cs-CZ" altLang="cs-CZ" sz="1200" b="1">
                <a:solidFill>
                  <a:schemeClr val="bg1"/>
                </a:solidFill>
              </a:rPr>
              <a:t>skupina</a:t>
            </a:r>
          </a:p>
        </p:txBody>
      </p:sp>
      <p:sp>
        <p:nvSpPr>
          <p:cNvPr id="20493" name="TextovéPole 38"/>
          <p:cNvSpPr txBox="1">
            <a:spLocks noChangeArrowheads="1"/>
          </p:cNvSpPr>
          <p:nvPr/>
        </p:nvSpPr>
        <p:spPr bwMode="auto">
          <a:xfrm>
            <a:off x="682625" y="4119563"/>
            <a:ext cx="10561638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91281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281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281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281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2813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altLang="cs-CZ" sz="2400" b="1">
                <a:solidFill>
                  <a:schemeClr val="bg1"/>
                </a:solidFill>
              </a:rPr>
              <a:t>Pro rok 2023 se rozdělila částka ve výši 983 170 000 Kč  </a:t>
            </a:r>
          </a:p>
        </p:txBody>
      </p:sp>
      <p:sp>
        <p:nvSpPr>
          <p:cNvPr id="80" name="Obdélník: se zakulacenými rohy 79">
            <a:extLst>
              <a:ext uri="{FF2B5EF4-FFF2-40B4-BE49-F238E27FC236}">
                <a16:creationId xmlns:a16="http://schemas.microsoft.com/office/drawing/2014/main" id="{F4503280-DA9C-4BD3-B51C-D45CA3344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22800" y="1130300"/>
            <a:ext cx="2946400" cy="1465263"/>
          </a:xfrm>
          <a:prstGeom prst="roundRect">
            <a:avLst>
              <a:gd name="adj" fmla="val 16667"/>
            </a:avLst>
          </a:prstGeom>
          <a:solidFill>
            <a:srgbClr val="FBB900"/>
          </a:solidFill>
          <a:ln w="9525">
            <a:solidFill>
              <a:srgbClr val="FABE00"/>
            </a:solidFill>
            <a:round/>
            <a:headEnd/>
            <a:tailEnd/>
          </a:ln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altLang="cs-CZ" sz="1600" b="1" dirty="0">
                <a:solidFill>
                  <a:schemeClr val="bg1"/>
                </a:solidFill>
              </a:rPr>
              <a:t>HISTORIE FZŠ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cs-CZ" altLang="cs-CZ" sz="1600" dirty="0">
                <a:solidFill>
                  <a:schemeClr val="bg1"/>
                </a:solidFill>
              </a:rPr>
              <a:t>vznikl v roce 2014</a:t>
            </a:r>
          </a:p>
          <a:p>
            <a:pPr marL="28575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cs-CZ" altLang="cs-CZ" sz="1600" dirty="0">
                <a:solidFill>
                  <a:schemeClr val="bg1"/>
                </a:solidFill>
              </a:rPr>
              <a:t>za celou dobu fungování bylo rozděleno přes 6,5 miliardy korun </a:t>
            </a:r>
          </a:p>
        </p:txBody>
      </p:sp>
      <p:sp>
        <p:nvSpPr>
          <p:cNvPr id="11" name="Šipka: doprava 10">
            <a:extLst>
              <a:ext uri="{FF2B5EF4-FFF2-40B4-BE49-F238E27FC236}">
                <a16:creationId xmlns:a16="http://schemas.microsoft.com/office/drawing/2014/main" id="{CA5EA176-71E8-440E-92DF-5A7FAF4AFDB5}"/>
              </a:ext>
            </a:extLst>
          </p:cNvPr>
          <p:cNvSpPr/>
          <p:nvPr/>
        </p:nvSpPr>
        <p:spPr>
          <a:xfrm rot="20758126">
            <a:off x="7537450" y="1058863"/>
            <a:ext cx="976313" cy="387350"/>
          </a:xfrm>
          <a:prstGeom prst="rightArrow">
            <a:avLst>
              <a:gd name="adj1" fmla="val 34615"/>
              <a:gd name="adj2" fmla="val 50000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30" name="Šipka: doprava 29">
            <a:extLst>
              <a:ext uri="{FF2B5EF4-FFF2-40B4-BE49-F238E27FC236}">
                <a16:creationId xmlns:a16="http://schemas.microsoft.com/office/drawing/2014/main" id="{35BD3FFA-EDB0-4FE3-8832-373FED8D3223}"/>
              </a:ext>
            </a:extLst>
          </p:cNvPr>
          <p:cNvSpPr/>
          <p:nvPr/>
        </p:nvSpPr>
        <p:spPr>
          <a:xfrm>
            <a:off x="7578725" y="1762125"/>
            <a:ext cx="1042988" cy="387350"/>
          </a:xfrm>
          <a:prstGeom prst="rightArrow">
            <a:avLst>
              <a:gd name="adj1" fmla="val 34615"/>
              <a:gd name="adj2" fmla="val 50000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31" name="Šipka: doprava 30">
            <a:extLst>
              <a:ext uri="{FF2B5EF4-FFF2-40B4-BE49-F238E27FC236}">
                <a16:creationId xmlns:a16="http://schemas.microsoft.com/office/drawing/2014/main" id="{A2F4A8F8-EF82-49ED-B3DD-D4FA90B3AB1A}"/>
              </a:ext>
            </a:extLst>
          </p:cNvPr>
          <p:cNvSpPr/>
          <p:nvPr/>
        </p:nvSpPr>
        <p:spPr>
          <a:xfrm rot="920368">
            <a:off x="7470775" y="2403475"/>
            <a:ext cx="1174750" cy="388938"/>
          </a:xfrm>
          <a:prstGeom prst="rightArrow">
            <a:avLst>
              <a:gd name="adj1" fmla="val 34615"/>
              <a:gd name="adj2" fmla="val 50000"/>
            </a:avLst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02268CD2-4074-4D0D-B128-F2F7234B8FD8}"/>
              </a:ext>
            </a:extLst>
          </p:cNvPr>
          <p:cNvSpPr/>
          <p:nvPr/>
        </p:nvSpPr>
        <p:spPr>
          <a:xfrm>
            <a:off x="7840663" y="2595563"/>
            <a:ext cx="3736975" cy="6461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1 299 mil. Kč 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dopravně-bezpečnostní projekty</a:t>
            </a: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CACE4CEE-1DDD-48EE-8AB0-CE5A484E665D}"/>
              </a:ext>
            </a:extLst>
          </p:cNvPr>
          <p:cNvSpPr/>
          <p:nvPr/>
        </p:nvSpPr>
        <p:spPr>
          <a:xfrm>
            <a:off x="8721725" y="1624013"/>
            <a:ext cx="1941513" cy="6461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1 096 mil. Kč 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IZS (PČR a ZZS)</a:t>
            </a:r>
          </a:p>
        </p:txBody>
      </p:sp>
      <p:sp>
        <p:nvSpPr>
          <p:cNvPr id="34" name="Obdélník 33">
            <a:extLst>
              <a:ext uri="{FF2B5EF4-FFF2-40B4-BE49-F238E27FC236}">
                <a16:creationId xmlns:a16="http://schemas.microsoft.com/office/drawing/2014/main" id="{2180769D-676B-4BFC-8B4A-2DC6A3432DD8}"/>
              </a:ext>
            </a:extLst>
          </p:cNvPr>
          <p:cNvSpPr/>
          <p:nvPr/>
        </p:nvSpPr>
        <p:spPr>
          <a:xfrm>
            <a:off x="8791575" y="885825"/>
            <a:ext cx="1582738" cy="6461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4075 mil. Kč 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HZS</a:t>
            </a:r>
          </a:p>
        </p:txBody>
      </p:sp>
    </p:spTree>
    <p:extLst>
      <p:ext uri="{BB962C8B-B14F-4D97-AF65-F5344CB8AC3E}">
        <p14:creationId xmlns:p14="http://schemas.microsoft.com/office/powerpoint/2010/main" val="3625885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Obdélník: se zakulacenými rohy 36">
            <a:extLst>
              <a:ext uri="{FF2B5EF4-FFF2-40B4-BE49-F238E27FC236}">
                <a16:creationId xmlns:a16="http://schemas.microsoft.com/office/drawing/2014/main" id="{F1A5AF70-DCD4-48BC-AFE4-40080456E5CB}"/>
              </a:ext>
            </a:extLst>
          </p:cNvPr>
          <p:cNvSpPr/>
          <p:nvPr/>
        </p:nvSpPr>
        <p:spPr>
          <a:xfrm>
            <a:off x="6811963" y="4141788"/>
            <a:ext cx="3457575" cy="2587625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36" name="Obdélník: se zakulacenými rohy 35">
            <a:extLst>
              <a:ext uri="{FF2B5EF4-FFF2-40B4-BE49-F238E27FC236}">
                <a16:creationId xmlns:a16="http://schemas.microsoft.com/office/drawing/2014/main" id="{2E47C3E5-8586-4D8C-9DE2-9645B9B814A3}"/>
              </a:ext>
            </a:extLst>
          </p:cNvPr>
          <p:cNvSpPr/>
          <p:nvPr/>
        </p:nvSpPr>
        <p:spPr>
          <a:xfrm>
            <a:off x="6792913" y="1176338"/>
            <a:ext cx="3457575" cy="2586037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34" name="Obdélník: se zakulacenými rohy 33">
            <a:extLst>
              <a:ext uri="{FF2B5EF4-FFF2-40B4-BE49-F238E27FC236}">
                <a16:creationId xmlns:a16="http://schemas.microsoft.com/office/drawing/2014/main" id="{F8BC2012-9E20-4F7D-BFE1-641B93E4E3D4}"/>
              </a:ext>
            </a:extLst>
          </p:cNvPr>
          <p:cNvSpPr/>
          <p:nvPr/>
        </p:nvSpPr>
        <p:spPr>
          <a:xfrm>
            <a:off x="1146175" y="4156075"/>
            <a:ext cx="3457575" cy="2587625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13" name="Obdélník: se zakulacenými rohy 12">
            <a:extLst>
              <a:ext uri="{FF2B5EF4-FFF2-40B4-BE49-F238E27FC236}">
                <a16:creationId xmlns:a16="http://schemas.microsoft.com/office/drawing/2014/main" id="{29FB44A7-435C-40E3-A96B-A0A83BB87947}"/>
              </a:ext>
            </a:extLst>
          </p:cNvPr>
          <p:cNvSpPr/>
          <p:nvPr/>
        </p:nvSpPr>
        <p:spPr>
          <a:xfrm>
            <a:off x="1146175" y="1235075"/>
            <a:ext cx="3457575" cy="2587625"/>
          </a:xfrm>
          <a:prstGeom prst="round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graphicFrame>
        <p:nvGraphicFramePr>
          <p:cNvPr id="21510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1510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text 1">
            <a:extLst>
              <a:ext uri="{FF2B5EF4-FFF2-40B4-BE49-F238E27FC236}">
                <a16:creationId xmlns:a16="http://schemas.microsoft.com/office/drawing/2014/main" id="{C22B8C98-8502-4AEC-8D6A-FCFA386AF4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46113" y="314325"/>
            <a:ext cx="9445625" cy="792163"/>
          </a:xfrm>
        </p:spPr>
        <p:txBody>
          <a:bodyPr/>
          <a:lstStyle/>
          <a:p>
            <a:pPr defTabSz="914310" eaLnBrk="1" fontAlgn="auto" hangingPunct="1">
              <a:spcAft>
                <a:spcPts val="0"/>
              </a:spcAft>
              <a:defRPr/>
            </a:pPr>
            <a:r>
              <a:rPr lang="cs-CZ" cap="all" dirty="0">
                <a:solidFill>
                  <a:srgbClr val="FBB900"/>
                </a:solidFill>
              </a:rPr>
              <a:t>VÝZNAMNÉ PROJEKTY PRO ROK 2023</a:t>
            </a:r>
          </a:p>
        </p:txBody>
      </p:sp>
      <p:sp>
        <p:nvSpPr>
          <p:cNvPr id="21512" name="Obdélník: se zakulacenými rohy 29"/>
          <p:cNvSpPr>
            <a:spLocks noChangeArrowheads="1"/>
          </p:cNvSpPr>
          <p:nvPr/>
        </p:nvSpPr>
        <p:spPr bwMode="auto">
          <a:xfrm>
            <a:off x="3263900" y="3221038"/>
            <a:ext cx="796925" cy="306387"/>
          </a:xfrm>
          <a:prstGeom prst="roundRect">
            <a:avLst>
              <a:gd name="adj" fmla="val 16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cs-CZ" altLang="cs-CZ" sz="1200" b="1">
                <a:solidFill>
                  <a:schemeClr val="bg1"/>
                </a:solidFill>
              </a:rPr>
              <a:t>skupina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44F8E160-11EB-4A05-BB66-0F2A677CF7FD}"/>
              </a:ext>
            </a:extLst>
          </p:cNvPr>
          <p:cNvSpPr/>
          <p:nvPr/>
        </p:nvSpPr>
        <p:spPr>
          <a:xfrm>
            <a:off x="1585913" y="4330700"/>
            <a:ext cx="2532062" cy="923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DÁM RESPEKT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(</a:t>
            </a:r>
            <a:r>
              <a:rPr lang="de-DE" sz="1800" b="1" dirty="0">
                <a:solidFill>
                  <a:srgbClr val="005AA0"/>
                </a:solidFill>
                <a:latin typeface="+mn-lt"/>
                <a:cs typeface="+mn-cs"/>
              </a:rPr>
              <a:t>KREUZIGER </a:t>
            </a:r>
            <a:r>
              <a:rPr lang="de-DE" sz="1800" b="1" dirty="0" err="1">
                <a:solidFill>
                  <a:srgbClr val="005AA0"/>
                </a:solidFill>
                <a:latin typeface="+mn-lt"/>
                <a:cs typeface="+mn-cs"/>
              </a:rPr>
              <a:t>project</a:t>
            </a:r>
            <a:r>
              <a:rPr lang="pl-PL" sz="1800" b="1" dirty="0">
                <a:solidFill>
                  <a:srgbClr val="005AA0"/>
                </a:solidFill>
                <a:latin typeface="+mn-lt"/>
                <a:cs typeface="+mn-cs"/>
              </a:rPr>
              <a:t>)</a:t>
            </a:r>
            <a:endParaRPr lang="cs-CZ" sz="1800" b="1" dirty="0">
              <a:solidFill>
                <a:srgbClr val="005AA0"/>
              </a:solidFill>
              <a:latin typeface="+mn-lt"/>
              <a:cs typeface="+mn-cs"/>
            </a:endParaRP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7 988 100 Kč</a:t>
            </a:r>
          </a:p>
        </p:txBody>
      </p:sp>
      <p:sp>
        <p:nvSpPr>
          <p:cNvPr id="45" name="Obdélník 44">
            <a:extLst>
              <a:ext uri="{FF2B5EF4-FFF2-40B4-BE49-F238E27FC236}">
                <a16:creationId xmlns:a16="http://schemas.microsoft.com/office/drawing/2014/main" id="{2491CC44-453A-4C0F-9889-89B4A1D155E2}"/>
              </a:ext>
            </a:extLst>
          </p:cNvPr>
          <p:cNvSpPr/>
          <p:nvPr/>
        </p:nvSpPr>
        <p:spPr>
          <a:xfrm>
            <a:off x="1146175" y="1319213"/>
            <a:ext cx="3500438" cy="14763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PĚŠKY DO ŠKOLY 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– BEZPEČNĚ A OHLEDUPLNĚ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(Pěšky městem)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1 639 700 Kč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47" name="Obdélník 46">
            <a:extLst>
              <a:ext uri="{FF2B5EF4-FFF2-40B4-BE49-F238E27FC236}">
                <a16:creationId xmlns:a16="http://schemas.microsoft.com/office/drawing/2014/main" id="{0FAAD26F-7E4F-4AC7-A602-D090B82E6C42}"/>
              </a:ext>
            </a:extLst>
          </p:cNvPr>
          <p:cNvSpPr/>
          <p:nvPr/>
        </p:nvSpPr>
        <p:spPr>
          <a:xfrm>
            <a:off x="6710363" y="4200525"/>
            <a:ext cx="3551237" cy="20320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KAMPAŇ KE ZMĚNÁM V 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ZÁKONĚ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O SILNIČNÍM PROVOZU 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(</a:t>
            </a:r>
            <a:r>
              <a:rPr lang="cs-CZ" sz="1800" b="1" dirty="0" err="1">
                <a:solidFill>
                  <a:srgbClr val="005AA0"/>
                </a:solidFill>
                <a:latin typeface="+mn-lt"/>
                <a:cs typeface="+mn-cs"/>
              </a:rPr>
              <a:t>Besip</a:t>
            </a: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)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 16 850 000 Kč </a:t>
            </a:r>
          </a:p>
          <a:p>
            <a:pPr>
              <a:defRPr/>
            </a:pPr>
            <a:endParaRPr lang="cs-CZ" sz="1800" b="1" dirty="0">
              <a:solidFill>
                <a:srgbClr val="005AA0"/>
              </a:solidFill>
              <a:latin typeface="+mn-lt"/>
              <a:cs typeface="+mn-cs"/>
            </a:endParaRPr>
          </a:p>
          <a:p>
            <a:pPr>
              <a:defRPr/>
            </a:pPr>
            <a:endParaRPr lang="cs-CZ" sz="1800" b="1" dirty="0">
              <a:solidFill>
                <a:srgbClr val="005AA0"/>
              </a:solidFill>
              <a:latin typeface="+mn-lt"/>
              <a:cs typeface="+mn-cs"/>
            </a:endParaRPr>
          </a:p>
        </p:txBody>
      </p:sp>
      <p:sp>
        <p:nvSpPr>
          <p:cNvPr id="52" name="Obdélník 51">
            <a:extLst>
              <a:ext uri="{FF2B5EF4-FFF2-40B4-BE49-F238E27FC236}">
                <a16:creationId xmlns:a16="http://schemas.microsoft.com/office/drawing/2014/main" id="{E95D5A26-D51F-4EC9-9A1A-59557F4F50A3}"/>
              </a:ext>
            </a:extLst>
          </p:cNvPr>
          <p:cNvSpPr/>
          <p:nvPr/>
        </p:nvSpPr>
        <p:spPr>
          <a:xfrm>
            <a:off x="11336338" y="6154738"/>
            <a:ext cx="166687" cy="1571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20" name="Obdélník 19">
            <a:extLst>
              <a:ext uri="{FF2B5EF4-FFF2-40B4-BE49-F238E27FC236}">
                <a16:creationId xmlns:a16="http://schemas.microsoft.com/office/drawing/2014/main" id="{22B14164-53F5-45D5-AFDB-71F37006ADE7}"/>
              </a:ext>
            </a:extLst>
          </p:cNvPr>
          <p:cNvSpPr/>
          <p:nvPr/>
        </p:nvSpPr>
        <p:spPr>
          <a:xfrm>
            <a:off x="6880225" y="1347788"/>
            <a:ext cx="3211513" cy="12001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ROZVOJ PORTÁLU NEHOD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(Data </a:t>
            </a:r>
            <a:r>
              <a:rPr lang="cs-CZ" sz="1800" b="1" dirty="0" err="1">
                <a:solidFill>
                  <a:srgbClr val="005AA0"/>
                </a:solidFill>
                <a:latin typeface="+mn-lt"/>
                <a:cs typeface="+mn-cs"/>
              </a:rPr>
              <a:t>Friends</a:t>
            </a: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)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6 189 200 Kč</a:t>
            </a:r>
          </a:p>
          <a:p>
            <a:pPr algn="ctr">
              <a:defRPr/>
            </a:pPr>
            <a:r>
              <a:rPr lang="cs-CZ" sz="1800" b="1" dirty="0">
                <a:solidFill>
                  <a:srgbClr val="005AA0"/>
                </a:solidFill>
                <a:latin typeface="+mn-lt"/>
                <a:cs typeface="+mn-cs"/>
              </a:rPr>
              <a:t> </a:t>
            </a:r>
          </a:p>
        </p:txBody>
      </p:sp>
      <p:pic>
        <p:nvPicPr>
          <p:cNvPr id="21518" name="Obrázek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2175" y="2432050"/>
            <a:ext cx="1466850" cy="1300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19" name="Obrázek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663" y="2695575"/>
            <a:ext cx="2052637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0" name="Obrázek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4875" y="5680075"/>
            <a:ext cx="14097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521" name="Obrázek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613" y="5691188"/>
            <a:ext cx="1076325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8736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extovéPole 1"/>
          <p:cNvSpPr txBox="1">
            <a:spLocks noChangeArrowheads="1"/>
          </p:cNvSpPr>
          <p:nvPr/>
        </p:nvSpPr>
        <p:spPr bwMode="auto">
          <a:xfrm>
            <a:off x="4033838" y="3049588"/>
            <a:ext cx="5683250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cs-CZ" altLang="cs-CZ" sz="3200">
                <a:solidFill>
                  <a:srgbClr val="FFC000"/>
                </a:solidFill>
              </a:rPr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3912119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185AD35-E394-A2FE-25B7-71D22308A0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5794DC1-FE3C-A87A-60C7-69731C1EEB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46C953C7-0B05-070E-3359-7AC1940D045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9525"/>
            <a:ext cx="12192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726E8D9D-C627-D0FD-42DB-D3EA73496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0" name="Skupina 1059">
            <a:extLst>
              <a:ext uri="{FF2B5EF4-FFF2-40B4-BE49-F238E27FC236}">
                <a16:creationId xmlns:a16="http://schemas.microsoft.com/office/drawing/2014/main" id="{B9277C8B-987D-60A7-9A7A-676285B4D4A7}"/>
              </a:ext>
            </a:extLst>
          </p:cNvPr>
          <p:cNvGrpSpPr/>
          <p:nvPr/>
        </p:nvGrpSpPr>
        <p:grpSpPr>
          <a:xfrm>
            <a:off x="0" y="-2653"/>
            <a:ext cx="9906000" cy="6858000"/>
            <a:chOff x="0" y="9525"/>
            <a:chExt cx="9906000" cy="6838950"/>
          </a:xfrm>
        </p:grpSpPr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D08329F1-57FA-CC72-5D45-E0F26D3E07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525"/>
              <a:ext cx="9906000" cy="6838950"/>
            </a:xfrm>
            <a:prstGeom prst="rect">
              <a:avLst/>
            </a:prstGeom>
            <a:solidFill>
              <a:srgbClr val="009E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pic>
          <p:nvPicPr>
            <p:cNvPr id="1031" name="Picture 7">
              <a:extLst>
                <a:ext uri="{FF2B5EF4-FFF2-40B4-BE49-F238E27FC236}">
                  <a16:creationId xmlns:a16="http://schemas.microsoft.com/office/drawing/2014/main" id="{EF7B087B-484A-2FC1-8835-24BC88EE6F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1925" y="9525"/>
              <a:ext cx="8474075" cy="683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Rectangle 9">
            <a:extLst>
              <a:ext uri="{FF2B5EF4-FFF2-40B4-BE49-F238E27FC236}">
                <a16:creationId xmlns:a16="http://schemas.microsoft.com/office/drawing/2014/main" id="{0C37FF93-8CFB-48AC-8743-FE0E89858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5489" y="-2653"/>
            <a:ext cx="2286000" cy="687017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1" name="Skupina 1060">
            <a:extLst>
              <a:ext uri="{FF2B5EF4-FFF2-40B4-BE49-F238E27FC236}">
                <a16:creationId xmlns:a16="http://schemas.microsoft.com/office/drawing/2014/main" id="{ECD28CA6-8A06-C6E3-E8FD-60E9EABB3D1A}"/>
              </a:ext>
            </a:extLst>
          </p:cNvPr>
          <p:cNvGrpSpPr/>
          <p:nvPr/>
        </p:nvGrpSpPr>
        <p:grpSpPr>
          <a:xfrm>
            <a:off x="666750" y="654050"/>
            <a:ext cx="1524000" cy="762001"/>
            <a:chOff x="666750" y="654050"/>
            <a:chExt cx="1524000" cy="762001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6E69C003-DB27-2CD0-BE7D-4722E7CF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50" y="654050"/>
              <a:ext cx="649288" cy="600075"/>
            </a:xfrm>
            <a:custGeom>
              <a:avLst/>
              <a:gdLst>
                <a:gd name="T0" fmla="*/ 141 w 1227"/>
                <a:gd name="T1" fmla="*/ 116 h 1134"/>
                <a:gd name="T2" fmla="*/ 246 w 1227"/>
                <a:gd name="T3" fmla="*/ 103 h 1134"/>
                <a:gd name="T4" fmla="*/ 382 w 1227"/>
                <a:gd name="T5" fmla="*/ 87 h 1134"/>
                <a:gd name="T6" fmla="*/ 534 w 1227"/>
                <a:gd name="T7" fmla="*/ 70 h 1134"/>
                <a:gd name="T8" fmla="*/ 693 w 1227"/>
                <a:gd name="T9" fmla="*/ 51 h 1134"/>
                <a:gd name="T10" fmla="*/ 847 w 1227"/>
                <a:gd name="T11" fmla="*/ 33 h 1134"/>
                <a:gd name="T12" fmla="*/ 981 w 1227"/>
                <a:gd name="T13" fmla="*/ 17 h 1134"/>
                <a:gd name="T14" fmla="*/ 1086 w 1227"/>
                <a:gd name="T15" fmla="*/ 5 h 1134"/>
                <a:gd name="T16" fmla="*/ 1135 w 1227"/>
                <a:gd name="T17" fmla="*/ 0 h 1134"/>
                <a:gd name="T18" fmla="*/ 1155 w 1227"/>
                <a:gd name="T19" fmla="*/ 3 h 1134"/>
                <a:gd name="T20" fmla="*/ 1174 w 1227"/>
                <a:gd name="T21" fmla="*/ 10 h 1134"/>
                <a:gd name="T22" fmla="*/ 1189 w 1227"/>
                <a:gd name="T23" fmla="*/ 21 h 1134"/>
                <a:gd name="T24" fmla="*/ 1204 w 1227"/>
                <a:gd name="T25" fmla="*/ 37 h 1134"/>
                <a:gd name="T26" fmla="*/ 1215 w 1227"/>
                <a:gd name="T27" fmla="*/ 56 h 1134"/>
                <a:gd name="T28" fmla="*/ 1223 w 1227"/>
                <a:gd name="T29" fmla="*/ 77 h 1134"/>
                <a:gd name="T30" fmla="*/ 1227 w 1227"/>
                <a:gd name="T31" fmla="*/ 102 h 1134"/>
                <a:gd name="T32" fmla="*/ 1227 w 1227"/>
                <a:gd name="T33" fmla="*/ 663 h 1134"/>
                <a:gd name="T34" fmla="*/ 1225 w 1227"/>
                <a:gd name="T35" fmla="*/ 688 h 1134"/>
                <a:gd name="T36" fmla="*/ 1220 w 1227"/>
                <a:gd name="T37" fmla="*/ 712 h 1134"/>
                <a:gd name="T38" fmla="*/ 1210 w 1227"/>
                <a:gd name="T39" fmla="*/ 734 h 1134"/>
                <a:gd name="T40" fmla="*/ 1197 w 1227"/>
                <a:gd name="T41" fmla="*/ 752 h 1134"/>
                <a:gd name="T42" fmla="*/ 1182 w 1227"/>
                <a:gd name="T43" fmla="*/ 767 h 1134"/>
                <a:gd name="T44" fmla="*/ 1164 w 1227"/>
                <a:gd name="T45" fmla="*/ 779 h 1134"/>
                <a:gd name="T46" fmla="*/ 1145 w 1227"/>
                <a:gd name="T47" fmla="*/ 787 h 1134"/>
                <a:gd name="T48" fmla="*/ 1125 w 1227"/>
                <a:gd name="T49" fmla="*/ 788 h 1134"/>
                <a:gd name="T50" fmla="*/ 1103 w 1227"/>
                <a:gd name="T51" fmla="*/ 1134 h 1134"/>
                <a:gd name="T52" fmla="*/ 104 w 1227"/>
                <a:gd name="T53" fmla="*/ 788 h 1134"/>
                <a:gd name="T54" fmla="*/ 82 w 1227"/>
                <a:gd name="T55" fmla="*/ 787 h 1134"/>
                <a:gd name="T56" fmla="*/ 63 w 1227"/>
                <a:gd name="T57" fmla="*/ 781 h 1134"/>
                <a:gd name="T58" fmla="*/ 46 w 1227"/>
                <a:gd name="T59" fmla="*/ 771 h 1134"/>
                <a:gd name="T60" fmla="*/ 30 w 1227"/>
                <a:gd name="T61" fmla="*/ 758 h 1134"/>
                <a:gd name="T62" fmla="*/ 17 w 1227"/>
                <a:gd name="T63" fmla="*/ 744 h 1134"/>
                <a:gd name="T64" fmla="*/ 9 w 1227"/>
                <a:gd name="T65" fmla="*/ 726 h 1134"/>
                <a:gd name="T66" fmla="*/ 1 w 1227"/>
                <a:gd name="T67" fmla="*/ 706 h 1134"/>
                <a:gd name="T68" fmla="*/ 0 w 1227"/>
                <a:gd name="T69" fmla="*/ 686 h 1134"/>
                <a:gd name="T70" fmla="*/ 0 w 1227"/>
                <a:gd name="T71" fmla="*/ 225 h 1134"/>
                <a:gd name="T72" fmla="*/ 4 w 1227"/>
                <a:gd name="T73" fmla="*/ 205 h 1134"/>
                <a:gd name="T74" fmla="*/ 13 w 1227"/>
                <a:gd name="T75" fmla="*/ 185 h 1134"/>
                <a:gd name="T76" fmla="*/ 23 w 1227"/>
                <a:gd name="T77" fmla="*/ 168 h 1134"/>
                <a:gd name="T78" fmla="*/ 37 w 1227"/>
                <a:gd name="T79" fmla="*/ 152 h 1134"/>
                <a:gd name="T80" fmla="*/ 55 w 1227"/>
                <a:gd name="T81" fmla="*/ 139 h 1134"/>
                <a:gd name="T82" fmla="*/ 73 w 1227"/>
                <a:gd name="T83" fmla="*/ 129 h 1134"/>
                <a:gd name="T84" fmla="*/ 94 w 1227"/>
                <a:gd name="T85" fmla="*/ 12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7" h="1134">
                  <a:moveTo>
                    <a:pt x="104" y="120"/>
                  </a:moveTo>
                  <a:lnTo>
                    <a:pt x="141" y="116"/>
                  </a:lnTo>
                  <a:lnTo>
                    <a:pt x="189" y="110"/>
                  </a:lnTo>
                  <a:lnTo>
                    <a:pt x="246" y="103"/>
                  </a:lnTo>
                  <a:lnTo>
                    <a:pt x="311" y="96"/>
                  </a:lnTo>
                  <a:lnTo>
                    <a:pt x="382" y="87"/>
                  </a:lnTo>
                  <a:lnTo>
                    <a:pt x="456" y="79"/>
                  </a:lnTo>
                  <a:lnTo>
                    <a:pt x="534" y="70"/>
                  </a:lnTo>
                  <a:lnTo>
                    <a:pt x="613" y="60"/>
                  </a:lnTo>
                  <a:lnTo>
                    <a:pt x="693" y="51"/>
                  </a:lnTo>
                  <a:lnTo>
                    <a:pt x="772" y="41"/>
                  </a:lnTo>
                  <a:lnTo>
                    <a:pt x="847" y="33"/>
                  </a:lnTo>
                  <a:lnTo>
                    <a:pt x="917" y="24"/>
                  </a:lnTo>
                  <a:lnTo>
                    <a:pt x="981" y="17"/>
                  </a:lnTo>
                  <a:lnTo>
                    <a:pt x="1038" y="10"/>
                  </a:lnTo>
                  <a:lnTo>
                    <a:pt x="1086" y="5"/>
                  </a:lnTo>
                  <a:lnTo>
                    <a:pt x="1125" y="0"/>
                  </a:lnTo>
                  <a:lnTo>
                    <a:pt x="1135" y="0"/>
                  </a:lnTo>
                  <a:lnTo>
                    <a:pt x="1145" y="1"/>
                  </a:lnTo>
                  <a:lnTo>
                    <a:pt x="1155" y="3"/>
                  </a:lnTo>
                  <a:lnTo>
                    <a:pt x="1164" y="5"/>
                  </a:lnTo>
                  <a:lnTo>
                    <a:pt x="1174" y="10"/>
                  </a:lnTo>
                  <a:lnTo>
                    <a:pt x="1182" y="16"/>
                  </a:lnTo>
                  <a:lnTo>
                    <a:pt x="1189" y="21"/>
                  </a:lnTo>
                  <a:lnTo>
                    <a:pt x="1197" y="28"/>
                  </a:lnTo>
                  <a:lnTo>
                    <a:pt x="1204" y="37"/>
                  </a:lnTo>
                  <a:lnTo>
                    <a:pt x="1210" y="46"/>
                  </a:lnTo>
                  <a:lnTo>
                    <a:pt x="1215" y="56"/>
                  </a:lnTo>
                  <a:lnTo>
                    <a:pt x="1220" y="66"/>
                  </a:lnTo>
                  <a:lnTo>
                    <a:pt x="1223" y="77"/>
                  </a:lnTo>
                  <a:lnTo>
                    <a:pt x="1225" y="89"/>
                  </a:lnTo>
                  <a:lnTo>
                    <a:pt x="1227" y="102"/>
                  </a:lnTo>
                  <a:lnTo>
                    <a:pt x="1227" y="115"/>
                  </a:lnTo>
                  <a:lnTo>
                    <a:pt x="1227" y="663"/>
                  </a:lnTo>
                  <a:lnTo>
                    <a:pt x="1227" y="676"/>
                  </a:lnTo>
                  <a:lnTo>
                    <a:pt x="1225" y="688"/>
                  </a:lnTo>
                  <a:lnTo>
                    <a:pt x="1223" y="700"/>
                  </a:lnTo>
                  <a:lnTo>
                    <a:pt x="1220" y="712"/>
                  </a:lnTo>
                  <a:lnTo>
                    <a:pt x="1215" y="722"/>
                  </a:lnTo>
                  <a:lnTo>
                    <a:pt x="1210" y="734"/>
                  </a:lnTo>
                  <a:lnTo>
                    <a:pt x="1204" y="742"/>
                  </a:lnTo>
                  <a:lnTo>
                    <a:pt x="1197" y="752"/>
                  </a:lnTo>
                  <a:lnTo>
                    <a:pt x="1189" y="759"/>
                  </a:lnTo>
                  <a:lnTo>
                    <a:pt x="1182" y="767"/>
                  </a:lnTo>
                  <a:lnTo>
                    <a:pt x="1174" y="774"/>
                  </a:lnTo>
                  <a:lnTo>
                    <a:pt x="1164" y="779"/>
                  </a:lnTo>
                  <a:lnTo>
                    <a:pt x="1155" y="784"/>
                  </a:lnTo>
                  <a:lnTo>
                    <a:pt x="1145" y="787"/>
                  </a:lnTo>
                  <a:lnTo>
                    <a:pt x="1135" y="788"/>
                  </a:lnTo>
                  <a:lnTo>
                    <a:pt x="1125" y="788"/>
                  </a:lnTo>
                  <a:lnTo>
                    <a:pt x="1103" y="788"/>
                  </a:lnTo>
                  <a:lnTo>
                    <a:pt x="1103" y="1134"/>
                  </a:lnTo>
                  <a:lnTo>
                    <a:pt x="935" y="788"/>
                  </a:lnTo>
                  <a:lnTo>
                    <a:pt x="104" y="788"/>
                  </a:lnTo>
                  <a:lnTo>
                    <a:pt x="94" y="788"/>
                  </a:lnTo>
                  <a:lnTo>
                    <a:pt x="82" y="787"/>
                  </a:lnTo>
                  <a:lnTo>
                    <a:pt x="73" y="784"/>
                  </a:lnTo>
                  <a:lnTo>
                    <a:pt x="63" y="781"/>
                  </a:lnTo>
                  <a:lnTo>
                    <a:pt x="55" y="777"/>
                  </a:lnTo>
                  <a:lnTo>
                    <a:pt x="46" y="771"/>
                  </a:lnTo>
                  <a:lnTo>
                    <a:pt x="37" y="765"/>
                  </a:lnTo>
                  <a:lnTo>
                    <a:pt x="30" y="758"/>
                  </a:lnTo>
                  <a:lnTo>
                    <a:pt x="23" y="751"/>
                  </a:lnTo>
                  <a:lnTo>
                    <a:pt x="17" y="744"/>
                  </a:lnTo>
                  <a:lnTo>
                    <a:pt x="13" y="735"/>
                  </a:lnTo>
                  <a:lnTo>
                    <a:pt x="9" y="726"/>
                  </a:lnTo>
                  <a:lnTo>
                    <a:pt x="4" y="716"/>
                  </a:lnTo>
                  <a:lnTo>
                    <a:pt x="1" y="706"/>
                  </a:lnTo>
                  <a:lnTo>
                    <a:pt x="0" y="696"/>
                  </a:lnTo>
                  <a:lnTo>
                    <a:pt x="0" y="686"/>
                  </a:lnTo>
                  <a:lnTo>
                    <a:pt x="0" y="237"/>
                  </a:lnTo>
                  <a:lnTo>
                    <a:pt x="0" y="225"/>
                  </a:lnTo>
                  <a:lnTo>
                    <a:pt x="1" y="215"/>
                  </a:lnTo>
                  <a:lnTo>
                    <a:pt x="4" y="205"/>
                  </a:lnTo>
                  <a:lnTo>
                    <a:pt x="9" y="195"/>
                  </a:lnTo>
                  <a:lnTo>
                    <a:pt x="13" y="185"/>
                  </a:lnTo>
                  <a:lnTo>
                    <a:pt x="17" y="176"/>
                  </a:lnTo>
                  <a:lnTo>
                    <a:pt x="23" y="168"/>
                  </a:lnTo>
                  <a:lnTo>
                    <a:pt x="30" y="159"/>
                  </a:lnTo>
                  <a:lnTo>
                    <a:pt x="37" y="152"/>
                  </a:lnTo>
                  <a:lnTo>
                    <a:pt x="46" y="145"/>
                  </a:lnTo>
                  <a:lnTo>
                    <a:pt x="55" y="139"/>
                  </a:lnTo>
                  <a:lnTo>
                    <a:pt x="63" y="133"/>
                  </a:lnTo>
                  <a:lnTo>
                    <a:pt x="73" y="129"/>
                  </a:lnTo>
                  <a:lnTo>
                    <a:pt x="82" y="125"/>
                  </a:lnTo>
                  <a:lnTo>
                    <a:pt x="94" y="122"/>
                  </a:lnTo>
                  <a:lnTo>
                    <a:pt x="10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AA4E13-8F1E-EEDF-7C12-A003C0177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6350" y="1141413"/>
              <a:ext cx="914400" cy="274638"/>
            </a:xfrm>
            <a:custGeom>
              <a:avLst/>
              <a:gdLst>
                <a:gd name="T0" fmla="*/ 79 w 1728"/>
                <a:gd name="T1" fmla="*/ 357 h 519"/>
                <a:gd name="T2" fmla="*/ 16 w 1728"/>
                <a:gd name="T3" fmla="*/ 476 h 519"/>
                <a:gd name="T4" fmla="*/ 147 w 1728"/>
                <a:gd name="T5" fmla="*/ 517 h 519"/>
                <a:gd name="T6" fmla="*/ 240 w 1728"/>
                <a:gd name="T7" fmla="*/ 443 h 519"/>
                <a:gd name="T8" fmla="*/ 253 w 1728"/>
                <a:gd name="T9" fmla="*/ 364 h 519"/>
                <a:gd name="T10" fmla="*/ 147 w 1728"/>
                <a:gd name="T11" fmla="*/ 517 h 519"/>
                <a:gd name="T12" fmla="*/ 399 w 1728"/>
                <a:gd name="T13" fmla="*/ 517 h 519"/>
                <a:gd name="T14" fmla="*/ 393 w 1728"/>
                <a:gd name="T15" fmla="*/ 360 h 519"/>
                <a:gd name="T16" fmla="*/ 600 w 1728"/>
                <a:gd name="T17" fmla="*/ 518 h 519"/>
                <a:gd name="T18" fmla="*/ 567 w 1728"/>
                <a:gd name="T19" fmla="*/ 415 h 519"/>
                <a:gd name="T20" fmla="*/ 624 w 1728"/>
                <a:gd name="T21" fmla="*/ 392 h 519"/>
                <a:gd name="T22" fmla="*/ 541 w 1728"/>
                <a:gd name="T23" fmla="*/ 366 h 519"/>
                <a:gd name="T24" fmla="*/ 615 w 1728"/>
                <a:gd name="T25" fmla="*/ 465 h 519"/>
                <a:gd name="T26" fmla="*/ 527 w 1728"/>
                <a:gd name="T27" fmla="*/ 476 h 519"/>
                <a:gd name="T28" fmla="*/ 766 w 1728"/>
                <a:gd name="T29" fmla="*/ 517 h 519"/>
                <a:gd name="T30" fmla="*/ 880 w 1728"/>
                <a:gd name="T31" fmla="*/ 400 h 519"/>
                <a:gd name="T32" fmla="*/ 755 w 1728"/>
                <a:gd name="T33" fmla="*/ 504 h 519"/>
                <a:gd name="T34" fmla="*/ 900 w 1728"/>
                <a:gd name="T35" fmla="*/ 504 h 519"/>
                <a:gd name="T36" fmla="*/ 1012 w 1728"/>
                <a:gd name="T37" fmla="*/ 517 h 519"/>
                <a:gd name="T38" fmla="*/ 1032 w 1728"/>
                <a:gd name="T39" fmla="*/ 406 h 519"/>
                <a:gd name="T40" fmla="*/ 927 w 1728"/>
                <a:gd name="T41" fmla="*/ 380 h 519"/>
                <a:gd name="T42" fmla="*/ 949 w 1728"/>
                <a:gd name="T43" fmla="*/ 310 h 519"/>
                <a:gd name="T44" fmla="*/ 976 w 1728"/>
                <a:gd name="T45" fmla="*/ 340 h 519"/>
                <a:gd name="T46" fmla="*/ 1058 w 1728"/>
                <a:gd name="T47" fmla="*/ 508 h 519"/>
                <a:gd name="T48" fmla="*/ 1068 w 1728"/>
                <a:gd name="T49" fmla="*/ 354 h 519"/>
                <a:gd name="T50" fmla="*/ 1233 w 1728"/>
                <a:gd name="T51" fmla="*/ 511 h 519"/>
                <a:gd name="T52" fmla="*/ 1125 w 1728"/>
                <a:gd name="T53" fmla="*/ 357 h 519"/>
                <a:gd name="T54" fmla="*/ 1384 w 1728"/>
                <a:gd name="T55" fmla="*/ 491 h 519"/>
                <a:gd name="T56" fmla="*/ 1374 w 1728"/>
                <a:gd name="T57" fmla="*/ 374 h 519"/>
                <a:gd name="T58" fmla="*/ 1335 w 1728"/>
                <a:gd name="T59" fmla="*/ 382 h 519"/>
                <a:gd name="T60" fmla="*/ 1335 w 1728"/>
                <a:gd name="T61" fmla="*/ 448 h 519"/>
                <a:gd name="T62" fmla="*/ 1513 w 1728"/>
                <a:gd name="T63" fmla="*/ 515 h 519"/>
                <a:gd name="T64" fmla="*/ 1486 w 1728"/>
                <a:gd name="T65" fmla="*/ 351 h 519"/>
                <a:gd name="T66" fmla="*/ 1457 w 1728"/>
                <a:gd name="T67" fmla="*/ 515 h 519"/>
                <a:gd name="T68" fmla="*/ 1463 w 1728"/>
                <a:gd name="T69" fmla="*/ 383 h 519"/>
                <a:gd name="T70" fmla="*/ 1486 w 1728"/>
                <a:gd name="T71" fmla="*/ 494 h 519"/>
                <a:gd name="T72" fmla="*/ 1721 w 1728"/>
                <a:gd name="T73" fmla="*/ 356 h 519"/>
                <a:gd name="T74" fmla="*/ 1646 w 1728"/>
                <a:gd name="T75" fmla="*/ 492 h 519"/>
                <a:gd name="T76" fmla="*/ 1590 w 1728"/>
                <a:gd name="T77" fmla="*/ 360 h 519"/>
                <a:gd name="T78" fmla="*/ 69 w 1728"/>
                <a:gd name="T79" fmla="*/ 261 h 519"/>
                <a:gd name="T80" fmla="*/ 287 w 1728"/>
                <a:gd name="T81" fmla="*/ 268 h 519"/>
                <a:gd name="T82" fmla="*/ 118 w 1728"/>
                <a:gd name="T83" fmla="*/ 15 h 519"/>
                <a:gd name="T84" fmla="*/ 347 w 1728"/>
                <a:gd name="T85" fmla="*/ 271 h 519"/>
                <a:gd name="T86" fmla="*/ 593 w 1728"/>
                <a:gd name="T87" fmla="*/ 247 h 519"/>
                <a:gd name="T88" fmla="*/ 416 w 1728"/>
                <a:gd name="T89" fmla="*/ 163 h 519"/>
                <a:gd name="T90" fmla="*/ 802 w 1728"/>
                <a:gd name="T91" fmla="*/ 194 h 519"/>
                <a:gd name="T92" fmla="*/ 965 w 1728"/>
                <a:gd name="T93" fmla="*/ 37 h 519"/>
                <a:gd name="T94" fmla="*/ 791 w 1728"/>
                <a:gd name="T95" fmla="*/ 5 h 519"/>
                <a:gd name="T96" fmla="*/ 1210 w 1728"/>
                <a:gd name="T97" fmla="*/ 248 h 519"/>
                <a:gd name="T98" fmla="*/ 1251 w 1728"/>
                <a:gd name="T99" fmla="*/ 73 h 519"/>
                <a:gd name="T100" fmla="*/ 1070 w 1728"/>
                <a:gd name="T101" fmla="*/ 10 h 519"/>
                <a:gd name="T102" fmla="*/ 991 w 1728"/>
                <a:gd name="T103" fmla="*/ 171 h 519"/>
                <a:gd name="T104" fmla="*/ 1126 w 1728"/>
                <a:gd name="T105" fmla="*/ 231 h 519"/>
                <a:gd name="T106" fmla="*/ 1037 w 1728"/>
                <a:gd name="T107" fmla="*/ 117 h 519"/>
                <a:gd name="T108" fmla="*/ 1171 w 1728"/>
                <a:gd name="T109" fmla="*/ 54 h 519"/>
                <a:gd name="T110" fmla="*/ 1197 w 1728"/>
                <a:gd name="T111" fmla="*/ 196 h 519"/>
                <a:gd name="T112" fmla="*/ 1480 w 1728"/>
                <a:gd name="T113" fmla="*/ 270 h 519"/>
                <a:gd name="T114" fmla="*/ 1331 w 1728"/>
                <a:gd name="T115" fmla="*/ 1 h 519"/>
                <a:gd name="T116" fmla="*/ 1722 w 1728"/>
                <a:gd name="T117" fmla="*/ 234 h 519"/>
                <a:gd name="T118" fmla="*/ 1572 w 1728"/>
                <a:gd name="T119" fmla="*/ 115 h 519"/>
                <a:gd name="T120" fmla="*/ 1529 w 1728"/>
                <a:gd name="T121" fmla="*/ 1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28" h="519">
                  <a:moveTo>
                    <a:pt x="49" y="519"/>
                  </a:moveTo>
                  <a:lnTo>
                    <a:pt x="60" y="518"/>
                  </a:lnTo>
                  <a:lnTo>
                    <a:pt x="72" y="515"/>
                  </a:lnTo>
                  <a:lnTo>
                    <a:pt x="81" y="511"/>
                  </a:lnTo>
                  <a:lnTo>
                    <a:pt x="89" y="505"/>
                  </a:lnTo>
                  <a:lnTo>
                    <a:pt x="95" y="496"/>
                  </a:lnTo>
                  <a:lnTo>
                    <a:pt x="99" y="486"/>
                  </a:lnTo>
                  <a:lnTo>
                    <a:pt x="102" y="475"/>
                  </a:lnTo>
                  <a:lnTo>
                    <a:pt x="104" y="462"/>
                  </a:lnTo>
                  <a:lnTo>
                    <a:pt x="104" y="367"/>
                  </a:lnTo>
                  <a:lnTo>
                    <a:pt x="104" y="364"/>
                  </a:lnTo>
                  <a:lnTo>
                    <a:pt x="102" y="360"/>
                  </a:lnTo>
                  <a:lnTo>
                    <a:pt x="99" y="357"/>
                  </a:lnTo>
                  <a:lnTo>
                    <a:pt x="96" y="356"/>
                  </a:lnTo>
                  <a:lnTo>
                    <a:pt x="94" y="354"/>
                  </a:lnTo>
                  <a:lnTo>
                    <a:pt x="89" y="353"/>
                  </a:lnTo>
                  <a:lnTo>
                    <a:pt x="86" y="354"/>
                  </a:lnTo>
                  <a:lnTo>
                    <a:pt x="82" y="356"/>
                  </a:lnTo>
                  <a:lnTo>
                    <a:pt x="79" y="357"/>
                  </a:lnTo>
                  <a:lnTo>
                    <a:pt x="78" y="360"/>
                  </a:lnTo>
                  <a:lnTo>
                    <a:pt x="76" y="364"/>
                  </a:lnTo>
                  <a:lnTo>
                    <a:pt x="75" y="367"/>
                  </a:lnTo>
                  <a:lnTo>
                    <a:pt x="75" y="461"/>
                  </a:lnTo>
                  <a:lnTo>
                    <a:pt x="75" y="471"/>
                  </a:lnTo>
                  <a:lnTo>
                    <a:pt x="72" y="479"/>
                  </a:lnTo>
                  <a:lnTo>
                    <a:pt x="68" y="485"/>
                  </a:lnTo>
                  <a:lnTo>
                    <a:pt x="63" y="489"/>
                  </a:lnTo>
                  <a:lnTo>
                    <a:pt x="56" y="492"/>
                  </a:lnTo>
                  <a:lnTo>
                    <a:pt x="49" y="492"/>
                  </a:lnTo>
                  <a:lnTo>
                    <a:pt x="43" y="492"/>
                  </a:lnTo>
                  <a:lnTo>
                    <a:pt x="39" y="491"/>
                  </a:lnTo>
                  <a:lnTo>
                    <a:pt x="35" y="489"/>
                  </a:lnTo>
                  <a:lnTo>
                    <a:pt x="30" y="486"/>
                  </a:lnTo>
                  <a:lnTo>
                    <a:pt x="26" y="484"/>
                  </a:lnTo>
                  <a:lnTo>
                    <a:pt x="23" y="481"/>
                  </a:lnTo>
                  <a:lnTo>
                    <a:pt x="20" y="479"/>
                  </a:lnTo>
                  <a:lnTo>
                    <a:pt x="19" y="478"/>
                  </a:lnTo>
                  <a:lnTo>
                    <a:pt x="16" y="476"/>
                  </a:lnTo>
                  <a:lnTo>
                    <a:pt x="13" y="476"/>
                  </a:lnTo>
                  <a:lnTo>
                    <a:pt x="10" y="478"/>
                  </a:lnTo>
                  <a:lnTo>
                    <a:pt x="7" y="479"/>
                  </a:lnTo>
                  <a:lnTo>
                    <a:pt x="4" y="481"/>
                  </a:lnTo>
                  <a:lnTo>
                    <a:pt x="1" y="484"/>
                  </a:lnTo>
                  <a:lnTo>
                    <a:pt x="0" y="486"/>
                  </a:lnTo>
                  <a:lnTo>
                    <a:pt x="0" y="491"/>
                  </a:lnTo>
                  <a:lnTo>
                    <a:pt x="0" y="494"/>
                  </a:lnTo>
                  <a:lnTo>
                    <a:pt x="1" y="496"/>
                  </a:lnTo>
                  <a:lnTo>
                    <a:pt x="3" y="499"/>
                  </a:lnTo>
                  <a:lnTo>
                    <a:pt x="4" y="501"/>
                  </a:lnTo>
                  <a:lnTo>
                    <a:pt x="10" y="507"/>
                  </a:lnTo>
                  <a:lnTo>
                    <a:pt x="16" y="511"/>
                  </a:lnTo>
                  <a:lnTo>
                    <a:pt x="23" y="514"/>
                  </a:lnTo>
                  <a:lnTo>
                    <a:pt x="32" y="517"/>
                  </a:lnTo>
                  <a:lnTo>
                    <a:pt x="40" y="518"/>
                  </a:lnTo>
                  <a:lnTo>
                    <a:pt x="49" y="519"/>
                  </a:lnTo>
                  <a:close/>
                  <a:moveTo>
                    <a:pt x="147" y="517"/>
                  </a:moveTo>
                  <a:lnTo>
                    <a:pt x="147" y="517"/>
                  </a:lnTo>
                  <a:lnTo>
                    <a:pt x="243" y="517"/>
                  </a:lnTo>
                  <a:lnTo>
                    <a:pt x="246" y="517"/>
                  </a:lnTo>
                  <a:lnTo>
                    <a:pt x="249" y="515"/>
                  </a:lnTo>
                  <a:lnTo>
                    <a:pt x="252" y="512"/>
                  </a:lnTo>
                  <a:lnTo>
                    <a:pt x="253" y="511"/>
                  </a:lnTo>
                  <a:lnTo>
                    <a:pt x="255" y="508"/>
                  </a:lnTo>
                  <a:lnTo>
                    <a:pt x="255" y="504"/>
                  </a:lnTo>
                  <a:lnTo>
                    <a:pt x="255" y="501"/>
                  </a:lnTo>
                  <a:lnTo>
                    <a:pt x="253" y="498"/>
                  </a:lnTo>
                  <a:lnTo>
                    <a:pt x="252" y="495"/>
                  </a:lnTo>
                  <a:lnTo>
                    <a:pt x="249" y="494"/>
                  </a:lnTo>
                  <a:lnTo>
                    <a:pt x="246" y="492"/>
                  </a:lnTo>
                  <a:lnTo>
                    <a:pt x="243" y="491"/>
                  </a:lnTo>
                  <a:lnTo>
                    <a:pt x="161" y="491"/>
                  </a:lnTo>
                  <a:lnTo>
                    <a:pt x="161" y="448"/>
                  </a:lnTo>
                  <a:lnTo>
                    <a:pt x="230" y="448"/>
                  </a:lnTo>
                  <a:lnTo>
                    <a:pt x="235" y="448"/>
                  </a:lnTo>
                  <a:lnTo>
                    <a:pt x="238" y="446"/>
                  </a:lnTo>
                  <a:lnTo>
                    <a:pt x="240" y="443"/>
                  </a:lnTo>
                  <a:lnTo>
                    <a:pt x="242" y="442"/>
                  </a:lnTo>
                  <a:lnTo>
                    <a:pt x="243" y="439"/>
                  </a:lnTo>
                  <a:lnTo>
                    <a:pt x="243" y="435"/>
                  </a:lnTo>
                  <a:lnTo>
                    <a:pt x="243" y="432"/>
                  </a:lnTo>
                  <a:lnTo>
                    <a:pt x="242" y="429"/>
                  </a:lnTo>
                  <a:lnTo>
                    <a:pt x="240" y="426"/>
                  </a:lnTo>
                  <a:lnTo>
                    <a:pt x="238" y="425"/>
                  </a:lnTo>
                  <a:lnTo>
                    <a:pt x="235" y="423"/>
                  </a:lnTo>
                  <a:lnTo>
                    <a:pt x="230" y="422"/>
                  </a:lnTo>
                  <a:lnTo>
                    <a:pt x="161" y="422"/>
                  </a:lnTo>
                  <a:lnTo>
                    <a:pt x="161" y="380"/>
                  </a:lnTo>
                  <a:lnTo>
                    <a:pt x="242" y="380"/>
                  </a:lnTo>
                  <a:lnTo>
                    <a:pt x="245" y="380"/>
                  </a:lnTo>
                  <a:lnTo>
                    <a:pt x="248" y="379"/>
                  </a:lnTo>
                  <a:lnTo>
                    <a:pt x="251" y="376"/>
                  </a:lnTo>
                  <a:lnTo>
                    <a:pt x="252" y="374"/>
                  </a:lnTo>
                  <a:lnTo>
                    <a:pt x="253" y="372"/>
                  </a:lnTo>
                  <a:lnTo>
                    <a:pt x="255" y="367"/>
                  </a:lnTo>
                  <a:lnTo>
                    <a:pt x="253" y="364"/>
                  </a:lnTo>
                  <a:lnTo>
                    <a:pt x="252" y="362"/>
                  </a:lnTo>
                  <a:lnTo>
                    <a:pt x="251" y="359"/>
                  </a:lnTo>
                  <a:lnTo>
                    <a:pt x="248" y="356"/>
                  </a:lnTo>
                  <a:lnTo>
                    <a:pt x="245" y="356"/>
                  </a:lnTo>
                  <a:lnTo>
                    <a:pt x="242" y="354"/>
                  </a:lnTo>
                  <a:lnTo>
                    <a:pt x="147" y="354"/>
                  </a:lnTo>
                  <a:lnTo>
                    <a:pt x="143" y="356"/>
                  </a:lnTo>
                  <a:lnTo>
                    <a:pt x="140" y="357"/>
                  </a:lnTo>
                  <a:lnTo>
                    <a:pt x="137" y="359"/>
                  </a:lnTo>
                  <a:lnTo>
                    <a:pt x="134" y="362"/>
                  </a:lnTo>
                  <a:lnTo>
                    <a:pt x="132" y="366"/>
                  </a:lnTo>
                  <a:lnTo>
                    <a:pt x="132" y="369"/>
                  </a:lnTo>
                  <a:lnTo>
                    <a:pt x="132" y="502"/>
                  </a:lnTo>
                  <a:lnTo>
                    <a:pt x="132" y="507"/>
                  </a:lnTo>
                  <a:lnTo>
                    <a:pt x="134" y="509"/>
                  </a:lnTo>
                  <a:lnTo>
                    <a:pt x="137" y="512"/>
                  </a:lnTo>
                  <a:lnTo>
                    <a:pt x="140" y="515"/>
                  </a:lnTo>
                  <a:lnTo>
                    <a:pt x="143" y="517"/>
                  </a:lnTo>
                  <a:lnTo>
                    <a:pt x="147" y="517"/>
                  </a:lnTo>
                  <a:close/>
                  <a:moveTo>
                    <a:pt x="278" y="504"/>
                  </a:moveTo>
                  <a:lnTo>
                    <a:pt x="278" y="504"/>
                  </a:lnTo>
                  <a:lnTo>
                    <a:pt x="278" y="508"/>
                  </a:lnTo>
                  <a:lnTo>
                    <a:pt x="279" y="511"/>
                  </a:lnTo>
                  <a:lnTo>
                    <a:pt x="282" y="514"/>
                  </a:lnTo>
                  <a:lnTo>
                    <a:pt x="285" y="517"/>
                  </a:lnTo>
                  <a:lnTo>
                    <a:pt x="288" y="517"/>
                  </a:lnTo>
                  <a:lnTo>
                    <a:pt x="292" y="518"/>
                  </a:lnTo>
                  <a:lnTo>
                    <a:pt x="295" y="517"/>
                  </a:lnTo>
                  <a:lnTo>
                    <a:pt x="300" y="517"/>
                  </a:lnTo>
                  <a:lnTo>
                    <a:pt x="302" y="514"/>
                  </a:lnTo>
                  <a:lnTo>
                    <a:pt x="304" y="511"/>
                  </a:lnTo>
                  <a:lnTo>
                    <a:pt x="305" y="508"/>
                  </a:lnTo>
                  <a:lnTo>
                    <a:pt x="305" y="504"/>
                  </a:lnTo>
                  <a:lnTo>
                    <a:pt x="305" y="402"/>
                  </a:lnTo>
                  <a:lnTo>
                    <a:pt x="389" y="509"/>
                  </a:lnTo>
                  <a:lnTo>
                    <a:pt x="392" y="512"/>
                  </a:lnTo>
                  <a:lnTo>
                    <a:pt x="396" y="515"/>
                  </a:lnTo>
                  <a:lnTo>
                    <a:pt x="399" y="517"/>
                  </a:lnTo>
                  <a:lnTo>
                    <a:pt x="405" y="518"/>
                  </a:lnTo>
                  <a:lnTo>
                    <a:pt x="405" y="518"/>
                  </a:lnTo>
                  <a:lnTo>
                    <a:pt x="409" y="517"/>
                  </a:lnTo>
                  <a:lnTo>
                    <a:pt x="412" y="515"/>
                  </a:lnTo>
                  <a:lnTo>
                    <a:pt x="415" y="514"/>
                  </a:lnTo>
                  <a:lnTo>
                    <a:pt x="418" y="511"/>
                  </a:lnTo>
                  <a:lnTo>
                    <a:pt x="419" y="507"/>
                  </a:lnTo>
                  <a:lnTo>
                    <a:pt x="419" y="504"/>
                  </a:lnTo>
                  <a:lnTo>
                    <a:pt x="419" y="367"/>
                  </a:lnTo>
                  <a:lnTo>
                    <a:pt x="419" y="364"/>
                  </a:lnTo>
                  <a:lnTo>
                    <a:pt x="418" y="360"/>
                  </a:lnTo>
                  <a:lnTo>
                    <a:pt x="415" y="357"/>
                  </a:lnTo>
                  <a:lnTo>
                    <a:pt x="412" y="356"/>
                  </a:lnTo>
                  <a:lnTo>
                    <a:pt x="409" y="354"/>
                  </a:lnTo>
                  <a:lnTo>
                    <a:pt x="405" y="353"/>
                  </a:lnTo>
                  <a:lnTo>
                    <a:pt x="402" y="354"/>
                  </a:lnTo>
                  <a:lnTo>
                    <a:pt x="397" y="356"/>
                  </a:lnTo>
                  <a:lnTo>
                    <a:pt x="396" y="357"/>
                  </a:lnTo>
                  <a:lnTo>
                    <a:pt x="393" y="360"/>
                  </a:lnTo>
                  <a:lnTo>
                    <a:pt x="392" y="364"/>
                  </a:lnTo>
                  <a:lnTo>
                    <a:pt x="392" y="367"/>
                  </a:lnTo>
                  <a:lnTo>
                    <a:pt x="392" y="466"/>
                  </a:lnTo>
                  <a:lnTo>
                    <a:pt x="310" y="362"/>
                  </a:lnTo>
                  <a:lnTo>
                    <a:pt x="307" y="359"/>
                  </a:lnTo>
                  <a:lnTo>
                    <a:pt x="304" y="356"/>
                  </a:lnTo>
                  <a:lnTo>
                    <a:pt x="300" y="354"/>
                  </a:lnTo>
                  <a:lnTo>
                    <a:pt x="295" y="354"/>
                  </a:lnTo>
                  <a:lnTo>
                    <a:pt x="292" y="354"/>
                  </a:lnTo>
                  <a:lnTo>
                    <a:pt x="288" y="354"/>
                  </a:lnTo>
                  <a:lnTo>
                    <a:pt x="285" y="356"/>
                  </a:lnTo>
                  <a:lnTo>
                    <a:pt x="282" y="359"/>
                  </a:lnTo>
                  <a:lnTo>
                    <a:pt x="279" y="362"/>
                  </a:lnTo>
                  <a:lnTo>
                    <a:pt x="278" y="364"/>
                  </a:lnTo>
                  <a:lnTo>
                    <a:pt x="278" y="369"/>
                  </a:lnTo>
                  <a:lnTo>
                    <a:pt x="278" y="504"/>
                  </a:lnTo>
                  <a:close/>
                  <a:moveTo>
                    <a:pt x="588" y="519"/>
                  </a:moveTo>
                  <a:lnTo>
                    <a:pt x="588" y="519"/>
                  </a:lnTo>
                  <a:lnTo>
                    <a:pt x="600" y="518"/>
                  </a:lnTo>
                  <a:lnTo>
                    <a:pt x="611" y="515"/>
                  </a:lnTo>
                  <a:lnTo>
                    <a:pt x="621" y="512"/>
                  </a:lnTo>
                  <a:lnTo>
                    <a:pt x="629" y="507"/>
                  </a:lnTo>
                  <a:lnTo>
                    <a:pt x="636" y="499"/>
                  </a:lnTo>
                  <a:lnTo>
                    <a:pt x="641" y="491"/>
                  </a:lnTo>
                  <a:lnTo>
                    <a:pt x="644" y="481"/>
                  </a:lnTo>
                  <a:lnTo>
                    <a:pt x="645" y="471"/>
                  </a:lnTo>
                  <a:lnTo>
                    <a:pt x="645" y="471"/>
                  </a:lnTo>
                  <a:lnTo>
                    <a:pt x="645" y="461"/>
                  </a:lnTo>
                  <a:lnTo>
                    <a:pt x="642" y="452"/>
                  </a:lnTo>
                  <a:lnTo>
                    <a:pt x="638" y="446"/>
                  </a:lnTo>
                  <a:lnTo>
                    <a:pt x="632" y="439"/>
                  </a:lnTo>
                  <a:lnTo>
                    <a:pt x="625" y="435"/>
                  </a:lnTo>
                  <a:lnTo>
                    <a:pt x="616" y="430"/>
                  </a:lnTo>
                  <a:lnTo>
                    <a:pt x="606" y="426"/>
                  </a:lnTo>
                  <a:lnTo>
                    <a:pt x="593" y="423"/>
                  </a:lnTo>
                  <a:lnTo>
                    <a:pt x="583" y="420"/>
                  </a:lnTo>
                  <a:lnTo>
                    <a:pt x="575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59" y="409"/>
                  </a:lnTo>
                  <a:lnTo>
                    <a:pt x="556" y="406"/>
                  </a:lnTo>
                  <a:lnTo>
                    <a:pt x="556" y="402"/>
                  </a:lnTo>
                  <a:lnTo>
                    <a:pt x="554" y="397"/>
                  </a:lnTo>
                  <a:lnTo>
                    <a:pt x="554" y="397"/>
                  </a:lnTo>
                  <a:lnTo>
                    <a:pt x="556" y="392"/>
                  </a:lnTo>
                  <a:lnTo>
                    <a:pt x="557" y="387"/>
                  </a:lnTo>
                  <a:lnTo>
                    <a:pt x="562" y="383"/>
                  </a:lnTo>
                  <a:lnTo>
                    <a:pt x="567" y="380"/>
                  </a:lnTo>
                  <a:lnTo>
                    <a:pt x="573" y="379"/>
                  </a:lnTo>
                  <a:lnTo>
                    <a:pt x="582" y="377"/>
                  </a:lnTo>
                  <a:lnTo>
                    <a:pt x="590" y="379"/>
                  </a:lnTo>
                  <a:lnTo>
                    <a:pt x="600" y="380"/>
                  </a:lnTo>
                  <a:lnTo>
                    <a:pt x="609" y="384"/>
                  </a:lnTo>
                  <a:lnTo>
                    <a:pt x="619" y="390"/>
                  </a:lnTo>
                  <a:lnTo>
                    <a:pt x="621" y="390"/>
                  </a:lnTo>
                  <a:lnTo>
                    <a:pt x="622" y="392"/>
                  </a:lnTo>
                  <a:lnTo>
                    <a:pt x="624" y="392"/>
                  </a:lnTo>
                  <a:lnTo>
                    <a:pt x="626" y="392"/>
                  </a:lnTo>
                  <a:lnTo>
                    <a:pt x="629" y="392"/>
                  </a:lnTo>
                  <a:lnTo>
                    <a:pt x="632" y="390"/>
                  </a:lnTo>
                  <a:lnTo>
                    <a:pt x="635" y="389"/>
                  </a:lnTo>
                  <a:lnTo>
                    <a:pt x="638" y="386"/>
                  </a:lnTo>
                  <a:lnTo>
                    <a:pt x="639" y="382"/>
                  </a:lnTo>
                  <a:lnTo>
                    <a:pt x="639" y="379"/>
                  </a:lnTo>
                  <a:lnTo>
                    <a:pt x="639" y="374"/>
                  </a:lnTo>
                  <a:lnTo>
                    <a:pt x="638" y="372"/>
                  </a:lnTo>
                  <a:lnTo>
                    <a:pt x="635" y="369"/>
                  </a:lnTo>
                  <a:lnTo>
                    <a:pt x="634" y="367"/>
                  </a:lnTo>
                  <a:lnTo>
                    <a:pt x="622" y="362"/>
                  </a:lnTo>
                  <a:lnTo>
                    <a:pt x="609" y="356"/>
                  </a:lnTo>
                  <a:lnTo>
                    <a:pt x="596" y="353"/>
                  </a:lnTo>
                  <a:lnTo>
                    <a:pt x="582" y="353"/>
                  </a:lnTo>
                  <a:lnTo>
                    <a:pt x="570" y="353"/>
                  </a:lnTo>
                  <a:lnTo>
                    <a:pt x="559" y="356"/>
                  </a:lnTo>
                  <a:lnTo>
                    <a:pt x="550" y="360"/>
                  </a:lnTo>
                  <a:lnTo>
                    <a:pt x="541" y="366"/>
                  </a:lnTo>
                  <a:lnTo>
                    <a:pt x="536" y="372"/>
                  </a:lnTo>
                  <a:lnTo>
                    <a:pt x="530" y="380"/>
                  </a:lnTo>
                  <a:lnTo>
                    <a:pt x="527" y="389"/>
                  </a:lnTo>
                  <a:lnTo>
                    <a:pt x="526" y="399"/>
                  </a:lnTo>
                  <a:lnTo>
                    <a:pt x="526" y="400"/>
                  </a:lnTo>
                  <a:lnTo>
                    <a:pt x="527" y="410"/>
                  </a:lnTo>
                  <a:lnTo>
                    <a:pt x="530" y="419"/>
                  </a:lnTo>
                  <a:lnTo>
                    <a:pt x="534" y="426"/>
                  </a:lnTo>
                  <a:lnTo>
                    <a:pt x="540" y="432"/>
                  </a:lnTo>
                  <a:lnTo>
                    <a:pt x="549" y="438"/>
                  </a:lnTo>
                  <a:lnTo>
                    <a:pt x="557" y="442"/>
                  </a:lnTo>
                  <a:lnTo>
                    <a:pt x="567" y="445"/>
                  </a:lnTo>
                  <a:lnTo>
                    <a:pt x="580" y="448"/>
                  </a:lnTo>
                  <a:lnTo>
                    <a:pt x="590" y="451"/>
                  </a:lnTo>
                  <a:lnTo>
                    <a:pt x="599" y="453"/>
                  </a:lnTo>
                  <a:lnTo>
                    <a:pt x="605" y="456"/>
                  </a:lnTo>
                  <a:lnTo>
                    <a:pt x="611" y="459"/>
                  </a:lnTo>
                  <a:lnTo>
                    <a:pt x="613" y="462"/>
                  </a:lnTo>
                  <a:lnTo>
                    <a:pt x="615" y="465"/>
                  </a:lnTo>
                  <a:lnTo>
                    <a:pt x="616" y="469"/>
                  </a:lnTo>
                  <a:lnTo>
                    <a:pt x="616" y="474"/>
                  </a:lnTo>
                  <a:lnTo>
                    <a:pt x="616" y="474"/>
                  </a:lnTo>
                  <a:lnTo>
                    <a:pt x="616" y="479"/>
                  </a:lnTo>
                  <a:lnTo>
                    <a:pt x="613" y="484"/>
                  </a:lnTo>
                  <a:lnTo>
                    <a:pt x="609" y="488"/>
                  </a:lnTo>
                  <a:lnTo>
                    <a:pt x="603" y="491"/>
                  </a:lnTo>
                  <a:lnTo>
                    <a:pt x="596" y="494"/>
                  </a:lnTo>
                  <a:lnTo>
                    <a:pt x="588" y="494"/>
                  </a:lnTo>
                  <a:lnTo>
                    <a:pt x="576" y="492"/>
                  </a:lnTo>
                  <a:lnTo>
                    <a:pt x="564" y="489"/>
                  </a:lnTo>
                  <a:lnTo>
                    <a:pt x="553" y="484"/>
                  </a:lnTo>
                  <a:lnTo>
                    <a:pt x="543" y="476"/>
                  </a:lnTo>
                  <a:lnTo>
                    <a:pt x="541" y="476"/>
                  </a:lnTo>
                  <a:lnTo>
                    <a:pt x="539" y="475"/>
                  </a:lnTo>
                  <a:lnTo>
                    <a:pt x="537" y="475"/>
                  </a:lnTo>
                  <a:lnTo>
                    <a:pt x="534" y="475"/>
                  </a:lnTo>
                  <a:lnTo>
                    <a:pt x="531" y="475"/>
                  </a:lnTo>
                  <a:lnTo>
                    <a:pt x="527" y="476"/>
                  </a:lnTo>
                  <a:lnTo>
                    <a:pt x="524" y="478"/>
                  </a:lnTo>
                  <a:lnTo>
                    <a:pt x="523" y="481"/>
                  </a:lnTo>
                  <a:lnTo>
                    <a:pt x="521" y="484"/>
                  </a:lnTo>
                  <a:lnTo>
                    <a:pt x="521" y="488"/>
                  </a:lnTo>
                  <a:lnTo>
                    <a:pt x="521" y="491"/>
                  </a:lnTo>
                  <a:lnTo>
                    <a:pt x="523" y="494"/>
                  </a:lnTo>
                  <a:lnTo>
                    <a:pt x="524" y="496"/>
                  </a:lnTo>
                  <a:lnTo>
                    <a:pt x="527" y="498"/>
                  </a:lnTo>
                  <a:lnTo>
                    <a:pt x="540" y="508"/>
                  </a:lnTo>
                  <a:lnTo>
                    <a:pt x="556" y="514"/>
                  </a:lnTo>
                  <a:lnTo>
                    <a:pt x="572" y="518"/>
                  </a:lnTo>
                  <a:lnTo>
                    <a:pt x="588" y="519"/>
                  </a:lnTo>
                  <a:close/>
                  <a:moveTo>
                    <a:pt x="755" y="504"/>
                  </a:moveTo>
                  <a:lnTo>
                    <a:pt x="755" y="504"/>
                  </a:lnTo>
                  <a:lnTo>
                    <a:pt x="756" y="508"/>
                  </a:lnTo>
                  <a:lnTo>
                    <a:pt x="757" y="511"/>
                  </a:lnTo>
                  <a:lnTo>
                    <a:pt x="759" y="514"/>
                  </a:lnTo>
                  <a:lnTo>
                    <a:pt x="762" y="515"/>
                  </a:lnTo>
                  <a:lnTo>
                    <a:pt x="766" y="517"/>
                  </a:lnTo>
                  <a:lnTo>
                    <a:pt x="769" y="518"/>
                  </a:lnTo>
                  <a:lnTo>
                    <a:pt x="773" y="517"/>
                  </a:lnTo>
                  <a:lnTo>
                    <a:pt x="776" y="515"/>
                  </a:lnTo>
                  <a:lnTo>
                    <a:pt x="779" y="514"/>
                  </a:lnTo>
                  <a:lnTo>
                    <a:pt x="782" y="511"/>
                  </a:lnTo>
                  <a:lnTo>
                    <a:pt x="783" y="508"/>
                  </a:lnTo>
                  <a:lnTo>
                    <a:pt x="783" y="504"/>
                  </a:lnTo>
                  <a:lnTo>
                    <a:pt x="783" y="465"/>
                  </a:lnTo>
                  <a:lnTo>
                    <a:pt x="816" y="465"/>
                  </a:lnTo>
                  <a:lnTo>
                    <a:pt x="829" y="463"/>
                  </a:lnTo>
                  <a:lnTo>
                    <a:pt x="841" y="461"/>
                  </a:lnTo>
                  <a:lnTo>
                    <a:pt x="852" y="456"/>
                  </a:lnTo>
                  <a:lnTo>
                    <a:pt x="861" y="451"/>
                  </a:lnTo>
                  <a:lnTo>
                    <a:pt x="870" y="443"/>
                  </a:lnTo>
                  <a:lnTo>
                    <a:pt x="876" y="433"/>
                  </a:lnTo>
                  <a:lnTo>
                    <a:pt x="880" y="422"/>
                  </a:lnTo>
                  <a:lnTo>
                    <a:pt x="881" y="409"/>
                  </a:lnTo>
                  <a:lnTo>
                    <a:pt x="881" y="409"/>
                  </a:lnTo>
                  <a:lnTo>
                    <a:pt x="880" y="400"/>
                  </a:lnTo>
                  <a:lnTo>
                    <a:pt x="878" y="393"/>
                  </a:lnTo>
                  <a:lnTo>
                    <a:pt x="877" y="386"/>
                  </a:lnTo>
                  <a:lnTo>
                    <a:pt x="873" y="380"/>
                  </a:lnTo>
                  <a:lnTo>
                    <a:pt x="870" y="374"/>
                  </a:lnTo>
                  <a:lnTo>
                    <a:pt x="864" y="370"/>
                  </a:lnTo>
                  <a:lnTo>
                    <a:pt x="858" y="366"/>
                  </a:lnTo>
                  <a:lnTo>
                    <a:pt x="852" y="362"/>
                  </a:lnTo>
                  <a:lnTo>
                    <a:pt x="845" y="359"/>
                  </a:lnTo>
                  <a:lnTo>
                    <a:pt x="837" y="356"/>
                  </a:lnTo>
                  <a:lnTo>
                    <a:pt x="828" y="356"/>
                  </a:lnTo>
                  <a:lnTo>
                    <a:pt x="819" y="354"/>
                  </a:lnTo>
                  <a:lnTo>
                    <a:pt x="769" y="354"/>
                  </a:lnTo>
                  <a:lnTo>
                    <a:pt x="766" y="356"/>
                  </a:lnTo>
                  <a:lnTo>
                    <a:pt x="762" y="357"/>
                  </a:lnTo>
                  <a:lnTo>
                    <a:pt x="759" y="359"/>
                  </a:lnTo>
                  <a:lnTo>
                    <a:pt x="757" y="362"/>
                  </a:lnTo>
                  <a:lnTo>
                    <a:pt x="756" y="366"/>
                  </a:lnTo>
                  <a:lnTo>
                    <a:pt x="755" y="369"/>
                  </a:lnTo>
                  <a:lnTo>
                    <a:pt x="755" y="504"/>
                  </a:lnTo>
                  <a:close/>
                  <a:moveTo>
                    <a:pt x="783" y="439"/>
                  </a:moveTo>
                  <a:lnTo>
                    <a:pt x="783" y="439"/>
                  </a:lnTo>
                  <a:lnTo>
                    <a:pt x="783" y="380"/>
                  </a:lnTo>
                  <a:lnTo>
                    <a:pt x="816" y="380"/>
                  </a:lnTo>
                  <a:lnTo>
                    <a:pt x="827" y="382"/>
                  </a:lnTo>
                  <a:lnTo>
                    <a:pt x="835" y="384"/>
                  </a:lnTo>
                  <a:lnTo>
                    <a:pt x="842" y="387"/>
                  </a:lnTo>
                  <a:lnTo>
                    <a:pt x="847" y="393"/>
                  </a:lnTo>
                  <a:lnTo>
                    <a:pt x="851" y="400"/>
                  </a:lnTo>
                  <a:lnTo>
                    <a:pt x="851" y="409"/>
                  </a:lnTo>
                  <a:lnTo>
                    <a:pt x="851" y="410"/>
                  </a:lnTo>
                  <a:lnTo>
                    <a:pt x="851" y="418"/>
                  </a:lnTo>
                  <a:lnTo>
                    <a:pt x="848" y="425"/>
                  </a:lnTo>
                  <a:lnTo>
                    <a:pt x="842" y="430"/>
                  </a:lnTo>
                  <a:lnTo>
                    <a:pt x="835" y="435"/>
                  </a:lnTo>
                  <a:lnTo>
                    <a:pt x="827" y="438"/>
                  </a:lnTo>
                  <a:lnTo>
                    <a:pt x="816" y="439"/>
                  </a:lnTo>
                  <a:lnTo>
                    <a:pt x="783" y="439"/>
                  </a:lnTo>
                  <a:close/>
                  <a:moveTo>
                    <a:pt x="900" y="504"/>
                  </a:moveTo>
                  <a:lnTo>
                    <a:pt x="900" y="504"/>
                  </a:lnTo>
                  <a:lnTo>
                    <a:pt x="900" y="508"/>
                  </a:lnTo>
                  <a:lnTo>
                    <a:pt x="901" y="511"/>
                  </a:lnTo>
                  <a:lnTo>
                    <a:pt x="904" y="514"/>
                  </a:lnTo>
                  <a:lnTo>
                    <a:pt x="907" y="515"/>
                  </a:lnTo>
                  <a:lnTo>
                    <a:pt x="910" y="517"/>
                  </a:lnTo>
                  <a:lnTo>
                    <a:pt x="914" y="518"/>
                  </a:lnTo>
                  <a:lnTo>
                    <a:pt x="917" y="517"/>
                  </a:lnTo>
                  <a:lnTo>
                    <a:pt x="922" y="515"/>
                  </a:lnTo>
                  <a:lnTo>
                    <a:pt x="924" y="514"/>
                  </a:lnTo>
                  <a:lnTo>
                    <a:pt x="926" y="511"/>
                  </a:lnTo>
                  <a:lnTo>
                    <a:pt x="927" y="508"/>
                  </a:lnTo>
                  <a:lnTo>
                    <a:pt x="927" y="504"/>
                  </a:lnTo>
                  <a:lnTo>
                    <a:pt x="927" y="461"/>
                  </a:lnTo>
                  <a:lnTo>
                    <a:pt x="965" y="461"/>
                  </a:lnTo>
                  <a:lnTo>
                    <a:pt x="1004" y="511"/>
                  </a:lnTo>
                  <a:lnTo>
                    <a:pt x="1007" y="514"/>
                  </a:lnTo>
                  <a:lnTo>
                    <a:pt x="1009" y="515"/>
                  </a:lnTo>
                  <a:lnTo>
                    <a:pt x="1012" y="517"/>
                  </a:lnTo>
                  <a:lnTo>
                    <a:pt x="1018" y="518"/>
                  </a:lnTo>
                  <a:lnTo>
                    <a:pt x="1021" y="518"/>
                  </a:lnTo>
                  <a:lnTo>
                    <a:pt x="1024" y="517"/>
                  </a:lnTo>
                  <a:lnTo>
                    <a:pt x="1027" y="514"/>
                  </a:lnTo>
                  <a:lnTo>
                    <a:pt x="1030" y="511"/>
                  </a:lnTo>
                  <a:lnTo>
                    <a:pt x="1031" y="508"/>
                  </a:lnTo>
                  <a:lnTo>
                    <a:pt x="1031" y="505"/>
                  </a:lnTo>
                  <a:lnTo>
                    <a:pt x="1031" y="502"/>
                  </a:lnTo>
                  <a:lnTo>
                    <a:pt x="1030" y="499"/>
                  </a:lnTo>
                  <a:lnTo>
                    <a:pt x="1028" y="496"/>
                  </a:lnTo>
                  <a:lnTo>
                    <a:pt x="1027" y="494"/>
                  </a:lnTo>
                  <a:lnTo>
                    <a:pt x="995" y="455"/>
                  </a:lnTo>
                  <a:lnTo>
                    <a:pt x="1005" y="451"/>
                  </a:lnTo>
                  <a:lnTo>
                    <a:pt x="1015" y="445"/>
                  </a:lnTo>
                  <a:lnTo>
                    <a:pt x="1022" y="438"/>
                  </a:lnTo>
                  <a:lnTo>
                    <a:pt x="1028" y="429"/>
                  </a:lnTo>
                  <a:lnTo>
                    <a:pt x="1031" y="419"/>
                  </a:lnTo>
                  <a:lnTo>
                    <a:pt x="1032" y="406"/>
                  </a:lnTo>
                  <a:lnTo>
                    <a:pt x="1032" y="406"/>
                  </a:lnTo>
                  <a:lnTo>
                    <a:pt x="1031" y="396"/>
                  </a:lnTo>
                  <a:lnTo>
                    <a:pt x="1028" y="386"/>
                  </a:lnTo>
                  <a:lnTo>
                    <a:pt x="1024" y="377"/>
                  </a:lnTo>
                  <a:lnTo>
                    <a:pt x="1018" y="372"/>
                  </a:lnTo>
                  <a:lnTo>
                    <a:pt x="1009" y="364"/>
                  </a:lnTo>
                  <a:lnTo>
                    <a:pt x="999" y="359"/>
                  </a:lnTo>
                  <a:lnTo>
                    <a:pt x="986" y="356"/>
                  </a:lnTo>
                  <a:lnTo>
                    <a:pt x="972" y="354"/>
                  </a:lnTo>
                  <a:lnTo>
                    <a:pt x="914" y="354"/>
                  </a:lnTo>
                  <a:lnTo>
                    <a:pt x="910" y="356"/>
                  </a:lnTo>
                  <a:lnTo>
                    <a:pt x="907" y="357"/>
                  </a:lnTo>
                  <a:lnTo>
                    <a:pt x="904" y="359"/>
                  </a:lnTo>
                  <a:lnTo>
                    <a:pt x="901" y="362"/>
                  </a:lnTo>
                  <a:lnTo>
                    <a:pt x="900" y="366"/>
                  </a:lnTo>
                  <a:lnTo>
                    <a:pt x="900" y="369"/>
                  </a:lnTo>
                  <a:lnTo>
                    <a:pt x="900" y="504"/>
                  </a:lnTo>
                  <a:close/>
                  <a:moveTo>
                    <a:pt x="927" y="435"/>
                  </a:moveTo>
                  <a:lnTo>
                    <a:pt x="927" y="435"/>
                  </a:lnTo>
                  <a:lnTo>
                    <a:pt x="927" y="380"/>
                  </a:lnTo>
                  <a:lnTo>
                    <a:pt x="969" y="380"/>
                  </a:lnTo>
                  <a:lnTo>
                    <a:pt x="979" y="382"/>
                  </a:lnTo>
                  <a:lnTo>
                    <a:pt x="988" y="383"/>
                  </a:lnTo>
                  <a:lnTo>
                    <a:pt x="995" y="387"/>
                  </a:lnTo>
                  <a:lnTo>
                    <a:pt x="999" y="393"/>
                  </a:lnTo>
                  <a:lnTo>
                    <a:pt x="1002" y="399"/>
                  </a:lnTo>
                  <a:lnTo>
                    <a:pt x="1004" y="407"/>
                  </a:lnTo>
                  <a:lnTo>
                    <a:pt x="1004" y="407"/>
                  </a:lnTo>
                  <a:lnTo>
                    <a:pt x="1002" y="416"/>
                  </a:lnTo>
                  <a:lnTo>
                    <a:pt x="999" y="422"/>
                  </a:lnTo>
                  <a:lnTo>
                    <a:pt x="994" y="428"/>
                  </a:lnTo>
                  <a:lnTo>
                    <a:pt x="988" y="432"/>
                  </a:lnTo>
                  <a:lnTo>
                    <a:pt x="979" y="435"/>
                  </a:lnTo>
                  <a:lnTo>
                    <a:pt x="969" y="435"/>
                  </a:lnTo>
                  <a:lnTo>
                    <a:pt x="927" y="435"/>
                  </a:lnTo>
                  <a:close/>
                  <a:moveTo>
                    <a:pt x="965" y="323"/>
                  </a:moveTo>
                  <a:lnTo>
                    <a:pt x="965" y="323"/>
                  </a:lnTo>
                  <a:lnTo>
                    <a:pt x="952" y="313"/>
                  </a:lnTo>
                  <a:lnTo>
                    <a:pt x="949" y="310"/>
                  </a:lnTo>
                  <a:lnTo>
                    <a:pt x="946" y="308"/>
                  </a:lnTo>
                  <a:lnTo>
                    <a:pt x="943" y="307"/>
                  </a:lnTo>
                  <a:lnTo>
                    <a:pt x="940" y="307"/>
                  </a:lnTo>
                  <a:lnTo>
                    <a:pt x="937" y="306"/>
                  </a:lnTo>
                  <a:lnTo>
                    <a:pt x="935" y="306"/>
                  </a:lnTo>
                  <a:lnTo>
                    <a:pt x="933" y="307"/>
                  </a:lnTo>
                  <a:lnTo>
                    <a:pt x="930" y="307"/>
                  </a:lnTo>
                  <a:lnTo>
                    <a:pt x="929" y="308"/>
                  </a:lnTo>
                  <a:lnTo>
                    <a:pt x="929" y="311"/>
                  </a:lnTo>
                  <a:lnTo>
                    <a:pt x="929" y="314"/>
                  </a:lnTo>
                  <a:lnTo>
                    <a:pt x="932" y="316"/>
                  </a:lnTo>
                  <a:lnTo>
                    <a:pt x="946" y="336"/>
                  </a:lnTo>
                  <a:lnTo>
                    <a:pt x="949" y="339"/>
                  </a:lnTo>
                  <a:lnTo>
                    <a:pt x="952" y="340"/>
                  </a:lnTo>
                  <a:lnTo>
                    <a:pt x="956" y="341"/>
                  </a:lnTo>
                  <a:lnTo>
                    <a:pt x="960" y="343"/>
                  </a:lnTo>
                  <a:lnTo>
                    <a:pt x="968" y="343"/>
                  </a:lnTo>
                  <a:lnTo>
                    <a:pt x="972" y="341"/>
                  </a:lnTo>
                  <a:lnTo>
                    <a:pt x="976" y="340"/>
                  </a:lnTo>
                  <a:lnTo>
                    <a:pt x="979" y="339"/>
                  </a:lnTo>
                  <a:lnTo>
                    <a:pt x="982" y="336"/>
                  </a:lnTo>
                  <a:lnTo>
                    <a:pt x="996" y="316"/>
                  </a:lnTo>
                  <a:lnTo>
                    <a:pt x="999" y="314"/>
                  </a:lnTo>
                  <a:lnTo>
                    <a:pt x="999" y="311"/>
                  </a:lnTo>
                  <a:lnTo>
                    <a:pt x="999" y="308"/>
                  </a:lnTo>
                  <a:lnTo>
                    <a:pt x="998" y="307"/>
                  </a:lnTo>
                  <a:lnTo>
                    <a:pt x="996" y="307"/>
                  </a:lnTo>
                  <a:lnTo>
                    <a:pt x="994" y="306"/>
                  </a:lnTo>
                  <a:lnTo>
                    <a:pt x="991" y="306"/>
                  </a:lnTo>
                  <a:lnTo>
                    <a:pt x="988" y="307"/>
                  </a:lnTo>
                  <a:lnTo>
                    <a:pt x="985" y="307"/>
                  </a:lnTo>
                  <a:lnTo>
                    <a:pt x="982" y="308"/>
                  </a:lnTo>
                  <a:lnTo>
                    <a:pt x="979" y="310"/>
                  </a:lnTo>
                  <a:lnTo>
                    <a:pt x="976" y="313"/>
                  </a:lnTo>
                  <a:lnTo>
                    <a:pt x="965" y="323"/>
                  </a:lnTo>
                  <a:close/>
                  <a:moveTo>
                    <a:pt x="1058" y="504"/>
                  </a:moveTo>
                  <a:lnTo>
                    <a:pt x="1058" y="504"/>
                  </a:lnTo>
                  <a:lnTo>
                    <a:pt x="1058" y="508"/>
                  </a:lnTo>
                  <a:lnTo>
                    <a:pt x="1060" y="511"/>
                  </a:lnTo>
                  <a:lnTo>
                    <a:pt x="1063" y="514"/>
                  </a:lnTo>
                  <a:lnTo>
                    <a:pt x="1066" y="515"/>
                  </a:lnTo>
                  <a:lnTo>
                    <a:pt x="1068" y="517"/>
                  </a:lnTo>
                  <a:lnTo>
                    <a:pt x="1073" y="518"/>
                  </a:lnTo>
                  <a:lnTo>
                    <a:pt x="1077" y="517"/>
                  </a:lnTo>
                  <a:lnTo>
                    <a:pt x="1080" y="515"/>
                  </a:lnTo>
                  <a:lnTo>
                    <a:pt x="1083" y="514"/>
                  </a:lnTo>
                  <a:lnTo>
                    <a:pt x="1086" y="511"/>
                  </a:lnTo>
                  <a:lnTo>
                    <a:pt x="1087" y="508"/>
                  </a:lnTo>
                  <a:lnTo>
                    <a:pt x="1087" y="504"/>
                  </a:lnTo>
                  <a:lnTo>
                    <a:pt x="1087" y="367"/>
                  </a:lnTo>
                  <a:lnTo>
                    <a:pt x="1087" y="364"/>
                  </a:lnTo>
                  <a:lnTo>
                    <a:pt x="1086" y="360"/>
                  </a:lnTo>
                  <a:lnTo>
                    <a:pt x="1083" y="357"/>
                  </a:lnTo>
                  <a:lnTo>
                    <a:pt x="1080" y="356"/>
                  </a:lnTo>
                  <a:lnTo>
                    <a:pt x="1077" y="354"/>
                  </a:lnTo>
                  <a:lnTo>
                    <a:pt x="1073" y="353"/>
                  </a:lnTo>
                  <a:lnTo>
                    <a:pt x="1068" y="354"/>
                  </a:lnTo>
                  <a:lnTo>
                    <a:pt x="1066" y="356"/>
                  </a:lnTo>
                  <a:lnTo>
                    <a:pt x="1063" y="357"/>
                  </a:lnTo>
                  <a:lnTo>
                    <a:pt x="1060" y="360"/>
                  </a:lnTo>
                  <a:lnTo>
                    <a:pt x="1058" y="364"/>
                  </a:lnTo>
                  <a:lnTo>
                    <a:pt x="1058" y="367"/>
                  </a:lnTo>
                  <a:lnTo>
                    <a:pt x="1058" y="504"/>
                  </a:lnTo>
                  <a:close/>
                  <a:moveTo>
                    <a:pt x="1120" y="502"/>
                  </a:moveTo>
                  <a:lnTo>
                    <a:pt x="1120" y="502"/>
                  </a:lnTo>
                  <a:lnTo>
                    <a:pt x="1120" y="507"/>
                  </a:lnTo>
                  <a:lnTo>
                    <a:pt x="1122" y="509"/>
                  </a:lnTo>
                  <a:lnTo>
                    <a:pt x="1125" y="512"/>
                  </a:lnTo>
                  <a:lnTo>
                    <a:pt x="1128" y="515"/>
                  </a:lnTo>
                  <a:lnTo>
                    <a:pt x="1130" y="517"/>
                  </a:lnTo>
                  <a:lnTo>
                    <a:pt x="1135" y="517"/>
                  </a:lnTo>
                  <a:lnTo>
                    <a:pt x="1223" y="517"/>
                  </a:lnTo>
                  <a:lnTo>
                    <a:pt x="1225" y="517"/>
                  </a:lnTo>
                  <a:lnTo>
                    <a:pt x="1228" y="515"/>
                  </a:lnTo>
                  <a:lnTo>
                    <a:pt x="1231" y="512"/>
                  </a:lnTo>
                  <a:lnTo>
                    <a:pt x="1233" y="511"/>
                  </a:lnTo>
                  <a:lnTo>
                    <a:pt x="1234" y="507"/>
                  </a:lnTo>
                  <a:lnTo>
                    <a:pt x="1236" y="504"/>
                  </a:lnTo>
                  <a:lnTo>
                    <a:pt x="1234" y="501"/>
                  </a:lnTo>
                  <a:lnTo>
                    <a:pt x="1233" y="496"/>
                  </a:lnTo>
                  <a:lnTo>
                    <a:pt x="1231" y="495"/>
                  </a:lnTo>
                  <a:lnTo>
                    <a:pt x="1228" y="492"/>
                  </a:lnTo>
                  <a:lnTo>
                    <a:pt x="1225" y="491"/>
                  </a:lnTo>
                  <a:lnTo>
                    <a:pt x="1223" y="491"/>
                  </a:lnTo>
                  <a:lnTo>
                    <a:pt x="1149" y="491"/>
                  </a:lnTo>
                  <a:lnTo>
                    <a:pt x="1149" y="367"/>
                  </a:lnTo>
                  <a:lnTo>
                    <a:pt x="1148" y="364"/>
                  </a:lnTo>
                  <a:lnTo>
                    <a:pt x="1146" y="360"/>
                  </a:lnTo>
                  <a:lnTo>
                    <a:pt x="1145" y="357"/>
                  </a:lnTo>
                  <a:lnTo>
                    <a:pt x="1142" y="356"/>
                  </a:lnTo>
                  <a:lnTo>
                    <a:pt x="1138" y="354"/>
                  </a:lnTo>
                  <a:lnTo>
                    <a:pt x="1135" y="353"/>
                  </a:lnTo>
                  <a:lnTo>
                    <a:pt x="1130" y="354"/>
                  </a:lnTo>
                  <a:lnTo>
                    <a:pt x="1128" y="356"/>
                  </a:lnTo>
                  <a:lnTo>
                    <a:pt x="1125" y="357"/>
                  </a:lnTo>
                  <a:lnTo>
                    <a:pt x="1122" y="360"/>
                  </a:lnTo>
                  <a:lnTo>
                    <a:pt x="1120" y="364"/>
                  </a:lnTo>
                  <a:lnTo>
                    <a:pt x="1120" y="367"/>
                  </a:lnTo>
                  <a:lnTo>
                    <a:pt x="1120" y="502"/>
                  </a:lnTo>
                  <a:close/>
                  <a:moveTo>
                    <a:pt x="1253" y="502"/>
                  </a:moveTo>
                  <a:lnTo>
                    <a:pt x="1253" y="502"/>
                  </a:lnTo>
                  <a:lnTo>
                    <a:pt x="1254" y="507"/>
                  </a:lnTo>
                  <a:lnTo>
                    <a:pt x="1256" y="509"/>
                  </a:lnTo>
                  <a:lnTo>
                    <a:pt x="1257" y="512"/>
                  </a:lnTo>
                  <a:lnTo>
                    <a:pt x="1260" y="515"/>
                  </a:lnTo>
                  <a:lnTo>
                    <a:pt x="1264" y="517"/>
                  </a:lnTo>
                  <a:lnTo>
                    <a:pt x="1267" y="517"/>
                  </a:lnTo>
                  <a:lnTo>
                    <a:pt x="1328" y="517"/>
                  </a:lnTo>
                  <a:lnTo>
                    <a:pt x="1341" y="517"/>
                  </a:lnTo>
                  <a:lnTo>
                    <a:pt x="1354" y="514"/>
                  </a:lnTo>
                  <a:lnTo>
                    <a:pt x="1364" y="511"/>
                  </a:lnTo>
                  <a:lnTo>
                    <a:pt x="1372" y="505"/>
                  </a:lnTo>
                  <a:lnTo>
                    <a:pt x="1380" y="499"/>
                  </a:lnTo>
                  <a:lnTo>
                    <a:pt x="1384" y="491"/>
                  </a:lnTo>
                  <a:lnTo>
                    <a:pt x="1387" y="482"/>
                  </a:lnTo>
                  <a:lnTo>
                    <a:pt x="1388" y="472"/>
                  </a:lnTo>
                  <a:lnTo>
                    <a:pt x="1388" y="472"/>
                  </a:lnTo>
                  <a:lnTo>
                    <a:pt x="1387" y="462"/>
                  </a:lnTo>
                  <a:lnTo>
                    <a:pt x="1384" y="453"/>
                  </a:lnTo>
                  <a:lnTo>
                    <a:pt x="1380" y="446"/>
                  </a:lnTo>
                  <a:lnTo>
                    <a:pt x="1372" y="440"/>
                  </a:lnTo>
                  <a:lnTo>
                    <a:pt x="1365" y="436"/>
                  </a:lnTo>
                  <a:lnTo>
                    <a:pt x="1356" y="432"/>
                  </a:lnTo>
                  <a:lnTo>
                    <a:pt x="1362" y="429"/>
                  </a:lnTo>
                  <a:lnTo>
                    <a:pt x="1368" y="425"/>
                  </a:lnTo>
                  <a:lnTo>
                    <a:pt x="1372" y="419"/>
                  </a:lnTo>
                  <a:lnTo>
                    <a:pt x="1377" y="413"/>
                  </a:lnTo>
                  <a:lnTo>
                    <a:pt x="1378" y="406"/>
                  </a:lnTo>
                  <a:lnTo>
                    <a:pt x="1380" y="396"/>
                  </a:lnTo>
                  <a:lnTo>
                    <a:pt x="1380" y="396"/>
                  </a:lnTo>
                  <a:lnTo>
                    <a:pt x="1378" y="389"/>
                  </a:lnTo>
                  <a:lnTo>
                    <a:pt x="1377" y="382"/>
                  </a:lnTo>
                  <a:lnTo>
                    <a:pt x="1374" y="374"/>
                  </a:lnTo>
                  <a:lnTo>
                    <a:pt x="1368" y="369"/>
                  </a:lnTo>
                  <a:lnTo>
                    <a:pt x="1361" y="363"/>
                  </a:lnTo>
                  <a:lnTo>
                    <a:pt x="1351" y="359"/>
                  </a:lnTo>
                  <a:lnTo>
                    <a:pt x="1339" y="356"/>
                  </a:lnTo>
                  <a:lnTo>
                    <a:pt x="1326" y="354"/>
                  </a:lnTo>
                  <a:lnTo>
                    <a:pt x="1267" y="354"/>
                  </a:lnTo>
                  <a:lnTo>
                    <a:pt x="1264" y="356"/>
                  </a:lnTo>
                  <a:lnTo>
                    <a:pt x="1260" y="357"/>
                  </a:lnTo>
                  <a:lnTo>
                    <a:pt x="1257" y="359"/>
                  </a:lnTo>
                  <a:lnTo>
                    <a:pt x="1256" y="362"/>
                  </a:lnTo>
                  <a:lnTo>
                    <a:pt x="1254" y="366"/>
                  </a:lnTo>
                  <a:lnTo>
                    <a:pt x="1253" y="369"/>
                  </a:lnTo>
                  <a:lnTo>
                    <a:pt x="1253" y="502"/>
                  </a:lnTo>
                  <a:close/>
                  <a:moveTo>
                    <a:pt x="1282" y="423"/>
                  </a:moveTo>
                  <a:lnTo>
                    <a:pt x="1282" y="423"/>
                  </a:lnTo>
                  <a:lnTo>
                    <a:pt x="1282" y="380"/>
                  </a:lnTo>
                  <a:lnTo>
                    <a:pt x="1322" y="380"/>
                  </a:lnTo>
                  <a:lnTo>
                    <a:pt x="1329" y="380"/>
                  </a:lnTo>
                  <a:lnTo>
                    <a:pt x="1335" y="382"/>
                  </a:lnTo>
                  <a:lnTo>
                    <a:pt x="1339" y="383"/>
                  </a:lnTo>
                  <a:lnTo>
                    <a:pt x="1344" y="386"/>
                  </a:lnTo>
                  <a:lnTo>
                    <a:pt x="1346" y="389"/>
                  </a:lnTo>
                  <a:lnTo>
                    <a:pt x="1349" y="392"/>
                  </a:lnTo>
                  <a:lnTo>
                    <a:pt x="1351" y="396"/>
                  </a:lnTo>
                  <a:lnTo>
                    <a:pt x="1351" y="400"/>
                  </a:lnTo>
                  <a:lnTo>
                    <a:pt x="1351" y="400"/>
                  </a:lnTo>
                  <a:lnTo>
                    <a:pt x="1349" y="407"/>
                  </a:lnTo>
                  <a:lnTo>
                    <a:pt x="1346" y="413"/>
                  </a:lnTo>
                  <a:lnTo>
                    <a:pt x="1342" y="418"/>
                  </a:lnTo>
                  <a:lnTo>
                    <a:pt x="1336" y="420"/>
                  </a:lnTo>
                  <a:lnTo>
                    <a:pt x="1329" y="422"/>
                  </a:lnTo>
                  <a:lnTo>
                    <a:pt x="1320" y="423"/>
                  </a:lnTo>
                  <a:lnTo>
                    <a:pt x="1282" y="423"/>
                  </a:lnTo>
                  <a:close/>
                  <a:moveTo>
                    <a:pt x="1282" y="491"/>
                  </a:moveTo>
                  <a:lnTo>
                    <a:pt x="1282" y="491"/>
                  </a:lnTo>
                  <a:lnTo>
                    <a:pt x="1282" y="448"/>
                  </a:lnTo>
                  <a:lnTo>
                    <a:pt x="1326" y="448"/>
                  </a:lnTo>
                  <a:lnTo>
                    <a:pt x="1335" y="448"/>
                  </a:lnTo>
                  <a:lnTo>
                    <a:pt x="1341" y="449"/>
                  </a:lnTo>
                  <a:lnTo>
                    <a:pt x="1346" y="451"/>
                  </a:lnTo>
                  <a:lnTo>
                    <a:pt x="1352" y="453"/>
                  </a:lnTo>
                  <a:lnTo>
                    <a:pt x="1355" y="456"/>
                  </a:lnTo>
                  <a:lnTo>
                    <a:pt x="1358" y="459"/>
                  </a:lnTo>
                  <a:lnTo>
                    <a:pt x="1359" y="463"/>
                  </a:lnTo>
                  <a:lnTo>
                    <a:pt x="1359" y="469"/>
                  </a:lnTo>
                  <a:lnTo>
                    <a:pt x="1359" y="469"/>
                  </a:lnTo>
                  <a:lnTo>
                    <a:pt x="1359" y="476"/>
                  </a:lnTo>
                  <a:lnTo>
                    <a:pt x="1356" y="482"/>
                  </a:lnTo>
                  <a:lnTo>
                    <a:pt x="1352" y="486"/>
                  </a:lnTo>
                  <a:lnTo>
                    <a:pt x="1345" y="489"/>
                  </a:lnTo>
                  <a:lnTo>
                    <a:pt x="1338" y="491"/>
                  </a:lnTo>
                  <a:lnTo>
                    <a:pt x="1329" y="491"/>
                  </a:lnTo>
                  <a:lnTo>
                    <a:pt x="1282" y="491"/>
                  </a:lnTo>
                  <a:close/>
                  <a:moveTo>
                    <a:pt x="1486" y="519"/>
                  </a:moveTo>
                  <a:lnTo>
                    <a:pt x="1486" y="519"/>
                  </a:lnTo>
                  <a:lnTo>
                    <a:pt x="1500" y="518"/>
                  </a:lnTo>
                  <a:lnTo>
                    <a:pt x="1513" y="515"/>
                  </a:lnTo>
                  <a:lnTo>
                    <a:pt x="1526" y="509"/>
                  </a:lnTo>
                  <a:lnTo>
                    <a:pt x="1538" y="504"/>
                  </a:lnTo>
                  <a:lnTo>
                    <a:pt x="1547" y="495"/>
                  </a:lnTo>
                  <a:lnTo>
                    <a:pt x="1555" y="485"/>
                  </a:lnTo>
                  <a:lnTo>
                    <a:pt x="1562" y="474"/>
                  </a:lnTo>
                  <a:lnTo>
                    <a:pt x="1567" y="462"/>
                  </a:lnTo>
                  <a:lnTo>
                    <a:pt x="1570" y="449"/>
                  </a:lnTo>
                  <a:lnTo>
                    <a:pt x="1571" y="436"/>
                  </a:lnTo>
                  <a:lnTo>
                    <a:pt x="1571" y="435"/>
                  </a:lnTo>
                  <a:lnTo>
                    <a:pt x="1570" y="422"/>
                  </a:lnTo>
                  <a:lnTo>
                    <a:pt x="1567" y="409"/>
                  </a:lnTo>
                  <a:lnTo>
                    <a:pt x="1562" y="397"/>
                  </a:lnTo>
                  <a:lnTo>
                    <a:pt x="1555" y="386"/>
                  </a:lnTo>
                  <a:lnTo>
                    <a:pt x="1547" y="376"/>
                  </a:lnTo>
                  <a:lnTo>
                    <a:pt x="1538" y="369"/>
                  </a:lnTo>
                  <a:lnTo>
                    <a:pt x="1526" y="362"/>
                  </a:lnTo>
                  <a:lnTo>
                    <a:pt x="1513" y="356"/>
                  </a:lnTo>
                  <a:lnTo>
                    <a:pt x="1500" y="353"/>
                  </a:lnTo>
                  <a:lnTo>
                    <a:pt x="1486" y="351"/>
                  </a:lnTo>
                  <a:lnTo>
                    <a:pt x="1472" y="353"/>
                  </a:lnTo>
                  <a:lnTo>
                    <a:pt x="1459" y="356"/>
                  </a:lnTo>
                  <a:lnTo>
                    <a:pt x="1446" y="362"/>
                  </a:lnTo>
                  <a:lnTo>
                    <a:pt x="1434" y="369"/>
                  </a:lnTo>
                  <a:lnTo>
                    <a:pt x="1424" y="377"/>
                  </a:lnTo>
                  <a:lnTo>
                    <a:pt x="1417" y="386"/>
                  </a:lnTo>
                  <a:lnTo>
                    <a:pt x="1410" y="397"/>
                  </a:lnTo>
                  <a:lnTo>
                    <a:pt x="1405" y="409"/>
                  </a:lnTo>
                  <a:lnTo>
                    <a:pt x="1403" y="422"/>
                  </a:lnTo>
                  <a:lnTo>
                    <a:pt x="1401" y="436"/>
                  </a:lnTo>
                  <a:lnTo>
                    <a:pt x="1401" y="436"/>
                  </a:lnTo>
                  <a:lnTo>
                    <a:pt x="1403" y="449"/>
                  </a:lnTo>
                  <a:lnTo>
                    <a:pt x="1405" y="462"/>
                  </a:lnTo>
                  <a:lnTo>
                    <a:pt x="1410" y="474"/>
                  </a:lnTo>
                  <a:lnTo>
                    <a:pt x="1417" y="485"/>
                  </a:lnTo>
                  <a:lnTo>
                    <a:pt x="1424" y="495"/>
                  </a:lnTo>
                  <a:lnTo>
                    <a:pt x="1434" y="504"/>
                  </a:lnTo>
                  <a:lnTo>
                    <a:pt x="1446" y="509"/>
                  </a:lnTo>
                  <a:lnTo>
                    <a:pt x="1457" y="515"/>
                  </a:lnTo>
                  <a:lnTo>
                    <a:pt x="1472" y="518"/>
                  </a:lnTo>
                  <a:lnTo>
                    <a:pt x="1486" y="519"/>
                  </a:lnTo>
                  <a:close/>
                  <a:moveTo>
                    <a:pt x="1486" y="494"/>
                  </a:moveTo>
                  <a:lnTo>
                    <a:pt x="1486" y="494"/>
                  </a:lnTo>
                  <a:lnTo>
                    <a:pt x="1475" y="492"/>
                  </a:lnTo>
                  <a:lnTo>
                    <a:pt x="1464" y="488"/>
                  </a:lnTo>
                  <a:lnTo>
                    <a:pt x="1454" y="484"/>
                  </a:lnTo>
                  <a:lnTo>
                    <a:pt x="1446" y="476"/>
                  </a:lnTo>
                  <a:lnTo>
                    <a:pt x="1440" y="468"/>
                  </a:lnTo>
                  <a:lnTo>
                    <a:pt x="1436" y="458"/>
                  </a:lnTo>
                  <a:lnTo>
                    <a:pt x="1431" y="448"/>
                  </a:lnTo>
                  <a:lnTo>
                    <a:pt x="1431" y="436"/>
                  </a:lnTo>
                  <a:lnTo>
                    <a:pt x="1431" y="435"/>
                  </a:lnTo>
                  <a:lnTo>
                    <a:pt x="1431" y="423"/>
                  </a:lnTo>
                  <a:lnTo>
                    <a:pt x="1434" y="413"/>
                  </a:lnTo>
                  <a:lnTo>
                    <a:pt x="1440" y="403"/>
                  </a:lnTo>
                  <a:lnTo>
                    <a:pt x="1446" y="395"/>
                  </a:lnTo>
                  <a:lnTo>
                    <a:pt x="1454" y="387"/>
                  </a:lnTo>
                  <a:lnTo>
                    <a:pt x="1463" y="383"/>
                  </a:lnTo>
                  <a:lnTo>
                    <a:pt x="1475" y="379"/>
                  </a:lnTo>
                  <a:lnTo>
                    <a:pt x="1486" y="379"/>
                  </a:lnTo>
                  <a:lnTo>
                    <a:pt x="1498" y="379"/>
                  </a:lnTo>
                  <a:lnTo>
                    <a:pt x="1508" y="383"/>
                  </a:lnTo>
                  <a:lnTo>
                    <a:pt x="1518" y="387"/>
                  </a:lnTo>
                  <a:lnTo>
                    <a:pt x="1525" y="395"/>
                  </a:lnTo>
                  <a:lnTo>
                    <a:pt x="1532" y="403"/>
                  </a:lnTo>
                  <a:lnTo>
                    <a:pt x="1536" y="413"/>
                  </a:lnTo>
                  <a:lnTo>
                    <a:pt x="1539" y="425"/>
                  </a:lnTo>
                  <a:lnTo>
                    <a:pt x="1541" y="436"/>
                  </a:lnTo>
                  <a:lnTo>
                    <a:pt x="1541" y="436"/>
                  </a:lnTo>
                  <a:lnTo>
                    <a:pt x="1539" y="448"/>
                  </a:lnTo>
                  <a:lnTo>
                    <a:pt x="1536" y="458"/>
                  </a:lnTo>
                  <a:lnTo>
                    <a:pt x="1532" y="468"/>
                  </a:lnTo>
                  <a:lnTo>
                    <a:pt x="1525" y="476"/>
                  </a:lnTo>
                  <a:lnTo>
                    <a:pt x="1518" y="484"/>
                  </a:lnTo>
                  <a:lnTo>
                    <a:pt x="1508" y="488"/>
                  </a:lnTo>
                  <a:lnTo>
                    <a:pt x="1498" y="492"/>
                  </a:lnTo>
                  <a:lnTo>
                    <a:pt x="1486" y="494"/>
                  </a:lnTo>
                  <a:close/>
                  <a:moveTo>
                    <a:pt x="1657" y="519"/>
                  </a:moveTo>
                  <a:lnTo>
                    <a:pt x="1657" y="519"/>
                  </a:lnTo>
                  <a:lnTo>
                    <a:pt x="1673" y="518"/>
                  </a:lnTo>
                  <a:lnTo>
                    <a:pt x="1686" y="515"/>
                  </a:lnTo>
                  <a:lnTo>
                    <a:pt x="1692" y="512"/>
                  </a:lnTo>
                  <a:lnTo>
                    <a:pt x="1698" y="509"/>
                  </a:lnTo>
                  <a:lnTo>
                    <a:pt x="1704" y="505"/>
                  </a:lnTo>
                  <a:lnTo>
                    <a:pt x="1708" y="501"/>
                  </a:lnTo>
                  <a:lnTo>
                    <a:pt x="1712" y="496"/>
                  </a:lnTo>
                  <a:lnTo>
                    <a:pt x="1716" y="491"/>
                  </a:lnTo>
                  <a:lnTo>
                    <a:pt x="1719" y="485"/>
                  </a:lnTo>
                  <a:lnTo>
                    <a:pt x="1722" y="478"/>
                  </a:lnTo>
                  <a:lnTo>
                    <a:pt x="1727" y="463"/>
                  </a:lnTo>
                  <a:lnTo>
                    <a:pt x="1727" y="446"/>
                  </a:lnTo>
                  <a:lnTo>
                    <a:pt x="1727" y="367"/>
                  </a:lnTo>
                  <a:lnTo>
                    <a:pt x="1727" y="364"/>
                  </a:lnTo>
                  <a:lnTo>
                    <a:pt x="1725" y="360"/>
                  </a:lnTo>
                  <a:lnTo>
                    <a:pt x="1724" y="357"/>
                  </a:lnTo>
                  <a:lnTo>
                    <a:pt x="1721" y="356"/>
                  </a:lnTo>
                  <a:lnTo>
                    <a:pt x="1716" y="354"/>
                  </a:lnTo>
                  <a:lnTo>
                    <a:pt x="1714" y="353"/>
                  </a:lnTo>
                  <a:lnTo>
                    <a:pt x="1709" y="354"/>
                  </a:lnTo>
                  <a:lnTo>
                    <a:pt x="1706" y="356"/>
                  </a:lnTo>
                  <a:lnTo>
                    <a:pt x="1704" y="357"/>
                  </a:lnTo>
                  <a:lnTo>
                    <a:pt x="1701" y="360"/>
                  </a:lnTo>
                  <a:lnTo>
                    <a:pt x="1699" y="364"/>
                  </a:lnTo>
                  <a:lnTo>
                    <a:pt x="1699" y="367"/>
                  </a:lnTo>
                  <a:lnTo>
                    <a:pt x="1699" y="448"/>
                  </a:lnTo>
                  <a:lnTo>
                    <a:pt x="1698" y="462"/>
                  </a:lnTo>
                  <a:lnTo>
                    <a:pt x="1693" y="474"/>
                  </a:lnTo>
                  <a:lnTo>
                    <a:pt x="1691" y="478"/>
                  </a:lnTo>
                  <a:lnTo>
                    <a:pt x="1688" y="482"/>
                  </a:lnTo>
                  <a:lnTo>
                    <a:pt x="1683" y="485"/>
                  </a:lnTo>
                  <a:lnTo>
                    <a:pt x="1679" y="488"/>
                  </a:lnTo>
                  <a:lnTo>
                    <a:pt x="1669" y="492"/>
                  </a:lnTo>
                  <a:lnTo>
                    <a:pt x="1657" y="492"/>
                  </a:lnTo>
                  <a:lnTo>
                    <a:pt x="1652" y="492"/>
                  </a:lnTo>
                  <a:lnTo>
                    <a:pt x="1646" y="492"/>
                  </a:lnTo>
                  <a:lnTo>
                    <a:pt x="1640" y="489"/>
                  </a:lnTo>
                  <a:lnTo>
                    <a:pt x="1636" y="488"/>
                  </a:lnTo>
                  <a:lnTo>
                    <a:pt x="1632" y="485"/>
                  </a:lnTo>
                  <a:lnTo>
                    <a:pt x="1627" y="481"/>
                  </a:lnTo>
                  <a:lnTo>
                    <a:pt x="1624" y="476"/>
                  </a:lnTo>
                  <a:lnTo>
                    <a:pt x="1621" y="472"/>
                  </a:lnTo>
                  <a:lnTo>
                    <a:pt x="1619" y="461"/>
                  </a:lnTo>
                  <a:lnTo>
                    <a:pt x="1617" y="446"/>
                  </a:lnTo>
                  <a:lnTo>
                    <a:pt x="1617" y="367"/>
                  </a:lnTo>
                  <a:lnTo>
                    <a:pt x="1616" y="364"/>
                  </a:lnTo>
                  <a:lnTo>
                    <a:pt x="1614" y="360"/>
                  </a:lnTo>
                  <a:lnTo>
                    <a:pt x="1613" y="357"/>
                  </a:lnTo>
                  <a:lnTo>
                    <a:pt x="1610" y="356"/>
                  </a:lnTo>
                  <a:lnTo>
                    <a:pt x="1607" y="354"/>
                  </a:lnTo>
                  <a:lnTo>
                    <a:pt x="1603" y="353"/>
                  </a:lnTo>
                  <a:lnTo>
                    <a:pt x="1598" y="354"/>
                  </a:lnTo>
                  <a:lnTo>
                    <a:pt x="1596" y="356"/>
                  </a:lnTo>
                  <a:lnTo>
                    <a:pt x="1593" y="357"/>
                  </a:lnTo>
                  <a:lnTo>
                    <a:pt x="1590" y="360"/>
                  </a:lnTo>
                  <a:lnTo>
                    <a:pt x="1588" y="364"/>
                  </a:lnTo>
                  <a:lnTo>
                    <a:pt x="1588" y="367"/>
                  </a:lnTo>
                  <a:lnTo>
                    <a:pt x="1588" y="448"/>
                  </a:lnTo>
                  <a:lnTo>
                    <a:pt x="1590" y="465"/>
                  </a:lnTo>
                  <a:lnTo>
                    <a:pt x="1593" y="479"/>
                  </a:lnTo>
                  <a:lnTo>
                    <a:pt x="1596" y="485"/>
                  </a:lnTo>
                  <a:lnTo>
                    <a:pt x="1598" y="491"/>
                  </a:lnTo>
                  <a:lnTo>
                    <a:pt x="1603" y="496"/>
                  </a:lnTo>
                  <a:lnTo>
                    <a:pt x="1607" y="501"/>
                  </a:lnTo>
                  <a:lnTo>
                    <a:pt x="1611" y="505"/>
                  </a:lnTo>
                  <a:lnTo>
                    <a:pt x="1617" y="509"/>
                  </a:lnTo>
                  <a:lnTo>
                    <a:pt x="1623" y="512"/>
                  </a:lnTo>
                  <a:lnTo>
                    <a:pt x="1629" y="515"/>
                  </a:lnTo>
                  <a:lnTo>
                    <a:pt x="1642" y="518"/>
                  </a:lnTo>
                  <a:lnTo>
                    <a:pt x="1657" y="519"/>
                  </a:lnTo>
                  <a:close/>
                  <a:moveTo>
                    <a:pt x="66" y="250"/>
                  </a:moveTo>
                  <a:lnTo>
                    <a:pt x="66" y="250"/>
                  </a:lnTo>
                  <a:lnTo>
                    <a:pt x="66" y="255"/>
                  </a:lnTo>
                  <a:lnTo>
                    <a:pt x="69" y="261"/>
                  </a:lnTo>
                  <a:lnTo>
                    <a:pt x="72" y="265"/>
                  </a:lnTo>
                  <a:lnTo>
                    <a:pt x="78" y="268"/>
                  </a:lnTo>
                  <a:lnTo>
                    <a:pt x="82" y="271"/>
                  </a:lnTo>
                  <a:lnTo>
                    <a:pt x="89" y="271"/>
                  </a:lnTo>
                  <a:lnTo>
                    <a:pt x="95" y="271"/>
                  </a:lnTo>
                  <a:lnTo>
                    <a:pt x="101" y="268"/>
                  </a:lnTo>
                  <a:lnTo>
                    <a:pt x="105" y="265"/>
                  </a:lnTo>
                  <a:lnTo>
                    <a:pt x="109" y="261"/>
                  </a:lnTo>
                  <a:lnTo>
                    <a:pt x="111" y="255"/>
                  </a:lnTo>
                  <a:lnTo>
                    <a:pt x="112" y="250"/>
                  </a:lnTo>
                  <a:lnTo>
                    <a:pt x="112" y="80"/>
                  </a:lnTo>
                  <a:lnTo>
                    <a:pt x="249" y="257"/>
                  </a:lnTo>
                  <a:lnTo>
                    <a:pt x="255" y="262"/>
                  </a:lnTo>
                  <a:lnTo>
                    <a:pt x="259" y="267"/>
                  </a:lnTo>
                  <a:lnTo>
                    <a:pt x="266" y="270"/>
                  </a:lnTo>
                  <a:lnTo>
                    <a:pt x="274" y="271"/>
                  </a:lnTo>
                  <a:lnTo>
                    <a:pt x="275" y="271"/>
                  </a:lnTo>
                  <a:lnTo>
                    <a:pt x="282" y="271"/>
                  </a:lnTo>
                  <a:lnTo>
                    <a:pt x="287" y="268"/>
                  </a:lnTo>
                  <a:lnTo>
                    <a:pt x="292" y="264"/>
                  </a:lnTo>
                  <a:lnTo>
                    <a:pt x="295" y="260"/>
                  </a:lnTo>
                  <a:lnTo>
                    <a:pt x="298" y="254"/>
                  </a:lnTo>
                  <a:lnTo>
                    <a:pt x="298" y="248"/>
                  </a:lnTo>
                  <a:lnTo>
                    <a:pt x="298" y="24"/>
                  </a:lnTo>
                  <a:lnTo>
                    <a:pt x="298" y="18"/>
                  </a:lnTo>
                  <a:lnTo>
                    <a:pt x="295" y="13"/>
                  </a:lnTo>
                  <a:lnTo>
                    <a:pt x="292" y="8"/>
                  </a:lnTo>
                  <a:lnTo>
                    <a:pt x="287" y="5"/>
                  </a:lnTo>
                  <a:lnTo>
                    <a:pt x="281" y="3"/>
                  </a:lnTo>
                  <a:lnTo>
                    <a:pt x="275" y="1"/>
                  </a:lnTo>
                  <a:lnTo>
                    <a:pt x="269" y="3"/>
                  </a:lnTo>
                  <a:lnTo>
                    <a:pt x="264" y="5"/>
                  </a:lnTo>
                  <a:lnTo>
                    <a:pt x="259" y="8"/>
                  </a:lnTo>
                  <a:lnTo>
                    <a:pt x="255" y="13"/>
                  </a:lnTo>
                  <a:lnTo>
                    <a:pt x="253" y="18"/>
                  </a:lnTo>
                  <a:lnTo>
                    <a:pt x="252" y="24"/>
                  </a:lnTo>
                  <a:lnTo>
                    <a:pt x="252" y="188"/>
                  </a:lnTo>
                  <a:lnTo>
                    <a:pt x="118" y="15"/>
                  </a:lnTo>
                  <a:lnTo>
                    <a:pt x="114" y="10"/>
                  </a:lnTo>
                  <a:lnTo>
                    <a:pt x="108" y="5"/>
                  </a:lnTo>
                  <a:lnTo>
                    <a:pt x="102" y="3"/>
                  </a:lnTo>
                  <a:lnTo>
                    <a:pt x="95" y="3"/>
                  </a:lnTo>
                  <a:lnTo>
                    <a:pt x="89" y="3"/>
                  </a:lnTo>
                  <a:lnTo>
                    <a:pt x="84" y="3"/>
                  </a:lnTo>
                  <a:lnTo>
                    <a:pt x="78" y="5"/>
                  </a:lnTo>
                  <a:lnTo>
                    <a:pt x="72" y="8"/>
                  </a:lnTo>
                  <a:lnTo>
                    <a:pt x="69" y="14"/>
                  </a:lnTo>
                  <a:lnTo>
                    <a:pt x="66" y="20"/>
                  </a:lnTo>
                  <a:lnTo>
                    <a:pt x="66" y="25"/>
                  </a:lnTo>
                  <a:lnTo>
                    <a:pt x="66" y="250"/>
                  </a:lnTo>
                  <a:close/>
                  <a:moveTo>
                    <a:pt x="331" y="250"/>
                  </a:moveTo>
                  <a:lnTo>
                    <a:pt x="331" y="250"/>
                  </a:lnTo>
                  <a:lnTo>
                    <a:pt x="333" y="255"/>
                  </a:lnTo>
                  <a:lnTo>
                    <a:pt x="334" y="261"/>
                  </a:lnTo>
                  <a:lnTo>
                    <a:pt x="338" y="265"/>
                  </a:lnTo>
                  <a:lnTo>
                    <a:pt x="343" y="268"/>
                  </a:lnTo>
                  <a:lnTo>
                    <a:pt x="347" y="271"/>
                  </a:lnTo>
                  <a:lnTo>
                    <a:pt x="353" y="271"/>
                  </a:lnTo>
                  <a:lnTo>
                    <a:pt x="360" y="271"/>
                  </a:lnTo>
                  <a:lnTo>
                    <a:pt x="366" y="268"/>
                  </a:lnTo>
                  <a:lnTo>
                    <a:pt x="372" y="264"/>
                  </a:lnTo>
                  <a:lnTo>
                    <a:pt x="374" y="257"/>
                  </a:lnTo>
                  <a:lnTo>
                    <a:pt x="397" y="205"/>
                  </a:lnTo>
                  <a:lnTo>
                    <a:pt x="527" y="205"/>
                  </a:lnTo>
                  <a:lnTo>
                    <a:pt x="549" y="255"/>
                  </a:lnTo>
                  <a:lnTo>
                    <a:pt x="553" y="262"/>
                  </a:lnTo>
                  <a:lnTo>
                    <a:pt x="557" y="267"/>
                  </a:lnTo>
                  <a:lnTo>
                    <a:pt x="564" y="271"/>
                  </a:lnTo>
                  <a:lnTo>
                    <a:pt x="572" y="271"/>
                  </a:lnTo>
                  <a:lnTo>
                    <a:pt x="577" y="271"/>
                  </a:lnTo>
                  <a:lnTo>
                    <a:pt x="583" y="268"/>
                  </a:lnTo>
                  <a:lnTo>
                    <a:pt x="588" y="265"/>
                  </a:lnTo>
                  <a:lnTo>
                    <a:pt x="590" y="261"/>
                  </a:lnTo>
                  <a:lnTo>
                    <a:pt x="593" y="255"/>
                  </a:lnTo>
                  <a:lnTo>
                    <a:pt x="595" y="250"/>
                  </a:lnTo>
                  <a:lnTo>
                    <a:pt x="593" y="247"/>
                  </a:lnTo>
                  <a:lnTo>
                    <a:pt x="593" y="244"/>
                  </a:lnTo>
                  <a:lnTo>
                    <a:pt x="593" y="242"/>
                  </a:lnTo>
                  <a:lnTo>
                    <a:pt x="592" y="239"/>
                  </a:lnTo>
                  <a:lnTo>
                    <a:pt x="492" y="18"/>
                  </a:lnTo>
                  <a:lnTo>
                    <a:pt x="487" y="11"/>
                  </a:lnTo>
                  <a:lnTo>
                    <a:pt x="481" y="5"/>
                  </a:lnTo>
                  <a:lnTo>
                    <a:pt x="474" y="1"/>
                  </a:lnTo>
                  <a:lnTo>
                    <a:pt x="464" y="0"/>
                  </a:lnTo>
                  <a:lnTo>
                    <a:pt x="462" y="0"/>
                  </a:lnTo>
                  <a:lnTo>
                    <a:pt x="452" y="1"/>
                  </a:lnTo>
                  <a:lnTo>
                    <a:pt x="445" y="5"/>
                  </a:lnTo>
                  <a:lnTo>
                    <a:pt x="439" y="11"/>
                  </a:lnTo>
                  <a:lnTo>
                    <a:pt x="433" y="18"/>
                  </a:lnTo>
                  <a:lnTo>
                    <a:pt x="334" y="239"/>
                  </a:lnTo>
                  <a:lnTo>
                    <a:pt x="333" y="242"/>
                  </a:lnTo>
                  <a:lnTo>
                    <a:pt x="333" y="245"/>
                  </a:lnTo>
                  <a:lnTo>
                    <a:pt x="331" y="248"/>
                  </a:lnTo>
                  <a:lnTo>
                    <a:pt x="331" y="250"/>
                  </a:lnTo>
                  <a:close/>
                  <a:moveTo>
                    <a:pt x="416" y="163"/>
                  </a:moveTo>
                  <a:lnTo>
                    <a:pt x="416" y="163"/>
                  </a:lnTo>
                  <a:lnTo>
                    <a:pt x="462" y="57"/>
                  </a:lnTo>
                  <a:lnTo>
                    <a:pt x="510" y="163"/>
                  </a:lnTo>
                  <a:lnTo>
                    <a:pt x="416" y="163"/>
                  </a:lnTo>
                  <a:close/>
                  <a:moveTo>
                    <a:pt x="755" y="248"/>
                  </a:moveTo>
                  <a:lnTo>
                    <a:pt x="755" y="248"/>
                  </a:lnTo>
                  <a:lnTo>
                    <a:pt x="756" y="255"/>
                  </a:lnTo>
                  <a:lnTo>
                    <a:pt x="759" y="260"/>
                  </a:lnTo>
                  <a:lnTo>
                    <a:pt x="762" y="265"/>
                  </a:lnTo>
                  <a:lnTo>
                    <a:pt x="766" y="268"/>
                  </a:lnTo>
                  <a:lnTo>
                    <a:pt x="772" y="271"/>
                  </a:lnTo>
                  <a:lnTo>
                    <a:pt x="779" y="271"/>
                  </a:lnTo>
                  <a:lnTo>
                    <a:pt x="785" y="271"/>
                  </a:lnTo>
                  <a:lnTo>
                    <a:pt x="791" y="268"/>
                  </a:lnTo>
                  <a:lnTo>
                    <a:pt x="795" y="265"/>
                  </a:lnTo>
                  <a:lnTo>
                    <a:pt x="799" y="260"/>
                  </a:lnTo>
                  <a:lnTo>
                    <a:pt x="801" y="255"/>
                  </a:lnTo>
                  <a:lnTo>
                    <a:pt x="802" y="248"/>
                  </a:lnTo>
                  <a:lnTo>
                    <a:pt x="802" y="194"/>
                  </a:lnTo>
                  <a:lnTo>
                    <a:pt x="845" y="152"/>
                  </a:lnTo>
                  <a:lnTo>
                    <a:pt x="932" y="261"/>
                  </a:lnTo>
                  <a:lnTo>
                    <a:pt x="935" y="265"/>
                  </a:lnTo>
                  <a:lnTo>
                    <a:pt x="939" y="268"/>
                  </a:lnTo>
                  <a:lnTo>
                    <a:pt x="945" y="271"/>
                  </a:lnTo>
                  <a:lnTo>
                    <a:pt x="950" y="271"/>
                  </a:lnTo>
                  <a:lnTo>
                    <a:pt x="958" y="271"/>
                  </a:lnTo>
                  <a:lnTo>
                    <a:pt x="963" y="268"/>
                  </a:lnTo>
                  <a:lnTo>
                    <a:pt x="968" y="265"/>
                  </a:lnTo>
                  <a:lnTo>
                    <a:pt x="972" y="261"/>
                  </a:lnTo>
                  <a:lnTo>
                    <a:pt x="973" y="255"/>
                  </a:lnTo>
                  <a:lnTo>
                    <a:pt x="975" y="250"/>
                  </a:lnTo>
                  <a:lnTo>
                    <a:pt x="975" y="244"/>
                  </a:lnTo>
                  <a:lnTo>
                    <a:pt x="973" y="239"/>
                  </a:lnTo>
                  <a:lnTo>
                    <a:pt x="971" y="235"/>
                  </a:lnTo>
                  <a:lnTo>
                    <a:pt x="968" y="232"/>
                  </a:lnTo>
                  <a:lnTo>
                    <a:pt x="878" y="120"/>
                  </a:lnTo>
                  <a:lnTo>
                    <a:pt x="962" y="41"/>
                  </a:lnTo>
                  <a:lnTo>
                    <a:pt x="965" y="37"/>
                  </a:lnTo>
                  <a:lnTo>
                    <a:pt x="968" y="33"/>
                  </a:lnTo>
                  <a:lnTo>
                    <a:pt x="969" y="28"/>
                  </a:lnTo>
                  <a:lnTo>
                    <a:pt x="969" y="23"/>
                  </a:lnTo>
                  <a:lnTo>
                    <a:pt x="969" y="18"/>
                  </a:lnTo>
                  <a:lnTo>
                    <a:pt x="968" y="13"/>
                  </a:lnTo>
                  <a:lnTo>
                    <a:pt x="963" y="8"/>
                  </a:lnTo>
                  <a:lnTo>
                    <a:pt x="959" y="5"/>
                  </a:lnTo>
                  <a:lnTo>
                    <a:pt x="955" y="3"/>
                  </a:lnTo>
                  <a:lnTo>
                    <a:pt x="948" y="1"/>
                  </a:lnTo>
                  <a:lnTo>
                    <a:pt x="942" y="3"/>
                  </a:lnTo>
                  <a:lnTo>
                    <a:pt x="937" y="4"/>
                  </a:lnTo>
                  <a:lnTo>
                    <a:pt x="933" y="7"/>
                  </a:lnTo>
                  <a:lnTo>
                    <a:pt x="929" y="10"/>
                  </a:lnTo>
                  <a:lnTo>
                    <a:pt x="802" y="137"/>
                  </a:lnTo>
                  <a:lnTo>
                    <a:pt x="802" y="25"/>
                  </a:lnTo>
                  <a:lnTo>
                    <a:pt x="801" y="18"/>
                  </a:lnTo>
                  <a:lnTo>
                    <a:pt x="799" y="13"/>
                  </a:lnTo>
                  <a:lnTo>
                    <a:pt x="795" y="8"/>
                  </a:lnTo>
                  <a:lnTo>
                    <a:pt x="791" y="5"/>
                  </a:lnTo>
                  <a:lnTo>
                    <a:pt x="785" y="3"/>
                  </a:lnTo>
                  <a:lnTo>
                    <a:pt x="779" y="1"/>
                  </a:lnTo>
                  <a:lnTo>
                    <a:pt x="772" y="3"/>
                  </a:lnTo>
                  <a:lnTo>
                    <a:pt x="766" y="5"/>
                  </a:lnTo>
                  <a:lnTo>
                    <a:pt x="762" y="8"/>
                  </a:lnTo>
                  <a:lnTo>
                    <a:pt x="759" y="13"/>
                  </a:lnTo>
                  <a:lnTo>
                    <a:pt x="756" y="18"/>
                  </a:lnTo>
                  <a:lnTo>
                    <a:pt x="755" y="25"/>
                  </a:lnTo>
                  <a:lnTo>
                    <a:pt x="755" y="248"/>
                  </a:lnTo>
                  <a:close/>
                  <a:moveTo>
                    <a:pt x="1126" y="274"/>
                  </a:moveTo>
                  <a:lnTo>
                    <a:pt x="1126" y="274"/>
                  </a:lnTo>
                  <a:lnTo>
                    <a:pt x="1138" y="274"/>
                  </a:lnTo>
                  <a:lnTo>
                    <a:pt x="1149" y="272"/>
                  </a:lnTo>
                  <a:lnTo>
                    <a:pt x="1161" y="270"/>
                  </a:lnTo>
                  <a:lnTo>
                    <a:pt x="1172" y="267"/>
                  </a:lnTo>
                  <a:lnTo>
                    <a:pt x="1182" y="264"/>
                  </a:lnTo>
                  <a:lnTo>
                    <a:pt x="1192" y="258"/>
                  </a:lnTo>
                  <a:lnTo>
                    <a:pt x="1201" y="254"/>
                  </a:lnTo>
                  <a:lnTo>
                    <a:pt x="1210" y="248"/>
                  </a:lnTo>
                  <a:lnTo>
                    <a:pt x="1218" y="241"/>
                  </a:lnTo>
                  <a:lnTo>
                    <a:pt x="1227" y="234"/>
                  </a:lnTo>
                  <a:lnTo>
                    <a:pt x="1234" y="225"/>
                  </a:lnTo>
                  <a:lnTo>
                    <a:pt x="1240" y="218"/>
                  </a:lnTo>
                  <a:lnTo>
                    <a:pt x="1246" y="209"/>
                  </a:lnTo>
                  <a:lnTo>
                    <a:pt x="1251" y="199"/>
                  </a:lnTo>
                  <a:lnTo>
                    <a:pt x="1256" y="189"/>
                  </a:lnTo>
                  <a:lnTo>
                    <a:pt x="1259" y="179"/>
                  </a:lnTo>
                  <a:lnTo>
                    <a:pt x="1261" y="169"/>
                  </a:lnTo>
                  <a:lnTo>
                    <a:pt x="1264" y="159"/>
                  </a:lnTo>
                  <a:lnTo>
                    <a:pt x="1266" y="148"/>
                  </a:lnTo>
                  <a:lnTo>
                    <a:pt x="1266" y="136"/>
                  </a:lnTo>
                  <a:lnTo>
                    <a:pt x="1266" y="136"/>
                  </a:lnTo>
                  <a:lnTo>
                    <a:pt x="1266" y="125"/>
                  </a:lnTo>
                  <a:lnTo>
                    <a:pt x="1264" y="115"/>
                  </a:lnTo>
                  <a:lnTo>
                    <a:pt x="1261" y="103"/>
                  </a:lnTo>
                  <a:lnTo>
                    <a:pt x="1259" y="93"/>
                  </a:lnTo>
                  <a:lnTo>
                    <a:pt x="1256" y="83"/>
                  </a:lnTo>
                  <a:lnTo>
                    <a:pt x="1251" y="73"/>
                  </a:lnTo>
                  <a:lnTo>
                    <a:pt x="1246" y="64"/>
                  </a:lnTo>
                  <a:lnTo>
                    <a:pt x="1240" y="56"/>
                  </a:lnTo>
                  <a:lnTo>
                    <a:pt x="1234" y="47"/>
                  </a:lnTo>
                  <a:lnTo>
                    <a:pt x="1227" y="40"/>
                  </a:lnTo>
                  <a:lnTo>
                    <a:pt x="1220" y="33"/>
                  </a:lnTo>
                  <a:lnTo>
                    <a:pt x="1211" y="25"/>
                  </a:lnTo>
                  <a:lnTo>
                    <a:pt x="1202" y="20"/>
                  </a:lnTo>
                  <a:lnTo>
                    <a:pt x="1192" y="14"/>
                  </a:lnTo>
                  <a:lnTo>
                    <a:pt x="1182" y="10"/>
                  </a:lnTo>
                  <a:lnTo>
                    <a:pt x="1172" y="5"/>
                  </a:lnTo>
                  <a:lnTo>
                    <a:pt x="1162" y="3"/>
                  </a:lnTo>
                  <a:lnTo>
                    <a:pt x="1151" y="1"/>
                  </a:lnTo>
                  <a:lnTo>
                    <a:pt x="1139" y="0"/>
                  </a:lnTo>
                  <a:lnTo>
                    <a:pt x="1126" y="0"/>
                  </a:lnTo>
                  <a:lnTo>
                    <a:pt x="1115" y="0"/>
                  </a:lnTo>
                  <a:lnTo>
                    <a:pt x="1103" y="1"/>
                  </a:lnTo>
                  <a:lnTo>
                    <a:pt x="1092" y="3"/>
                  </a:lnTo>
                  <a:lnTo>
                    <a:pt x="1080" y="5"/>
                  </a:lnTo>
                  <a:lnTo>
                    <a:pt x="1070" y="10"/>
                  </a:lnTo>
                  <a:lnTo>
                    <a:pt x="1060" y="14"/>
                  </a:lnTo>
                  <a:lnTo>
                    <a:pt x="1051" y="20"/>
                  </a:lnTo>
                  <a:lnTo>
                    <a:pt x="1041" y="25"/>
                  </a:lnTo>
                  <a:lnTo>
                    <a:pt x="1034" y="33"/>
                  </a:lnTo>
                  <a:lnTo>
                    <a:pt x="1025" y="40"/>
                  </a:lnTo>
                  <a:lnTo>
                    <a:pt x="1018" y="47"/>
                  </a:lnTo>
                  <a:lnTo>
                    <a:pt x="1012" y="56"/>
                  </a:lnTo>
                  <a:lnTo>
                    <a:pt x="1007" y="64"/>
                  </a:lnTo>
                  <a:lnTo>
                    <a:pt x="1001" y="74"/>
                  </a:lnTo>
                  <a:lnTo>
                    <a:pt x="996" y="83"/>
                  </a:lnTo>
                  <a:lnTo>
                    <a:pt x="994" y="93"/>
                  </a:lnTo>
                  <a:lnTo>
                    <a:pt x="991" y="104"/>
                  </a:lnTo>
                  <a:lnTo>
                    <a:pt x="988" y="115"/>
                  </a:lnTo>
                  <a:lnTo>
                    <a:pt x="986" y="126"/>
                  </a:lnTo>
                  <a:lnTo>
                    <a:pt x="986" y="136"/>
                  </a:lnTo>
                  <a:lnTo>
                    <a:pt x="986" y="137"/>
                  </a:lnTo>
                  <a:lnTo>
                    <a:pt x="986" y="149"/>
                  </a:lnTo>
                  <a:lnTo>
                    <a:pt x="988" y="159"/>
                  </a:lnTo>
                  <a:lnTo>
                    <a:pt x="991" y="171"/>
                  </a:lnTo>
                  <a:lnTo>
                    <a:pt x="994" y="181"/>
                  </a:lnTo>
                  <a:lnTo>
                    <a:pt x="996" y="191"/>
                  </a:lnTo>
                  <a:lnTo>
                    <a:pt x="1001" y="201"/>
                  </a:lnTo>
                  <a:lnTo>
                    <a:pt x="1007" y="209"/>
                  </a:lnTo>
                  <a:lnTo>
                    <a:pt x="1012" y="218"/>
                  </a:lnTo>
                  <a:lnTo>
                    <a:pt x="1018" y="227"/>
                  </a:lnTo>
                  <a:lnTo>
                    <a:pt x="1025" y="234"/>
                  </a:lnTo>
                  <a:lnTo>
                    <a:pt x="1032" y="241"/>
                  </a:lnTo>
                  <a:lnTo>
                    <a:pt x="1041" y="248"/>
                  </a:lnTo>
                  <a:lnTo>
                    <a:pt x="1050" y="254"/>
                  </a:lnTo>
                  <a:lnTo>
                    <a:pt x="1060" y="260"/>
                  </a:lnTo>
                  <a:lnTo>
                    <a:pt x="1068" y="264"/>
                  </a:lnTo>
                  <a:lnTo>
                    <a:pt x="1080" y="267"/>
                  </a:lnTo>
                  <a:lnTo>
                    <a:pt x="1090" y="271"/>
                  </a:lnTo>
                  <a:lnTo>
                    <a:pt x="1102" y="272"/>
                  </a:lnTo>
                  <a:lnTo>
                    <a:pt x="1113" y="274"/>
                  </a:lnTo>
                  <a:lnTo>
                    <a:pt x="1126" y="274"/>
                  </a:lnTo>
                  <a:close/>
                  <a:moveTo>
                    <a:pt x="1126" y="231"/>
                  </a:moveTo>
                  <a:lnTo>
                    <a:pt x="1126" y="231"/>
                  </a:lnTo>
                  <a:lnTo>
                    <a:pt x="1116" y="231"/>
                  </a:lnTo>
                  <a:lnTo>
                    <a:pt x="1107" y="229"/>
                  </a:lnTo>
                  <a:lnTo>
                    <a:pt x="1099" y="227"/>
                  </a:lnTo>
                  <a:lnTo>
                    <a:pt x="1090" y="224"/>
                  </a:lnTo>
                  <a:lnTo>
                    <a:pt x="1081" y="219"/>
                  </a:lnTo>
                  <a:lnTo>
                    <a:pt x="1074" y="215"/>
                  </a:lnTo>
                  <a:lnTo>
                    <a:pt x="1067" y="209"/>
                  </a:lnTo>
                  <a:lnTo>
                    <a:pt x="1061" y="204"/>
                  </a:lnTo>
                  <a:lnTo>
                    <a:pt x="1056" y="196"/>
                  </a:lnTo>
                  <a:lnTo>
                    <a:pt x="1050" y="189"/>
                  </a:lnTo>
                  <a:lnTo>
                    <a:pt x="1045" y="182"/>
                  </a:lnTo>
                  <a:lnTo>
                    <a:pt x="1043" y="173"/>
                  </a:lnTo>
                  <a:lnTo>
                    <a:pt x="1040" y="165"/>
                  </a:lnTo>
                  <a:lnTo>
                    <a:pt x="1037" y="156"/>
                  </a:lnTo>
                  <a:lnTo>
                    <a:pt x="1035" y="146"/>
                  </a:lnTo>
                  <a:lnTo>
                    <a:pt x="1035" y="136"/>
                  </a:lnTo>
                  <a:lnTo>
                    <a:pt x="1035" y="136"/>
                  </a:lnTo>
                  <a:lnTo>
                    <a:pt x="1035" y="126"/>
                  </a:lnTo>
                  <a:lnTo>
                    <a:pt x="1037" y="117"/>
                  </a:lnTo>
                  <a:lnTo>
                    <a:pt x="1040" y="107"/>
                  </a:lnTo>
                  <a:lnTo>
                    <a:pt x="1043" y="99"/>
                  </a:lnTo>
                  <a:lnTo>
                    <a:pt x="1045" y="92"/>
                  </a:lnTo>
                  <a:lnTo>
                    <a:pt x="1050" y="83"/>
                  </a:lnTo>
                  <a:lnTo>
                    <a:pt x="1056" y="76"/>
                  </a:lnTo>
                  <a:lnTo>
                    <a:pt x="1061" y="70"/>
                  </a:lnTo>
                  <a:lnTo>
                    <a:pt x="1067" y="63"/>
                  </a:lnTo>
                  <a:lnTo>
                    <a:pt x="1074" y="59"/>
                  </a:lnTo>
                  <a:lnTo>
                    <a:pt x="1081" y="53"/>
                  </a:lnTo>
                  <a:lnTo>
                    <a:pt x="1089" y="50"/>
                  </a:lnTo>
                  <a:lnTo>
                    <a:pt x="1097" y="46"/>
                  </a:lnTo>
                  <a:lnTo>
                    <a:pt x="1106" y="44"/>
                  </a:lnTo>
                  <a:lnTo>
                    <a:pt x="1116" y="43"/>
                  </a:lnTo>
                  <a:lnTo>
                    <a:pt x="1126" y="41"/>
                  </a:lnTo>
                  <a:lnTo>
                    <a:pt x="1135" y="43"/>
                  </a:lnTo>
                  <a:lnTo>
                    <a:pt x="1145" y="44"/>
                  </a:lnTo>
                  <a:lnTo>
                    <a:pt x="1153" y="46"/>
                  </a:lnTo>
                  <a:lnTo>
                    <a:pt x="1162" y="50"/>
                  </a:lnTo>
                  <a:lnTo>
                    <a:pt x="1171" y="54"/>
                  </a:lnTo>
                  <a:lnTo>
                    <a:pt x="1178" y="59"/>
                  </a:lnTo>
                  <a:lnTo>
                    <a:pt x="1185" y="64"/>
                  </a:lnTo>
                  <a:lnTo>
                    <a:pt x="1191" y="70"/>
                  </a:lnTo>
                  <a:lnTo>
                    <a:pt x="1197" y="77"/>
                  </a:lnTo>
                  <a:lnTo>
                    <a:pt x="1201" y="84"/>
                  </a:lnTo>
                  <a:lnTo>
                    <a:pt x="1205" y="92"/>
                  </a:lnTo>
                  <a:lnTo>
                    <a:pt x="1210" y="100"/>
                  </a:lnTo>
                  <a:lnTo>
                    <a:pt x="1212" y="109"/>
                  </a:lnTo>
                  <a:lnTo>
                    <a:pt x="1214" y="117"/>
                  </a:lnTo>
                  <a:lnTo>
                    <a:pt x="1215" y="127"/>
                  </a:lnTo>
                  <a:lnTo>
                    <a:pt x="1217" y="136"/>
                  </a:lnTo>
                  <a:lnTo>
                    <a:pt x="1217" y="137"/>
                  </a:lnTo>
                  <a:lnTo>
                    <a:pt x="1215" y="148"/>
                  </a:lnTo>
                  <a:lnTo>
                    <a:pt x="1214" y="156"/>
                  </a:lnTo>
                  <a:lnTo>
                    <a:pt x="1212" y="165"/>
                  </a:lnTo>
                  <a:lnTo>
                    <a:pt x="1210" y="173"/>
                  </a:lnTo>
                  <a:lnTo>
                    <a:pt x="1207" y="182"/>
                  </a:lnTo>
                  <a:lnTo>
                    <a:pt x="1202" y="189"/>
                  </a:lnTo>
                  <a:lnTo>
                    <a:pt x="1197" y="196"/>
                  </a:lnTo>
                  <a:lnTo>
                    <a:pt x="1191" y="204"/>
                  </a:lnTo>
                  <a:lnTo>
                    <a:pt x="1185" y="209"/>
                  </a:lnTo>
                  <a:lnTo>
                    <a:pt x="1178" y="215"/>
                  </a:lnTo>
                  <a:lnTo>
                    <a:pt x="1171" y="219"/>
                  </a:lnTo>
                  <a:lnTo>
                    <a:pt x="1162" y="224"/>
                  </a:lnTo>
                  <a:lnTo>
                    <a:pt x="1155" y="227"/>
                  </a:lnTo>
                  <a:lnTo>
                    <a:pt x="1145" y="229"/>
                  </a:lnTo>
                  <a:lnTo>
                    <a:pt x="1136" y="231"/>
                  </a:lnTo>
                  <a:lnTo>
                    <a:pt x="1126" y="231"/>
                  </a:lnTo>
                  <a:close/>
                  <a:moveTo>
                    <a:pt x="1308" y="247"/>
                  </a:moveTo>
                  <a:lnTo>
                    <a:pt x="1308" y="247"/>
                  </a:lnTo>
                  <a:lnTo>
                    <a:pt x="1308" y="252"/>
                  </a:lnTo>
                  <a:lnTo>
                    <a:pt x="1310" y="258"/>
                  </a:lnTo>
                  <a:lnTo>
                    <a:pt x="1315" y="262"/>
                  </a:lnTo>
                  <a:lnTo>
                    <a:pt x="1319" y="267"/>
                  </a:lnTo>
                  <a:lnTo>
                    <a:pt x="1325" y="270"/>
                  </a:lnTo>
                  <a:lnTo>
                    <a:pt x="1331" y="270"/>
                  </a:lnTo>
                  <a:lnTo>
                    <a:pt x="1475" y="270"/>
                  </a:lnTo>
                  <a:lnTo>
                    <a:pt x="1480" y="270"/>
                  </a:lnTo>
                  <a:lnTo>
                    <a:pt x="1486" y="267"/>
                  </a:lnTo>
                  <a:lnTo>
                    <a:pt x="1490" y="264"/>
                  </a:lnTo>
                  <a:lnTo>
                    <a:pt x="1493" y="260"/>
                  </a:lnTo>
                  <a:lnTo>
                    <a:pt x="1496" y="254"/>
                  </a:lnTo>
                  <a:lnTo>
                    <a:pt x="1496" y="248"/>
                  </a:lnTo>
                  <a:lnTo>
                    <a:pt x="1496" y="242"/>
                  </a:lnTo>
                  <a:lnTo>
                    <a:pt x="1493" y="238"/>
                  </a:lnTo>
                  <a:lnTo>
                    <a:pt x="1490" y="234"/>
                  </a:lnTo>
                  <a:lnTo>
                    <a:pt x="1486" y="229"/>
                  </a:lnTo>
                  <a:lnTo>
                    <a:pt x="1480" y="228"/>
                  </a:lnTo>
                  <a:lnTo>
                    <a:pt x="1475" y="227"/>
                  </a:lnTo>
                  <a:lnTo>
                    <a:pt x="1354" y="227"/>
                  </a:lnTo>
                  <a:lnTo>
                    <a:pt x="1354" y="25"/>
                  </a:lnTo>
                  <a:lnTo>
                    <a:pt x="1354" y="18"/>
                  </a:lnTo>
                  <a:lnTo>
                    <a:pt x="1351" y="13"/>
                  </a:lnTo>
                  <a:lnTo>
                    <a:pt x="1348" y="8"/>
                  </a:lnTo>
                  <a:lnTo>
                    <a:pt x="1342" y="5"/>
                  </a:lnTo>
                  <a:lnTo>
                    <a:pt x="1338" y="3"/>
                  </a:lnTo>
                  <a:lnTo>
                    <a:pt x="1331" y="1"/>
                  </a:lnTo>
                  <a:lnTo>
                    <a:pt x="1325" y="3"/>
                  </a:lnTo>
                  <a:lnTo>
                    <a:pt x="1319" y="5"/>
                  </a:lnTo>
                  <a:lnTo>
                    <a:pt x="1315" y="8"/>
                  </a:lnTo>
                  <a:lnTo>
                    <a:pt x="1310" y="13"/>
                  </a:lnTo>
                  <a:lnTo>
                    <a:pt x="1308" y="18"/>
                  </a:lnTo>
                  <a:lnTo>
                    <a:pt x="1308" y="25"/>
                  </a:lnTo>
                  <a:lnTo>
                    <a:pt x="1308" y="247"/>
                  </a:lnTo>
                  <a:close/>
                  <a:moveTo>
                    <a:pt x="1549" y="270"/>
                  </a:moveTo>
                  <a:lnTo>
                    <a:pt x="1549" y="270"/>
                  </a:lnTo>
                  <a:lnTo>
                    <a:pt x="1706" y="270"/>
                  </a:lnTo>
                  <a:lnTo>
                    <a:pt x="1712" y="270"/>
                  </a:lnTo>
                  <a:lnTo>
                    <a:pt x="1718" y="267"/>
                  </a:lnTo>
                  <a:lnTo>
                    <a:pt x="1722" y="264"/>
                  </a:lnTo>
                  <a:lnTo>
                    <a:pt x="1725" y="260"/>
                  </a:lnTo>
                  <a:lnTo>
                    <a:pt x="1727" y="254"/>
                  </a:lnTo>
                  <a:lnTo>
                    <a:pt x="1728" y="250"/>
                  </a:lnTo>
                  <a:lnTo>
                    <a:pt x="1727" y="244"/>
                  </a:lnTo>
                  <a:lnTo>
                    <a:pt x="1725" y="238"/>
                  </a:lnTo>
                  <a:lnTo>
                    <a:pt x="1722" y="234"/>
                  </a:lnTo>
                  <a:lnTo>
                    <a:pt x="1718" y="231"/>
                  </a:lnTo>
                  <a:lnTo>
                    <a:pt x="1712" y="229"/>
                  </a:lnTo>
                  <a:lnTo>
                    <a:pt x="1706" y="228"/>
                  </a:lnTo>
                  <a:lnTo>
                    <a:pt x="1572" y="228"/>
                  </a:lnTo>
                  <a:lnTo>
                    <a:pt x="1572" y="156"/>
                  </a:lnTo>
                  <a:lnTo>
                    <a:pt x="1688" y="156"/>
                  </a:lnTo>
                  <a:lnTo>
                    <a:pt x="1693" y="156"/>
                  </a:lnTo>
                  <a:lnTo>
                    <a:pt x="1699" y="153"/>
                  </a:lnTo>
                  <a:lnTo>
                    <a:pt x="1702" y="150"/>
                  </a:lnTo>
                  <a:lnTo>
                    <a:pt x="1706" y="146"/>
                  </a:lnTo>
                  <a:lnTo>
                    <a:pt x="1708" y="142"/>
                  </a:lnTo>
                  <a:lnTo>
                    <a:pt x="1709" y="136"/>
                  </a:lnTo>
                  <a:lnTo>
                    <a:pt x="1708" y="130"/>
                  </a:lnTo>
                  <a:lnTo>
                    <a:pt x="1706" y="125"/>
                  </a:lnTo>
                  <a:lnTo>
                    <a:pt x="1702" y="120"/>
                  </a:lnTo>
                  <a:lnTo>
                    <a:pt x="1699" y="117"/>
                  </a:lnTo>
                  <a:lnTo>
                    <a:pt x="1693" y="116"/>
                  </a:lnTo>
                  <a:lnTo>
                    <a:pt x="1688" y="115"/>
                  </a:lnTo>
                  <a:lnTo>
                    <a:pt x="1572" y="115"/>
                  </a:lnTo>
                  <a:lnTo>
                    <a:pt x="1572" y="46"/>
                  </a:lnTo>
                  <a:lnTo>
                    <a:pt x="1705" y="46"/>
                  </a:lnTo>
                  <a:lnTo>
                    <a:pt x="1711" y="44"/>
                  </a:lnTo>
                  <a:lnTo>
                    <a:pt x="1715" y="43"/>
                  </a:lnTo>
                  <a:lnTo>
                    <a:pt x="1719" y="40"/>
                  </a:lnTo>
                  <a:lnTo>
                    <a:pt x="1724" y="36"/>
                  </a:lnTo>
                  <a:lnTo>
                    <a:pt x="1725" y="30"/>
                  </a:lnTo>
                  <a:lnTo>
                    <a:pt x="1727" y="24"/>
                  </a:lnTo>
                  <a:lnTo>
                    <a:pt x="1725" y="18"/>
                  </a:lnTo>
                  <a:lnTo>
                    <a:pt x="1724" y="14"/>
                  </a:lnTo>
                  <a:lnTo>
                    <a:pt x="1719" y="10"/>
                  </a:lnTo>
                  <a:lnTo>
                    <a:pt x="1715" y="7"/>
                  </a:lnTo>
                  <a:lnTo>
                    <a:pt x="1711" y="4"/>
                  </a:lnTo>
                  <a:lnTo>
                    <a:pt x="1705" y="4"/>
                  </a:lnTo>
                  <a:lnTo>
                    <a:pt x="1549" y="4"/>
                  </a:lnTo>
                  <a:lnTo>
                    <a:pt x="1544" y="4"/>
                  </a:lnTo>
                  <a:lnTo>
                    <a:pt x="1538" y="7"/>
                  </a:lnTo>
                  <a:lnTo>
                    <a:pt x="1534" y="10"/>
                  </a:lnTo>
                  <a:lnTo>
                    <a:pt x="1529" y="15"/>
                  </a:lnTo>
                  <a:lnTo>
                    <a:pt x="1526" y="21"/>
                  </a:lnTo>
                  <a:lnTo>
                    <a:pt x="1526" y="27"/>
                  </a:lnTo>
                  <a:lnTo>
                    <a:pt x="1526" y="247"/>
                  </a:lnTo>
                  <a:lnTo>
                    <a:pt x="1526" y="252"/>
                  </a:lnTo>
                  <a:lnTo>
                    <a:pt x="1529" y="258"/>
                  </a:lnTo>
                  <a:lnTo>
                    <a:pt x="1534" y="262"/>
                  </a:lnTo>
                  <a:lnTo>
                    <a:pt x="1538" y="267"/>
                  </a:lnTo>
                  <a:lnTo>
                    <a:pt x="1544" y="270"/>
                  </a:lnTo>
                  <a:lnTo>
                    <a:pt x="1549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8" name="Freeform 15">
            <a:extLst>
              <a:ext uri="{FF2B5EF4-FFF2-40B4-BE49-F238E27FC236}">
                <a16:creationId xmlns:a16="http://schemas.microsoft.com/office/drawing/2014/main" id="{95713751-AF4E-F0C4-A269-0FF26EFCFD88}"/>
              </a:ext>
            </a:extLst>
          </p:cNvPr>
          <p:cNvSpPr>
            <a:spLocks noEditPoints="1"/>
          </p:cNvSpPr>
          <p:nvPr/>
        </p:nvSpPr>
        <p:spPr bwMode="auto">
          <a:xfrm>
            <a:off x="766763" y="752475"/>
            <a:ext cx="444500" cy="252413"/>
          </a:xfrm>
          <a:custGeom>
            <a:avLst/>
            <a:gdLst>
              <a:gd name="T0" fmla="*/ 327 w 839"/>
              <a:gd name="T1" fmla="*/ 389 h 478"/>
              <a:gd name="T2" fmla="*/ 386 w 839"/>
              <a:gd name="T3" fmla="*/ 416 h 478"/>
              <a:gd name="T4" fmla="*/ 219 w 839"/>
              <a:gd name="T5" fmla="*/ 23 h 478"/>
              <a:gd name="T6" fmla="*/ 388 w 839"/>
              <a:gd name="T7" fmla="*/ 4 h 478"/>
              <a:gd name="T8" fmla="*/ 424 w 839"/>
              <a:gd name="T9" fmla="*/ 281 h 478"/>
              <a:gd name="T10" fmla="*/ 414 w 839"/>
              <a:gd name="T11" fmla="*/ 335 h 478"/>
              <a:gd name="T12" fmla="*/ 384 w 839"/>
              <a:gd name="T13" fmla="*/ 327 h 478"/>
              <a:gd name="T14" fmla="*/ 422 w 839"/>
              <a:gd name="T15" fmla="*/ 358 h 478"/>
              <a:gd name="T16" fmla="*/ 459 w 839"/>
              <a:gd name="T17" fmla="*/ 319 h 478"/>
              <a:gd name="T18" fmla="*/ 424 w 839"/>
              <a:gd name="T19" fmla="*/ 281 h 478"/>
              <a:gd name="T20" fmla="*/ 432 w 839"/>
              <a:gd name="T21" fmla="*/ 248 h 478"/>
              <a:gd name="T22" fmla="*/ 286 w 839"/>
              <a:gd name="T23" fmla="*/ 223 h 478"/>
              <a:gd name="T24" fmla="*/ 354 w 839"/>
              <a:gd name="T25" fmla="*/ 293 h 478"/>
              <a:gd name="T26" fmla="*/ 679 w 839"/>
              <a:gd name="T27" fmla="*/ 194 h 478"/>
              <a:gd name="T28" fmla="*/ 672 w 839"/>
              <a:gd name="T29" fmla="*/ 161 h 478"/>
              <a:gd name="T30" fmla="*/ 780 w 839"/>
              <a:gd name="T31" fmla="*/ 197 h 478"/>
              <a:gd name="T32" fmla="*/ 838 w 839"/>
              <a:gd name="T33" fmla="*/ 303 h 478"/>
              <a:gd name="T34" fmla="*/ 812 w 839"/>
              <a:gd name="T35" fmla="*/ 408 h 478"/>
              <a:gd name="T36" fmla="*/ 727 w 839"/>
              <a:gd name="T37" fmla="*/ 471 h 478"/>
              <a:gd name="T38" fmla="*/ 617 w 839"/>
              <a:gd name="T39" fmla="*/ 465 h 478"/>
              <a:gd name="T40" fmla="*/ 531 w 839"/>
              <a:gd name="T41" fmla="*/ 381 h 478"/>
              <a:gd name="T42" fmla="*/ 527 w 839"/>
              <a:gd name="T43" fmla="*/ 271 h 478"/>
              <a:gd name="T44" fmla="*/ 607 w 839"/>
              <a:gd name="T45" fmla="*/ 177 h 478"/>
              <a:gd name="T46" fmla="*/ 488 w 839"/>
              <a:gd name="T47" fmla="*/ 347 h 478"/>
              <a:gd name="T48" fmla="*/ 393 w 839"/>
              <a:gd name="T49" fmla="*/ 385 h 478"/>
              <a:gd name="T50" fmla="*/ 318 w 839"/>
              <a:gd name="T51" fmla="*/ 336 h 478"/>
              <a:gd name="T52" fmla="*/ 272 w 839"/>
              <a:gd name="T53" fmla="*/ 432 h 478"/>
              <a:gd name="T54" fmla="*/ 159 w 839"/>
              <a:gd name="T55" fmla="*/ 478 h 478"/>
              <a:gd name="T56" fmla="*/ 57 w 839"/>
              <a:gd name="T57" fmla="*/ 441 h 478"/>
              <a:gd name="T58" fmla="*/ 1 w 839"/>
              <a:gd name="T59" fmla="*/ 335 h 478"/>
              <a:gd name="T60" fmla="*/ 27 w 839"/>
              <a:gd name="T61" fmla="*/ 230 h 478"/>
              <a:gd name="T62" fmla="*/ 112 w 839"/>
              <a:gd name="T63" fmla="*/ 167 h 478"/>
              <a:gd name="T64" fmla="*/ 208 w 839"/>
              <a:gd name="T65" fmla="*/ 169 h 478"/>
              <a:gd name="T66" fmla="*/ 184 w 839"/>
              <a:gd name="T67" fmla="*/ 197 h 478"/>
              <a:gd name="T68" fmla="*/ 100 w 839"/>
              <a:gd name="T69" fmla="*/ 208 h 478"/>
              <a:gd name="T70" fmla="*/ 44 w 839"/>
              <a:gd name="T71" fmla="*/ 270 h 478"/>
              <a:gd name="T72" fmla="*/ 40 w 839"/>
              <a:gd name="T73" fmla="*/ 356 h 478"/>
              <a:gd name="T74" fmla="*/ 100 w 839"/>
              <a:gd name="T75" fmla="*/ 429 h 478"/>
              <a:gd name="T76" fmla="*/ 184 w 839"/>
              <a:gd name="T77" fmla="*/ 442 h 478"/>
              <a:gd name="T78" fmla="*/ 260 w 839"/>
              <a:gd name="T79" fmla="*/ 392 h 478"/>
              <a:gd name="T80" fmla="*/ 159 w 839"/>
              <a:gd name="T81" fmla="*/ 336 h 478"/>
              <a:gd name="T82" fmla="*/ 314 w 839"/>
              <a:gd name="T83" fmla="*/ 80 h 478"/>
              <a:gd name="T84" fmla="*/ 560 w 839"/>
              <a:gd name="T85" fmla="*/ 19 h 478"/>
              <a:gd name="T86" fmla="*/ 687 w 839"/>
              <a:gd name="T87" fmla="*/ 4 h 478"/>
              <a:gd name="T88" fmla="*/ 727 w 839"/>
              <a:gd name="T89" fmla="*/ 65 h 478"/>
              <a:gd name="T90" fmla="*/ 661 w 839"/>
              <a:gd name="T91" fmla="*/ 131 h 478"/>
              <a:gd name="T92" fmla="*/ 661 w 839"/>
              <a:gd name="T93" fmla="*/ 96 h 478"/>
              <a:gd name="T94" fmla="*/ 692 w 839"/>
              <a:gd name="T95" fmla="*/ 65 h 478"/>
              <a:gd name="T96" fmla="*/ 666 w 839"/>
              <a:gd name="T97" fmla="*/ 34 h 478"/>
              <a:gd name="T98" fmla="*/ 695 w 839"/>
              <a:gd name="T99" fmla="*/ 326 h 478"/>
              <a:gd name="T100" fmla="*/ 606 w 839"/>
              <a:gd name="T101" fmla="*/ 217 h 478"/>
              <a:gd name="T102" fmla="*/ 554 w 839"/>
              <a:gd name="T103" fmla="*/ 309 h 478"/>
              <a:gd name="T104" fmla="*/ 581 w 839"/>
              <a:gd name="T105" fmla="*/ 399 h 478"/>
              <a:gd name="T106" fmla="*/ 665 w 839"/>
              <a:gd name="T107" fmla="*/ 444 h 478"/>
              <a:gd name="T108" fmla="*/ 748 w 839"/>
              <a:gd name="T109" fmla="*/ 422 h 478"/>
              <a:gd name="T110" fmla="*/ 802 w 839"/>
              <a:gd name="T111" fmla="*/ 346 h 478"/>
              <a:gd name="T112" fmla="*/ 789 w 839"/>
              <a:gd name="T113" fmla="*/ 260 h 478"/>
              <a:gd name="T114" fmla="*/ 717 w 839"/>
              <a:gd name="T115" fmla="*/ 200 h 478"/>
              <a:gd name="T116" fmla="*/ 276 w 839"/>
              <a:gd name="T117" fmla="*/ 271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9" h="478">
                <a:moveTo>
                  <a:pt x="334" y="422"/>
                </a:moveTo>
                <a:lnTo>
                  <a:pt x="327" y="421"/>
                </a:lnTo>
                <a:lnTo>
                  <a:pt x="321" y="416"/>
                </a:lnTo>
                <a:lnTo>
                  <a:pt x="318" y="411"/>
                </a:lnTo>
                <a:lnTo>
                  <a:pt x="316" y="405"/>
                </a:lnTo>
                <a:lnTo>
                  <a:pt x="318" y="398"/>
                </a:lnTo>
                <a:lnTo>
                  <a:pt x="321" y="392"/>
                </a:lnTo>
                <a:lnTo>
                  <a:pt x="327" y="389"/>
                </a:lnTo>
                <a:lnTo>
                  <a:pt x="334" y="388"/>
                </a:lnTo>
                <a:lnTo>
                  <a:pt x="374" y="388"/>
                </a:lnTo>
                <a:lnTo>
                  <a:pt x="380" y="389"/>
                </a:lnTo>
                <a:lnTo>
                  <a:pt x="386" y="392"/>
                </a:lnTo>
                <a:lnTo>
                  <a:pt x="388" y="398"/>
                </a:lnTo>
                <a:lnTo>
                  <a:pt x="390" y="405"/>
                </a:lnTo>
                <a:lnTo>
                  <a:pt x="388" y="411"/>
                </a:lnTo>
                <a:lnTo>
                  <a:pt x="386" y="416"/>
                </a:lnTo>
                <a:lnTo>
                  <a:pt x="380" y="421"/>
                </a:lnTo>
                <a:lnTo>
                  <a:pt x="374" y="422"/>
                </a:lnTo>
                <a:lnTo>
                  <a:pt x="334" y="422"/>
                </a:lnTo>
                <a:close/>
                <a:moveTo>
                  <a:pt x="234" y="34"/>
                </a:moveTo>
                <a:lnTo>
                  <a:pt x="234" y="34"/>
                </a:lnTo>
                <a:lnTo>
                  <a:pt x="227" y="33"/>
                </a:lnTo>
                <a:lnTo>
                  <a:pt x="223" y="29"/>
                </a:lnTo>
                <a:lnTo>
                  <a:pt x="219" y="23"/>
                </a:lnTo>
                <a:lnTo>
                  <a:pt x="217" y="17"/>
                </a:lnTo>
                <a:lnTo>
                  <a:pt x="219" y="10"/>
                </a:lnTo>
                <a:lnTo>
                  <a:pt x="223" y="4"/>
                </a:lnTo>
                <a:lnTo>
                  <a:pt x="227" y="1"/>
                </a:lnTo>
                <a:lnTo>
                  <a:pt x="234" y="0"/>
                </a:lnTo>
                <a:lnTo>
                  <a:pt x="377" y="0"/>
                </a:lnTo>
                <a:lnTo>
                  <a:pt x="384" y="1"/>
                </a:lnTo>
                <a:lnTo>
                  <a:pt x="388" y="4"/>
                </a:lnTo>
                <a:lnTo>
                  <a:pt x="393" y="10"/>
                </a:lnTo>
                <a:lnTo>
                  <a:pt x="394" y="17"/>
                </a:lnTo>
                <a:lnTo>
                  <a:pt x="393" y="23"/>
                </a:lnTo>
                <a:lnTo>
                  <a:pt x="388" y="29"/>
                </a:lnTo>
                <a:lnTo>
                  <a:pt x="384" y="33"/>
                </a:lnTo>
                <a:lnTo>
                  <a:pt x="377" y="34"/>
                </a:lnTo>
                <a:lnTo>
                  <a:pt x="234" y="34"/>
                </a:lnTo>
                <a:close/>
                <a:moveTo>
                  <a:pt x="424" y="281"/>
                </a:moveTo>
                <a:lnTo>
                  <a:pt x="424" y="281"/>
                </a:lnTo>
                <a:lnTo>
                  <a:pt x="437" y="313"/>
                </a:lnTo>
                <a:lnTo>
                  <a:pt x="439" y="319"/>
                </a:lnTo>
                <a:lnTo>
                  <a:pt x="437" y="326"/>
                </a:lnTo>
                <a:lnTo>
                  <a:pt x="433" y="330"/>
                </a:lnTo>
                <a:lnTo>
                  <a:pt x="427" y="335"/>
                </a:lnTo>
                <a:lnTo>
                  <a:pt x="422" y="336"/>
                </a:lnTo>
                <a:lnTo>
                  <a:pt x="414" y="335"/>
                </a:lnTo>
                <a:lnTo>
                  <a:pt x="410" y="332"/>
                </a:lnTo>
                <a:lnTo>
                  <a:pt x="406" y="326"/>
                </a:lnTo>
                <a:lnTo>
                  <a:pt x="393" y="294"/>
                </a:lnTo>
                <a:lnTo>
                  <a:pt x="388" y="300"/>
                </a:lnTo>
                <a:lnTo>
                  <a:pt x="386" y="306"/>
                </a:lnTo>
                <a:lnTo>
                  <a:pt x="384" y="312"/>
                </a:lnTo>
                <a:lnTo>
                  <a:pt x="384" y="319"/>
                </a:lnTo>
                <a:lnTo>
                  <a:pt x="384" y="327"/>
                </a:lnTo>
                <a:lnTo>
                  <a:pt x="387" y="333"/>
                </a:lnTo>
                <a:lnTo>
                  <a:pt x="390" y="340"/>
                </a:lnTo>
                <a:lnTo>
                  <a:pt x="394" y="346"/>
                </a:lnTo>
                <a:lnTo>
                  <a:pt x="394" y="346"/>
                </a:lnTo>
                <a:lnTo>
                  <a:pt x="400" y="350"/>
                </a:lnTo>
                <a:lnTo>
                  <a:pt x="407" y="355"/>
                </a:lnTo>
                <a:lnTo>
                  <a:pt x="414" y="356"/>
                </a:lnTo>
                <a:lnTo>
                  <a:pt x="422" y="358"/>
                </a:lnTo>
                <a:lnTo>
                  <a:pt x="429" y="356"/>
                </a:lnTo>
                <a:lnTo>
                  <a:pt x="436" y="353"/>
                </a:lnTo>
                <a:lnTo>
                  <a:pt x="443" y="350"/>
                </a:lnTo>
                <a:lnTo>
                  <a:pt x="449" y="346"/>
                </a:lnTo>
                <a:lnTo>
                  <a:pt x="453" y="340"/>
                </a:lnTo>
                <a:lnTo>
                  <a:pt x="456" y="333"/>
                </a:lnTo>
                <a:lnTo>
                  <a:pt x="459" y="327"/>
                </a:lnTo>
                <a:lnTo>
                  <a:pt x="459" y="319"/>
                </a:lnTo>
                <a:lnTo>
                  <a:pt x="459" y="312"/>
                </a:lnTo>
                <a:lnTo>
                  <a:pt x="456" y="304"/>
                </a:lnTo>
                <a:lnTo>
                  <a:pt x="453" y="297"/>
                </a:lnTo>
                <a:lnTo>
                  <a:pt x="449" y="293"/>
                </a:lnTo>
                <a:lnTo>
                  <a:pt x="443" y="289"/>
                </a:lnTo>
                <a:lnTo>
                  <a:pt x="437" y="284"/>
                </a:lnTo>
                <a:lnTo>
                  <a:pt x="430" y="283"/>
                </a:lnTo>
                <a:lnTo>
                  <a:pt x="424" y="281"/>
                </a:lnTo>
                <a:close/>
                <a:moveTo>
                  <a:pt x="589" y="129"/>
                </a:moveTo>
                <a:lnTo>
                  <a:pt x="589" y="129"/>
                </a:lnTo>
                <a:lnTo>
                  <a:pt x="581" y="109"/>
                </a:lnTo>
                <a:lnTo>
                  <a:pt x="351" y="109"/>
                </a:lnTo>
                <a:lnTo>
                  <a:pt x="410" y="248"/>
                </a:lnTo>
                <a:lnTo>
                  <a:pt x="416" y="247"/>
                </a:lnTo>
                <a:lnTo>
                  <a:pt x="422" y="247"/>
                </a:lnTo>
                <a:lnTo>
                  <a:pt x="432" y="248"/>
                </a:lnTo>
                <a:lnTo>
                  <a:pt x="442" y="250"/>
                </a:lnTo>
                <a:lnTo>
                  <a:pt x="450" y="253"/>
                </a:lnTo>
                <a:lnTo>
                  <a:pt x="459" y="258"/>
                </a:lnTo>
                <a:lnTo>
                  <a:pt x="589" y="129"/>
                </a:lnTo>
                <a:close/>
                <a:moveTo>
                  <a:pt x="266" y="201"/>
                </a:moveTo>
                <a:lnTo>
                  <a:pt x="266" y="201"/>
                </a:lnTo>
                <a:lnTo>
                  <a:pt x="278" y="211"/>
                </a:lnTo>
                <a:lnTo>
                  <a:pt x="286" y="223"/>
                </a:lnTo>
                <a:lnTo>
                  <a:pt x="295" y="234"/>
                </a:lnTo>
                <a:lnTo>
                  <a:pt x="302" y="247"/>
                </a:lnTo>
                <a:lnTo>
                  <a:pt x="308" y="260"/>
                </a:lnTo>
                <a:lnTo>
                  <a:pt x="312" y="274"/>
                </a:lnTo>
                <a:lnTo>
                  <a:pt x="315" y="287"/>
                </a:lnTo>
                <a:lnTo>
                  <a:pt x="318" y="302"/>
                </a:lnTo>
                <a:lnTo>
                  <a:pt x="351" y="302"/>
                </a:lnTo>
                <a:lnTo>
                  <a:pt x="354" y="293"/>
                </a:lnTo>
                <a:lnTo>
                  <a:pt x="358" y="284"/>
                </a:lnTo>
                <a:lnTo>
                  <a:pt x="364" y="276"/>
                </a:lnTo>
                <a:lnTo>
                  <a:pt x="370" y="269"/>
                </a:lnTo>
                <a:lnTo>
                  <a:pt x="374" y="264"/>
                </a:lnTo>
                <a:lnTo>
                  <a:pt x="378" y="261"/>
                </a:lnTo>
                <a:lnTo>
                  <a:pt x="321" y="126"/>
                </a:lnTo>
                <a:lnTo>
                  <a:pt x="266" y="201"/>
                </a:lnTo>
                <a:close/>
                <a:moveTo>
                  <a:pt x="679" y="194"/>
                </a:moveTo>
                <a:lnTo>
                  <a:pt x="679" y="194"/>
                </a:lnTo>
                <a:lnTo>
                  <a:pt x="672" y="192"/>
                </a:lnTo>
                <a:lnTo>
                  <a:pt x="666" y="190"/>
                </a:lnTo>
                <a:lnTo>
                  <a:pt x="663" y="184"/>
                </a:lnTo>
                <a:lnTo>
                  <a:pt x="662" y="177"/>
                </a:lnTo>
                <a:lnTo>
                  <a:pt x="663" y="171"/>
                </a:lnTo>
                <a:lnTo>
                  <a:pt x="666" y="165"/>
                </a:lnTo>
                <a:lnTo>
                  <a:pt x="672" y="161"/>
                </a:lnTo>
                <a:lnTo>
                  <a:pt x="679" y="159"/>
                </a:lnTo>
                <a:lnTo>
                  <a:pt x="695" y="161"/>
                </a:lnTo>
                <a:lnTo>
                  <a:pt x="711" y="164"/>
                </a:lnTo>
                <a:lnTo>
                  <a:pt x="727" y="167"/>
                </a:lnTo>
                <a:lnTo>
                  <a:pt x="741" y="172"/>
                </a:lnTo>
                <a:lnTo>
                  <a:pt x="756" y="179"/>
                </a:lnTo>
                <a:lnTo>
                  <a:pt x="769" y="187"/>
                </a:lnTo>
                <a:lnTo>
                  <a:pt x="780" y="197"/>
                </a:lnTo>
                <a:lnTo>
                  <a:pt x="792" y="207"/>
                </a:lnTo>
                <a:lnTo>
                  <a:pt x="802" y="218"/>
                </a:lnTo>
                <a:lnTo>
                  <a:pt x="812" y="230"/>
                </a:lnTo>
                <a:lnTo>
                  <a:pt x="819" y="243"/>
                </a:lnTo>
                <a:lnTo>
                  <a:pt x="826" y="257"/>
                </a:lnTo>
                <a:lnTo>
                  <a:pt x="832" y="271"/>
                </a:lnTo>
                <a:lnTo>
                  <a:pt x="835" y="287"/>
                </a:lnTo>
                <a:lnTo>
                  <a:pt x="838" y="303"/>
                </a:lnTo>
                <a:lnTo>
                  <a:pt x="839" y="319"/>
                </a:lnTo>
                <a:lnTo>
                  <a:pt x="839" y="319"/>
                </a:lnTo>
                <a:lnTo>
                  <a:pt x="838" y="336"/>
                </a:lnTo>
                <a:lnTo>
                  <a:pt x="835" y="352"/>
                </a:lnTo>
                <a:lnTo>
                  <a:pt x="832" y="366"/>
                </a:lnTo>
                <a:lnTo>
                  <a:pt x="826" y="381"/>
                </a:lnTo>
                <a:lnTo>
                  <a:pt x="819" y="395"/>
                </a:lnTo>
                <a:lnTo>
                  <a:pt x="812" y="408"/>
                </a:lnTo>
                <a:lnTo>
                  <a:pt x="802" y="421"/>
                </a:lnTo>
                <a:lnTo>
                  <a:pt x="792" y="432"/>
                </a:lnTo>
                <a:lnTo>
                  <a:pt x="792" y="432"/>
                </a:lnTo>
                <a:lnTo>
                  <a:pt x="780" y="442"/>
                </a:lnTo>
                <a:lnTo>
                  <a:pt x="769" y="451"/>
                </a:lnTo>
                <a:lnTo>
                  <a:pt x="756" y="459"/>
                </a:lnTo>
                <a:lnTo>
                  <a:pt x="741" y="465"/>
                </a:lnTo>
                <a:lnTo>
                  <a:pt x="727" y="471"/>
                </a:lnTo>
                <a:lnTo>
                  <a:pt x="711" y="475"/>
                </a:lnTo>
                <a:lnTo>
                  <a:pt x="695" y="477"/>
                </a:lnTo>
                <a:lnTo>
                  <a:pt x="679" y="478"/>
                </a:lnTo>
                <a:lnTo>
                  <a:pt x="679" y="478"/>
                </a:lnTo>
                <a:lnTo>
                  <a:pt x="662" y="478"/>
                </a:lnTo>
                <a:lnTo>
                  <a:pt x="646" y="475"/>
                </a:lnTo>
                <a:lnTo>
                  <a:pt x="632" y="471"/>
                </a:lnTo>
                <a:lnTo>
                  <a:pt x="617" y="465"/>
                </a:lnTo>
                <a:lnTo>
                  <a:pt x="603" y="459"/>
                </a:lnTo>
                <a:lnTo>
                  <a:pt x="590" y="451"/>
                </a:lnTo>
                <a:lnTo>
                  <a:pt x="577" y="442"/>
                </a:lnTo>
                <a:lnTo>
                  <a:pt x="566" y="432"/>
                </a:lnTo>
                <a:lnTo>
                  <a:pt x="555" y="419"/>
                </a:lnTo>
                <a:lnTo>
                  <a:pt x="547" y="408"/>
                </a:lnTo>
                <a:lnTo>
                  <a:pt x="538" y="393"/>
                </a:lnTo>
                <a:lnTo>
                  <a:pt x="531" y="381"/>
                </a:lnTo>
                <a:lnTo>
                  <a:pt x="527" y="365"/>
                </a:lnTo>
                <a:lnTo>
                  <a:pt x="522" y="350"/>
                </a:lnTo>
                <a:lnTo>
                  <a:pt x="519" y="335"/>
                </a:lnTo>
                <a:lnTo>
                  <a:pt x="519" y="319"/>
                </a:lnTo>
                <a:lnTo>
                  <a:pt x="519" y="307"/>
                </a:lnTo>
                <a:lnTo>
                  <a:pt x="521" y="294"/>
                </a:lnTo>
                <a:lnTo>
                  <a:pt x="524" y="283"/>
                </a:lnTo>
                <a:lnTo>
                  <a:pt x="527" y="271"/>
                </a:lnTo>
                <a:lnTo>
                  <a:pt x="531" y="260"/>
                </a:lnTo>
                <a:lnTo>
                  <a:pt x="535" y="250"/>
                </a:lnTo>
                <a:lnTo>
                  <a:pt x="541" y="238"/>
                </a:lnTo>
                <a:lnTo>
                  <a:pt x="548" y="228"/>
                </a:lnTo>
                <a:lnTo>
                  <a:pt x="560" y="214"/>
                </a:lnTo>
                <a:lnTo>
                  <a:pt x="574" y="200"/>
                </a:lnTo>
                <a:lnTo>
                  <a:pt x="590" y="187"/>
                </a:lnTo>
                <a:lnTo>
                  <a:pt x="607" y="177"/>
                </a:lnTo>
                <a:lnTo>
                  <a:pt x="602" y="164"/>
                </a:lnTo>
                <a:lnTo>
                  <a:pt x="483" y="281"/>
                </a:lnTo>
                <a:lnTo>
                  <a:pt x="488" y="290"/>
                </a:lnTo>
                <a:lnTo>
                  <a:pt x="491" y="300"/>
                </a:lnTo>
                <a:lnTo>
                  <a:pt x="492" y="309"/>
                </a:lnTo>
                <a:lnTo>
                  <a:pt x="494" y="319"/>
                </a:lnTo>
                <a:lnTo>
                  <a:pt x="492" y="333"/>
                </a:lnTo>
                <a:lnTo>
                  <a:pt x="488" y="347"/>
                </a:lnTo>
                <a:lnTo>
                  <a:pt x="481" y="359"/>
                </a:lnTo>
                <a:lnTo>
                  <a:pt x="472" y="370"/>
                </a:lnTo>
                <a:lnTo>
                  <a:pt x="462" y="379"/>
                </a:lnTo>
                <a:lnTo>
                  <a:pt x="449" y="385"/>
                </a:lnTo>
                <a:lnTo>
                  <a:pt x="436" y="389"/>
                </a:lnTo>
                <a:lnTo>
                  <a:pt x="422" y="391"/>
                </a:lnTo>
                <a:lnTo>
                  <a:pt x="407" y="389"/>
                </a:lnTo>
                <a:lnTo>
                  <a:pt x="393" y="385"/>
                </a:lnTo>
                <a:lnTo>
                  <a:pt x="381" y="379"/>
                </a:lnTo>
                <a:lnTo>
                  <a:pt x="371" y="370"/>
                </a:lnTo>
                <a:lnTo>
                  <a:pt x="370" y="369"/>
                </a:lnTo>
                <a:lnTo>
                  <a:pt x="364" y="362"/>
                </a:lnTo>
                <a:lnTo>
                  <a:pt x="358" y="355"/>
                </a:lnTo>
                <a:lnTo>
                  <a:pt x="354" y="346"/>
                </a:lnTo>
                <a:lnTo>
                  <a:pt x="351" y="336"/>
                </a:lnTo>
                <a:lnTo>
                  <a:pt x="318" y="336"/>
                </a:lnTo>
                <a:lnTo>
                  <a:pt x="316" y="350"/>
                </a:lnTo>
                <a:lnTo>
                  <a:pt x="312" y="363"/>
                </a:lnTo>
                <a:lnTo>
                  <a:pt x="308" y="376"/>
                </a:lnTo>
                <a:lnTo>
                  <a:pt x="303" y="389"/>
                </a:lnTo>
                <a:lnTo>
                  <a:pt x="296" y="401"/>
                </a:lnTo>
                <a:lnTo>
                  <a:pt x="289" y="412"/>
                </a:lnTo>
                <a:lnTo>
                  <a:pt x="280" y="422"/>
                </a:lnTo>
                <a:lnTo>
                  <a:pt x="272" y="432"/>
                </a:lnTo>
                <a:lnTo>
                  <a:pt x="260" y="442"/>
                </a:lnTo>
                <a:lnTo>
                  <a:pt x="249" y="451"/>
                </a:lnTo>
                <a:lnTo>
                  <a:pt x="236" y="459"/>
                </a:lnTo>
                <a:lnTo>
                  <a:pt x="221" y="465"/>
                </a:lnTo>
                <a:lnTo>
                  <a:pt x="207" y="471"/>
                </a:lnTo>
                <a:lnTo>
                  <a:pt x="191" y="475"/>
                </a:lnTo>
                <a:lnTo>
                  <a:pt x="175" y="477"/>
                </a:lnTo>
                <a:lnTo>
                  <a:pt x="159" y="478"/>
                </a:lnTo>
                <a:lnTo>
                  <a:pt x="159" y="478"/>
                </a:lnTo>
                <a:lnTo>
                  <a:pt x="142" y="478"/>
                </a:lnTo>
                <a:lnTo>
                  <a:pt x="126" y="475"/>
                </a:lnTo>
                <a:lnTo>
                  <a:pt x="112" y="471"/>
                </a:lnTo>
                <a:lnTo>
                  <a:pt x="98" y="465"/>
                </a:lnTo>
                <a:lnTo>
                  <a:pt x="83" y="459"/>
                </a:lnTo>
                <a:lnTo>
                  <a:pt x="70" y="451"/>
                </a:lnTo>
                <a:lnTo>
                  <a:pt x="57" y="441"/>
                </a:lnTo>
                <a:lnTo>
                  <a:pt x="46" y="431"/>
                </a:lnTo>
                <a:lnTo>
                  <a:pt x="36" y="419"/>
                </a:lnTo>
                <a:lnTo>
                  <a:pt x="27" y="408"/>
                </a:lnTo>
                <a:lnTo>
                  <a:pt x="18" y="395"/>
                </a:lnTo>
                <a:lnTo>
                  <a:pt x="13" y="381"/>
                </a:lnTo>
                <a:lnTo>
                  <a:pt x="7" y="366"/>
                </a:lnTo>
                <a:lnTo>
                  <a:pt x="3" y="350"/>
                </a:lnTo>
                <a:lnTo>
                  <a:pt x="1" y="335"/>
                </a:lnTo>
                <a:lnTo>
                  <a:pt x="0" y="319"/>
                </a:lnTo>
                <a:lnTo>
                  <a:pt x="0" y="319"/>
                </a:lnTo>
                <a:lnTo>
                  <a:pt x="1" y="303"/>
                </a:lnTo>
                <a:lnTo>
                  <a:pt x="3" y="287"/>
                </a:lnTo>
                <a:lnTo>
                  <a:pt x="7" y="271"/>
                </a:lnTo>
                <a:lnTo>
                  <a:pt x="13" y="257"/>
                </a:lnTo>
                <a:lnTo>
                  <a:pt x="18" y="243"/>
                </a:lnTo>
                <a:lnTo>
                  <a:pt x="27" y="230"/>
                </a:lnTo>
                <a:lnTo>
                  <a:pt x="36" y="218"/>
                </a:lnTo>
                <a:lnTo>
                  <a:pt x="46" y="207"/>
                </a:lnTo>
                <a:lnTo>
                  <a:pt x="47" y="205"/>
                </a:lnTo>
                <a:lnTo>
                  <a:pt x="59" y="195"/>
                </a:lnTo>
                <a:lnTo>
                  <a:pt x="70" y="187"/>
                </a:lnTo>
                <a:lnTo>
                  <a:pt x="85" y="178"/>
                </a:lnTo>
                <a:lnTo>
                  <a:pt x="98" y="172"/>
                </a:lnTo>
                <a:lnTo>
                  <a:pt x="112" y="167"/>
                </a:lnTo>
                <a:lnTo>
                  <a:pt x="128" y="164"/>
                </a:lnTo>
                <a:lnTo>
                  <a:pt x="144" y="161"/>
                </a:lnTo>
                <a:lnTo>
                  <a:pt x="159" y="159"/>
                </a:lnTo>
                <a:lnTo>
                  <a:pt x="170" y="161"/>
                </a:lnTo>
                <a:lnTo>
                  <a:pt x="181" y="161"/>
                </a:lnTo>
                <a:lnTo>
                  <a:pt x="191" y="164"/>
                </a:lnTo>
                <a:lnTo>
                  <a:pt x="201" y="165"/>
                </a:lnTo>
                <a:lnTo>
                  <a:pt x="208" y="169"/>
                </a:lnTo>
                <a:lnTo>
                  <a:pt x="211" y="174"/>
                </a:lnTo>
                <a:lnTo>
                  <a:pt x="214" y="179"/>
                </a:lnTo>
                <a:lnTo>
                  <a:pt x="214" y="187"/>
                </a:lnTo>
                <a:lnTo>
                  <a:pt x="210" y="192"/>
                </a:lnTo>
                <a:lnTo>
                  <a:pt x="206" y="197"/>
                </a:lnTo>
                <a:lnTo>
                  <a:pt x="200" y="200"/>
                </a:lnTo>
                <a:lnTo>
                  <a:pt x="193" y="198"/>
                </a:lnTo>
                <a:lnTo>
                  <a:pt x="184" y="197"/>
                </a:lnTo>
                <a:lnTo>
                  <a:pt x="177" y="195"/>
                </a:lnTo>
                <a:lnTo>
                  <a:pt x="168" y="194"/>
                </a:lnTo>
                <a:lnTo>
                  <a:pt x="159" y="194"/>
                </a:lnTo>
                <a:lnTo>
                  <a:pt x="147" y="195"/>
                </a:lnTo>
                <a:lnTo>
                  <a:pt x="134" y="197"/>
                </a:lnTo>
                <a:lnTo>
                  <a:pt x="122" y="200"/>
                </a:lnTo>
                <a:lnTo>
                  <a:pt x="111" y="204"/>
                </a:lnTo>
                <a:lnTo>
                  <a:pt x="100" y="208"/>
                </a:lnTo>
                <a:lnTo>
                  <a:pt x="90" y="215"/>
                </a:lnTo>
                <a:lnTo>
                  <a:pt x="80" y="223"/>
                </a:lnTo>
                <a:lnTo>
                  <a:pt x="72" y="230"/>
                </a:lnTo>
                <a:lnTo>
                  <a:pt x="70" y="231"/>
                </a:lnTo>
                <a:lnTo>
                  <a:pt x="63" y="240"/>
                </a:lnTo>
                <a:lnTo>
                  <a:pt x="56" y="250"/>
                </a:lnTo>
                <a:lnTo>
                  <a:pt x="49" y="260"/>
                </a:lnTo>
                <a:lnTo>
                  <a:pt x="44" y="270"/>
                </a:lnTo>
                <a:lnTo>
                  <a:pt x="40" y="281"/>
                </a:lnTo>
                <a:lnTo>
                  <a:pt x="36" y="294"/>
                </a:lnTo>
                <a:lnTo>
                  <a:pt x="34" y="306"/>
                </a:lnTo>
                <a:lnTo>
                  <a:pt x="34" y="319"/>
                </a:lnTo>
                <a:lnTo>
                  <a:pt x="34" y="319"/>
                </a:lnTo>
                <a:lnTo>
                  <a:pt x="34" y="332"/>
                </a:lnTo>
                <a:lnTo>
                  <a:pt x="36" y="345"/>
                </a:lnTo>
                <a:lnTo>
                  <a:pt x="40" y="356"/>
                </a:lnTo>
                <a:lnTo>
                  <a:pt x="44" y="368"/>
                </a:lnTo>
                <a:lnTo>
                  <a:pt x="49" y="379"/>
                </a:lnTo>
                <a:lnTo>
                  <a:pt x="56" y="389"/>
                </a:lnTo>
                <a:lnTo>
                  <a:pt x="63" y="399"/>
                </a:lnTo>
                <a:lnTo>
                  <a:pt x="70" y="408"/>
                </a:lnTo>
                <a:lnTo>
                  <a:pt x="80" y="416"/>
                </a:lnTo>
                <a:lnTo>
                  <a:pt x="89" y="424"/>
                </a:lnTo>
                <a:lnTo>
                  <a:pt x="100" y="429"/>
                </a:lnTo>
                <a:lnTo>
                  <a:pt x="111" y="435"/>
                </a:lnTo>
                <a:lnTo>
                  <a:pt x="122" y="439"/>
                </a:lnTo>
                <a:lnTo>
                  <a:pt x="135" y="442"/>
                </a:lnTo>
                <a:lnTo>
                  <a:pt x="147" y="444"/>
                </a:lnTo>
                <a:lnTo>
                  <a:pt x="159" y="444"/>
                </a:lnTo>
                <a:lnTo>
                  <a:pt x="159" y="444"/>
                </a:lnTo>
                <a:lnTo>
                  <a:pt x="172" y="444"/>
                </a:lnTo>
                <a:lnTo>
                  <a:pt x="184" y="442"/>
                </a:lnTo>
                <a:lnTo>
                  <a:pt x="197" y="438"/>
                </a:lnTo>
                <a:lnTo>
                  <a:pt x="208" y="435"/>
                </a:lnTo>
                <a:lnTo>
                  <a:pt x="219" y="429"/>
                </a:lnTo>
                <a:lnTo>
                  <a:pt x="230" y="424"/>
                </a:lnTo>
                <a:lnTo>
                  <a:pt x="239" y="415"/>
                </a:lnTo>
                <a:lnTo>
                  <a:pt x="247" y="408"/>
                </a:lnTo>
                <a:lnTo>
                  <a:pt x="255" y="401"/>
                </a:lnTo>
                <a:lnTo>
                  <a:pt x="260" y="392"/>
                </a:lnTo>
                <a:lnTo>
                  <a:pt x="266" y="383"/>
                </a:lnTo>
                <a:lnTo>
                  <a:pt x="272" y="375"/>
                </a:lnTo>
                <a:lnTo>
                  <a:pt x="276" y="366"/>
                </a:lnTo>
                <a:lnTo>
                  <a:pt x="279" y="356"/>
                </a:lnTo>
                <a:lnTo>
                  <a:pt x="282" y="346"/>
                </a:lnTo>
                <a:lnTo>
                  <a:pt x="283" y="336"/>
                </a:lnTo>
                <a:lnTo>
                  <a:pt x="159" y="336"/>
                </a:lnTo>
                <a:lnTo>
                  <a:pt x="159" y="336"/>
                </a:lnTo>
                <a:lnTo>
                  <a:pt x="154" y="335"/>
                </a:lnTo>
                <a:lnTo>
                  <a:pt x="149" y="333"/>
                </a:lnTo>
                <a:lnTo>
                  <a:pt x="145" y="327"/>
                </a:lnTo>
                <a:lnTo>
                  <a:pt x="142" y="322"/>
                </a:lnTo>
                <a:lnTo>
                  <a:pt x="142" y="316"/>
                </a:lnTo>
                <a:lnTo>
                  <a:pt x="145" y="309"/>
                </a:lnTo>
                <a:lnTo>
                  <a:pt x="311" y="83"/>
                </a:lnTo>
                <a:lnTo>
                  <a:pt x="314" y="80"/>
                </a:lnTo>
                <a:lnTo>
                  <a:pt x="316" y="78"/>
                </a:lnTo>
                <a:lnTo>
                  <a:pt x="321" y="76"/>
                </a:lnTo>
                <a:lnTo>
                  <a:pt x="325" y="75"/>
                </a:lnTo>
                <a:lnTo>
                  <a:pt x="568" y="75"/>
                </a:lnTo>
                <a:lnTo>
                  <a:pt x="561" y="56"/>
                </a:lnTo>
                <a:lnTo>
                  <a:pt x="560" y="53"/>
                </a:lnTo>
                <a:lnTo>
                  <a:pt x="560" y="50"/>
                </a:lnTo>
                <a:lnTo>
                  <a:pt x="560" y="19"/>
                </a:lnTo>
                <a:lnTo>
                  <a:pt x="560" y="17"/>
                </a:lnTo>
                <a:lnTo>
                  <a:pt x="561" y="10"/>
                </a:lnTo>
                <a:lnTo>
                  <a:pt x="564" y="4"/>
                </a:lnTo>
                <a:lnTo>
                  <a:pt x="570" y="1"/>
                </a:lnTo>
                <a:lnTo>
                  <a:pt x="577" y="0"/>
                </a:lnTo>
                <a:lnTo>
                  <a:pt x="661" y="0"/>
                </a:lnTo>
                <a:lnTo>
                  <a:pt x="674" y="1"/>
                </a:lnTo>
                <a:lnTo>
                  <a:pt x="687" y="4"/>
                </a:lnTo>
                <a:lnTo>
                  <a:pt x="697" y="11"/>
                </a:lnTo>
                <a:lnTo>
                  <a:pt x="707" y="19"/>
                </a:lnTo>
                <a:lnTo>
                  <a:pt x="707" y="19"/>
                </a:lnTo>
                <a:lnTo>
                  <a:pt x="707" y="19"/>
                </a:lnTo>
                <a:lnTo>
                  <a:pt x="715" y="29"/>
                </a:lnTo>
                <a:lnTo>
                  <a:pt x="721" y="40"/>
                </a:lnTo>
                <a:lnTo>
                  <a:pt x="725" y="52"/>
                </a:lnTo>
                <a:lnTo>
                  <a:pt x="727" y="65"/>
                </a:lnTo>
                <a:lnTo>
                  <a:pt x="725" y="79"/>
                </a:lnTo>
                <a:lnTo>
                  <a:pt x="721" y="90"/>
                </a:lnTo>
                <a:lnTo>
                  <a:pt x="715" y="102"/>
                </a:lnTo>
                <a:lnTo>
                  <a:pt x="707" y="112"/>
                </a:lnTo>
                <a:lnTo>
                  <a:pt x="697" y="119"/>
                </a:lnTo>
                <a:lnTo>
                  <a:pt x="687" y="125"/>
                </a:lnTo>
                <a:lnTo>
                  <a:pt x="674" y="129"/>
                </a:lnTo>
                <a:lnTo>
                  <a:pt x="661" y="131"/>
                </a:lnTo>
                <a:lnTo>
                  <a:pt x="653" y="129"/>
                </a:lnTo>
                <a:lnTo>
                  <a:pt x="649" y="125"/>
                </a:lnTo>
                <a:lnTo>
                  <a:pt x="645" y="121"/>
                </a:lnTo>
                <a:lnTo>
                  <a:pt x="643" y="113"/>
                </a:lnTo>
                <a:lnTo>
                  <a:pt x="645" y="106"/>
                </a:lnTo>
                <a:lnTo>
                  <a:pt x="649" y="102"/>
                </a:lnTo>
                <a:lnTo>
                  <a:pt x="653" y="98"/>
                </a:lnTo>
                <a:lnTo>
                  <a:pt x="661" y="96"/>
                </a:lnTo>
                <a:lnTo>
                  <a:pt x="666" y="96"/>
                </a:lnTo>
                <a:lnTo>
                  <a:pt x="672" y="93"/>
                </a:lnTo>
                <a:lnTo>
                  <a:pt x="678" y="90"/>
                </a:lnTo>
                <a:lnTo>
                  <a:pt x="682" y="88"/>
                </a:lnTo>
                <a:lnTo>
                  <a:pt x="687" y="83"/>
                </a:lnTo>
                <a:lnTo>
                  <a:pt x="689" y="78"/>
                </a:lnTo>
                <a:lnTo>
                  <a:pt x="691" y="72"/>
                </a:lnTo>
                <a:lnTo>
                  <a:pt x="692" y="65"/>
                </a:lnTo>
                <a:lnTo>
                  <a:pt x="691" y="59"/>
                </a:lnTo>
                <a:lnTo>
                  <a:pt x="689" y="53"/>
                </a:lnTo>
                <a:lnTo>
                  <a:pt x="687" y="47"/>
                </a:lnTo>
                <a:lnTo>
                  <a:pt x="682" y="43"/>
                </a:lnTo>
                <a:lnTo>
                  <a:pt x="682" y="43"/>
                </a:lnTo>
                <a:lnTo>
                  <a:pt x="678" y="39"/>
                </a:lnTo>
                <a:lnTo>
                  <a:pt x="672" y="36"/>
                </a:lnTo>
                <a:lnTo>
                  <a:pt x="666" y="34"/>
                </a:lnTo>
                <a:lnTo>
                  <a:pt x="661" y="34"/>
                </a:lnTo>
                <a:lnTo>
                  <a:pt x="594" y="34"/>
                </a:lnTo>
                <a:lnTo>
                  <a:pt x="594" y="47"/>
                </a:lnTo>
                <a:lnTo>
                  <a:pt x="607" y="85"/>
                </a:lnTo>
                <a:lnTo>
                  <a:pt x="609" y="88"/>
                </a:lnTo>
                <a:lnTo>
                  <a:pt x="695" y="313"/>
                </a:lnTo>
                <a:lnTo>
                  <a:pt x="697" y="320"/>
                </a:lnTo>
                <a:lnTo>
                  <a:pt x="695" y="326"/>
                </a:lnTo>
                <a:lnTo>
                  <a:pt x="691" y="332"/>
                </a:lnTo>
                <a:lnTo>
                  <a:pt x="685" y="335"/>
                </a:lnTo>
                <a:lnTo>
                  <a:pt x="678" y="336"/>
                </a:lnTo>
                <a:lnTo>
                  <a:pt x="672" y="335"/>
                </a:lnTo>
                <a:lnTo>
                  <a:pt x="666" y="330"/>
                </a:lnTo>
                <a:lnTo>
                  <a:pt x="663" y="325"/>
                </a:lnTo>
                <a:lnTo>
                  <a:pt x="619" y="210"/>
                </a:lnTo>
                <a:lnTo>
                  <a:pt x="606" y="217"/>
                </a:lnTo>
                <a:lnTo>
                  <a:pt x="594" y="227"/>
                </a:lnTo>
                <a:lnTo>
                  <a:pt x="584" y="237"/>
                </a:lnTo>
                <a:lnTo>
                  <a:pt x="576" y="248"/>
                </a:lnTo>
                <a:lnTo>
                  <a:pt x="566" y="264"/>
                </a:lnTo>
                <a:lnTo>
                  <a:pt x="560" y="281"/>
                </a:lnTo>
                <a:lnTo>
                  <a:pt x="557" y="290"/>
                </a:lnTo>
                <a:lnTo>
                  <a:pt x="555" y="300"/>
                </a:lnTo>
                <a:lnTo>
                  <a:pt x="554" y="309"/>
                </a:lnTo>
                <a:lnTo>
                  <a:pt x="554" y="319"/>
                </a:lnTo>
                <a:lnTo>
                  <a:pt x="554" y="332"/>
                </a:lnTo>
                <a:lnTo>
                  <a:pt x="555" y="345"/>
                </a:lnTo>
                <a:lnTo>
                  <a:pt x="560" y="356"/>
                </a:lnTo>
                <a:lnTo>
                  <a:pt x="563" y="368"/>
                </a:lnTo>
                <a:lnTo>
                  <a:pt x="568" y="379"/>
                </a:lnTo>
                <a:lnTo>
                  <a:pt x="574" y="389"/>
                </a:lnTo>
                <a:lnTo>
                  <a:pt x="581" y="399"/>
                </a:lnTo>
                <a:lnTo>
                  <a:pt x="590" y="408"/>
                </a:lnTo>
                <a:lnTo>
                  <a:pt x="599" y="416"/>
                </a:lnTo>
                <a:lnTo>
                  <a:pt x="609" y="424"/>
                </a:lnTo>
                <a:lnTo>
                  <a:pt x="619" y="429"/>
                </a:lnTo>
                <a:lnTo>
                  <a:pt x="630" y="435"/>
                </a:lnTo>
                <a:lnTo>
                  <a:pt x="640" y="439"/>
                </a:lnTo>
                <a:lnTo>
                  <a:pt x="652" y="442"/>
                </a:lnTo>
                <a:lnTo>
                  <a:pt x="665" y="444"/>
                </a:lnTo>
                <a:lnTo>
                  <a:pt x="676" y="444"/>
                </a:lnTo>
                <a:lnTo>
                  <a:pt x="679" y="444"/>
                </a:lnTo>
                <a:lnTo>
                  <a:pt x="692" y="444"/>
                </a:lnTo>
                <a:lnTo>
                  <a:pt x="704" y="442"/>
                </a:lnTo>
                <a:lnTo>
                  <a:pt x="717" y="438"/>
                </a:lnTo>
                <a:lnTo>
                  <a:pt x="728" y="435"/>
                </a:lnTo>
                <a:lnTo>
                  <a:pt x="738" y="429"/>
                </a:lnTo>
                <a:lnTo>
                  <a:pt x="748" y="422"/>
                </a:lnTo>
                <a:lnTo>
                  <a:pt x="759" y="415"/>
                </a:lnTo>
                <a:lnTo>
                  <a:pt x="767" y="408"/>
                </a:lnTo>
                <a:lnTo>
                  <a:pt x="776" y="399"/>
                </a:lnTo>
                <a:lnTo>
                  <a:pt x="783" y="389"/>
                </a:lnTo>
                <a:lnTo>
                  <a:pt x="789" y="379"/>
                </a:lnTo>
                <a:lnTo>
                  <a:pt x="795" y="369"/>
                </a:lnTo>
                <a:lnTo>
                  <a:pt x="799" y="358"/>
                </a:lnTo>
                <a:lnTo>
                  <a:pt x="802" y="346"/>
                </a:lnTo>
                <a:lnTo>
                  <a:pt x="803" y="333"/>
                </a:lnTo>
                <a:lnTo>
                  <a:pt x="805" y="320"/>
                </a:lnTo>
                <a:lnTo>
                  <a:pt x="805" y="319"/>
                </a:lnTo>
                <a:lnTo>
                  <a:pt x="803" y="306"/>
                </a:lnTo>
                <a:lnTo>
                  <a:pt x="802" y="294"/>
                </a:lnTo>
                <a:lnTo>
                  <a:pt x="799" y="281"/>
                </a:lnTo>
                <a:lnTo>
                  <a:pt x="795" y="270"/>
                </a:lnTo>
                <a:lnTo>
                  <a:pt x="789" y="260"/>
                </a:lnTo>
                <a:lnTo>
                  <a:pt x="783" y="250"/>
                </a:lnTo>
                <a:lnTo>
                  <a:pt x="776" y="240"/>
                </a:lnTo>
                <a:lnTo>
                  <a:pt x="767" y="231"/>
                </a:lnTo>
                <a:lnTo>
                  <a:pt x="759" y="223"/>
                </a:lnTo>
                <a:lnTo>
                  <a:pt x="748" y="215"/>
                </a:lnTo>
                <a:lnTo>
                  <a:pt x="738" y="210"/>
                </a:lnTo>
                <a:lnTo>
                  <a:pt x="728" y="204"/>
                </a:lnTo>
                <a:lnTo>
                  <a:pt x="717" y="200"/>
                </a:lnTo>
                <a:lnTo>
                  <a:pt x="704" y="197"/>
                </a:lnTo>
                <a:lnTo>
                  <a:pt x="692" y="194"/>
                </a:lnTo>
                <a:lnTo>
                  <a:pt x="679" y="194"/>
                </a:lnTo>
                <a:close/>
                <a:moveTo>
                  <a:pt x="283" y="302"/>
                </a:moveTo>
                <a:lnTo>
                  <a:pt x="283" y="302"/>
                </a:lnTo>
                <a:lnTo>
                  <a:pt x="282" y="291"/>
                </a:lnTo>
                <a:lnTo>
                  <a:pt x="279" y="281"/>
                </a:lnTo>
                <a:lnTo>
                  <a:pt x="276" y="271"/>
                </a:lnTo>
                <a:lnTo>
                  <a:pt x="272" y="263"/>
                </a:lnTo>
                <a:lnTo>
                  <a:pt x="266" y="253"/>
                </a:lnTo>
                <a:lnTo>
                  <a:pt x="260" y="244"/>
                </a:lnTo>
                <a:lnTo>
                  <a:pt x="253" y="237"/>
                </a:lnTo>
                <a:lnTo>
                  <a:pt x="246" y="228"/>
                </a:lnTo>
                <a:lnTo>
                  <a:pt x="193" y="302"/>
                </a:lnTo>
                <a:lnTo>
                  <a:pt x="283" y="302"/>
                </a:lnTo>
                <a:close/>
              </a:path>
            </a:pathLst>
          </a:cu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4" name="Skupina 1063">
            <a:extLst>
              <a:ext uri="{FF2B5EF4-FFF2-40B4-BE49-F238E27FC236}">
                <a16:creationId xmlns:a16="http://schemas.microsoft.com/office/drawing/2014/main" id="{B900F3B0-50CB-3406-4A0D-127ABEACB7BF}"/>
              </a:ext>
            </a:extLst>
          </p:cNvPr>
          <p:cNvGrpSpPr/>
          <p:nvPr/>
        </p:nvGrpSpPr>
        <p:grpSpPr>
          <a:xfrm>
            <a:off x="10572750" y="2193925"/>
            <a:ext cx="952500" cy="950913"/>
            <a:chOff x="10572750" y="2193925"/>
            <a:chExt cx="952500" cy="950913"/>
          </a:xfrm>
        </p:grpSpPr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29C73B0-FDBE-ED19-835D-21C1D07B8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2750" y="2193925"/>
              <a:ext cx="952500" cy="950913"/>
            </a:xfrm>
            <a:custGeom>
              <a:avLst/>
              <a:gdLst>
                <a:gd name="T0" fmla="*/ 206 w 1800"/>
                <a:gd name="T1" fmla="*/ 325 h 1795"/>
                <a:gd name="T2" fmla="*/ 131 w 1800"/>
                <a:gd name="T3" fmla="*/ 432 h 1795"/>
                <a:gd name="T4" fmla="*/ 71 w 1800"/>
                <a:gd name="T5" fmla="*/ 547 h 1795"/>
                <a:gd name="T6" fmla="*/ 29 w 1800"/>
                <a:gd name="T7" fmla="*/ 672 h 1795"/>
                <a:gd name="T8" fmla="*/ 4 w 1800"/>
                <a:gd name="T9" fmla="*/ 804 h 1795"/>
                <a:gd name="T10" fmla="*/ 0 w 1800"/>
                <a:gd name="T11" fmla="*/ 898 h 1795"/>
                <a:gd name="T12" fmla="*/ 10 w 1800"/>
                <a:gd name="T13" fmla="*/ 1035 h 1795"/>
                <a:gd name="T14" fmla="*/ 40 w 1800"/>
                <a:gd name="T15" fmla="*/ 1164 h 1795"/>
                <a:gd name="T16" fmla="*/ 89 w 1800"/>
                <a:gd name="T17" fmla="*/ 1286 h 1795"/>
                <a:gd name="T18" fmla="*/ 154 w 1800"/>
                <a:gd name="T19" fmla="*/ 1400 h 1795"/>
                <a:gd name="T20" fmla="*/ 233 w 1800"/>
                <a:gd name="T21" fmla="*/ 1500 h 1795"/>
                <a:gd name="T22" fmla="*/ 327 w 1800"/>
                <a:gd name="T23" fmla="*/ 1589 h 1795"/>
                <a:gd name="T24" fmla="*/ 433 w 1800"/>
                <a:gd name="T25" fmla="*/ 1664 h 1795"/>
                <a:gd name="T26" fmla="*/ 550 w 1800"/>
                <a:gd name="T27" fmla="*/ 1724 h 1795"/>
                <a:gd name="T28" fmla="*/ 675 w 1800"/>
                <a:gd name="T29" fmla="*/ 1766 h 1795"/>
                <a:gd name="T30" fmla="*/ 808 w 1800"/>
                <a:gd name="T31" fmla="*/ 1790 h 1795"/>
                <a:gd name="T32" fmla="*/ 900 w 1800"/>
                <a:gd name="T33" fmla="*/ 1795 h 1795"/>
                <a:gd name="T34" fmla="*/ 1037 w 1800"/>
                <a:gd name="T35" fmla="*/ 1784 h 1795"/>
                <a:gd name="T36" fmla="*/ 1168 w 1800"/>
                <a:gd name="T37" fmla="*/ 1754 h 1795"/>
                <a:gd name="T38" fmla="*/ 1290 w 1800"/>
                <a:gd name="T39" fmla="*/ 1705 h 1795"/>
                <a:gd name="T40" fmla="*/ 1404 w 1800"/>
                <a:gd name="T41" fmla="*/ 1641 h 1795"/>
                <a:gd name="T42" fmla="*/ 1505 w 1800"/>
                <a:gd name="T43" fmla="*/ 1562 h 1795"/>
                <a:gd name="T44" fmla="*/ 1594 w 1800"/>
                <a:gd name="T45" fmla="*/ 1469 h 1795"/>
                <a:gd name="T46" fmla="*/ 1670 w 1800"/>
                <a:gd name="T47" fmla="*/ 1362 h 1795"/>
                <a:gd name="T48" fmla="*/ 1729 w 1800"/>
                <a:gd name="T49" fmla="*/ 1246 h 1795"/>
                <a:gd name="T50" fmla="*/ 1771 w 1800"/>
                <a:gd name="T51" fmla="*/ 1121 h 1795"/>
                <a:gd name="T52" fmla="*/ 1796 w 1800"/>
                <a:gd name="T53" fmla="*/ 989 h 1795"/>
                <a:gd name="T54" fmla="*/ 1799 w 1800"/>
                <a:gd name="T55" fmla="*/ 851 h 1795"/>
                <a:gd name="T56" fmla="*/ 1781 w 1800"/>
                <a:gd name="T57" fmla="*/ 716 h 1795"/>
                <a:gd name="T58" fmla="*/ 1745 w 1800"/>
                <a:gd name="T59" fmla="*/ 588 h 1795"/>
                <a:gd name="T60" fmla="*/ 1692 w 1800"/>
                <a:gd name="T61" fmla="*/ 469 h 1795"/>
                <a:gd name="T62" fmla="*/ 1621 w 1800"/>
                <a:gd name="T63" fmla="*/ 360 h 1795"/>
                <a:gd name="T64" fmla="*/ 1536 w 1800"/>
                <a:gd name="T65" fmla="*/ 262 h 1795"/>
                <a:gd name="T66" fmla="*/ 1439 w 1800"/>
                <a:gd name="T67" fmla="*/ 178 h 1795"/>
                <a:gd name="T68" fmla="*/ 1329 w 1800"/>
                <a:gd name="T69" fmla="*/ 107 h 1795"/>
                <a:gd name="T70" fmla="*/ 1210 w 1800"/>
                <a:gd name="T71" fmla="*/ 54 h 1795"/>
                <a:gd name="T72" fmla="*/ 1081 w 1800"/>
                <a:gd name="T73" fmla="*/ 18 h 1795"/>
                <a:gd name="T74" fmla="*/ 946 w 1800"/>
                <a:gd name="T75" fmla="*/ 1 h 1795"/>
                <a:gd name="T76" fmla="*/ 808 w 1800"/>
                <a:gd name="T77" fmla="*/ 4 h 1795"/>
                <a:gd name="T78" fmla="*/ 675 w 1800"/>
                <a:gd name="T79" fmla="*/ 28 h 1795"/>
                <a:gd name="T80" fmla="*/ 550 w 1800"/>
                <a:gd name="T81" fmla="*/ 70 h 1795"/>
                <a:gd name="T82" fmla="*/ 433 w 1800"/>
                <a:gd name="T83" fmla="*/ 129 h 1795"/>
                <a:gd name="T84" fmla="*/ 327 w 1800"/>
                <a:gd name="T85" fmla="*/ 205 h 1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0" h="1795">
                  <a:moveTo>
                    <a:pt x="264" y="262"/>
                  </a:moveTo>
                  <a:lnTo>
                    <a:pt x="233" y="294"/>
                  </a:lnTo>
                  <a:lnTo>
                    <a:pt x="206" y="325"/>
                  </a:lnTo>
                  <a:lnTo>
                    <a:pt x="179" y="360"/>
                  </a:lnTo>
                  <a:lnTo>
                    <a:pt x="154" y="394"/>
                  </a:lnTo>
                  <a:lnTo>
                    <a:pt x="131" y="432"/>
                  </a:lnTo>
                  <a:lnTo>
                    <a:pt x="109" y="469"/>
                  </a:lnTo>
                  <a:lnTo>
                    <a:pt x="89" y="508"/>
                  </a:lnTo>
                  <a:lnTo>
                    <a:pt x="71" y="547"/>
                  </a:lnTo>
                  <a:lnTo>
                    <a:pt x="55" y="588"/>
                  </a:lnTo>
                  <a:lnTo>
                    <a:pt x="40" y="630"/>
                  </a:lnTo>
                  <a:lnTo>
                    <a:pt x="29" y="672"/>
                  </a:lnTo>
                  <a:lnTo>
                    <a:pt x="19" y="715"/>
                  </a:lnTo>
                  <a:lnTo>
                    <a:pt x="10" y="759"/>
                  </a:lnTo>
                  <a:lnTo>
                    <a:pt x="4" y="804"/>
                  </a:lnTo>
                  <a:lnTo>
                    <a:pt x="1" y="850"/>
                  </a:lnTo>
                  <a:lnTo>
                    <a:pt x="0" y="896"/>
                  </a:lnTo>
                  <a:lnTo>
                    <a:pt x="0" y="898"/>
                  </a:lnTo>
                  <a:lnTo>
                    <a:pt x="1" y="944"/>
                  </a:lnTo>
                  <a:lnTo>
                    <a:pt x="4" y="990"/>
                  </a:lnTo>
                  <a:lnTo>
                    <a:pt x="10" y="1035"/>
                  </a:lnTo>
                  <a:lnTo>
                    <a:pt x="19" y="1079"/>
                  </a:lnTo>
                  <a:lnTo>
                    <a:pt x="29" y="1122"/>
                  </a:lnTo>
                  <a:lnTo>
                    <a:pt x="40" y="1164"/>
                  </a:lnTo>
                  <a:lnTo>
                    <a:pt x="55" y="1206"/>
                  </a:lnTo>
                  <a:lnTo>
                    <a:pt x="71" y="1247"/>
                  </a:lnTo>
                  <a:lnTo>
                    <a:pt x="89" y="1286"/>
                  </a:lnTo>
                  <a:lnTo>
                    <a:pt x="109" y="1325"/>
                  </a:lnTo>
                  <a:lnTo>
                    <a:pt x="131" y="1362"/>
                  </a:lnTo>
                  <a:lnTo>
                    <a:pt x="154" y="1400"/>
                  </a:lnTo>
                  <a:lnTo>
                    <a:pt x="179" y="1434"/>
                  </a:lnTo>
                  <a:lnTo>
                    <a:pt x="206" y="1469"/>
                  </a:lnTo>
                  <a:lnTo>
                    <a:pt x="233" y="1500"/>
                  </a:lnTo>
                  <a:lnTo>
                    <a:pt x="264" y="1532"/>
                  </a:lnTo>
                  <a:lnTo>
                    <a:pt x="295" y="1562"/>
                  </a:lnTo>
                  <a:lnTo>
                    <a:pt x="327" y="1589"/>
                  </a:lnTo>
                  <a:lnTo>
                    <a:pt x="361" y="1616"/>
                  </a:lnTo>
                  <a:lnTo>
                    <a:pt x="396" y="1641"/>
                  </a:lnTo>
                  <a:lnTo>
                    <a:pt x="433" y="1664"/>
                  </a:lnTo>
                  <a:lnTo>
                    <a:pt x="471" y="1687"/>
                  </a:lnTo>
                  <a:lnTo>
                    <a:pt x="510" y="1705"/>
                  </a:lnTo>
                  <a:lnTo>
                    <a:pt x="550" y="1724"/>
                  </a:lnTo>
                  <a:lnTo>
                    <a:pt x="590" y="1740"/>
                  </a:lnTo>
                  <a:lnTo>
                    <a:pt x="632" y="1754"/>
                  </a:lnTo>
                  <a:lnTo>
                    <a:pt x="675" y="1766"/>
                  </a:lnTo>
                  <a:lnTo>
                    <a:pt x="719" y="1776"/>
                  </a:lnTo>
                  <a:lnTo>
                    <a:pt x="763" y="1784"/>
                  </a:lnTo>
                  <a:lnTo>
                    <a:pt x="808" y="1790"/>
                  </a:lnTo>
                  <a:lnTo>
                    <a:pt x="852" y="1793"/>
                  </a:lnTo>
                  <a:lnTo>
                    <a:pt x="900" y="1795"/>
                  </a:lnTo>
                  <a:lnTo>
                    <a:pt x="900" y="1795"/>
                  </a:lnTo>
                  <a:lnTo>
                    <a:pt x="948" y="1793"/>
                  </a:lnTo>
                  <a:lnTo>
                    <a:pt x="992" y="1790"/>
                  </a:lnTo>
                  <a:lnTo>
                    <a:pt x="1037" y="1784"/>
                  </a:lnTo>
                  <a:lnTo>
                    <a:pt x="1081" y="1776"/>
                  </a:lnTo>
                  <a:lnTo>
                    <a:pt x="1125" y="1766"/>
                  </a:lnTo>
                  <a:lnTo>
                    <a:pt x="1168" y="1754"/>
                  </a:lnTo>
                  <a:lnTo>
                    <a:pt x="1210" y="1740"/>
                  </a:lnTo>
                  <a:lnTo>
                    <a:pt x="1250" y="1724"/>
                  </a:lnTo>
                  <a:lnTo>
                    <a:pt x="1290" y="1705"/>
                  </a:lnTo>
                  <a:lnTo>
                    <a:pt x="1329" y="1687"/>
                  </a:lnTo>
                  <a:lnTo>
                    <a:pt x="1367" y="1664"/>
                  </a:lnTo>
                  <a:lnTo>
                    <a:pt x="1404" y="1641"/>
                  </a:lnTo>
                  <a:lnTo>
                    <a:pt x="1439" y="1616"/>
                  </a:lnTo>
                  <a:lnTo>
                    <a:pt x="1473" y="1589"/>
                  </a:lnTo>
                  <a:lnTo>
                    <a:pt x="1505" y="1562"/>
                  </a:lnTo>
                  <a:lnTo>
                    <a:pt x="1536" y="1532"/>
                  </a:lnTo>
                  <a:lnTo>
                    <a:pt x="1567" y="1500"/>
                  </a:lnTo>
                  <a:lnTo>
                    <a:pt x="1594" y="1469"/>
                  </a:lnTo>
                  <a:lnTo>
                    <a:pt x="1621" y="1434"/>
                  </a:lnTo>
                  <a:lnTo>
                    <a:pt x="1646" y="1398"/>
                  </a:lnTo>
                  <a:lnTo>
                    <a:pt x="1670" y="1362"/>
                  </a:lnTo>
                  <a:lnTo>
                    <a:pt x="1692" y="1325"/>
                  </a:lnTo>
                  <a:lnTo>
                    <a:pt x="1711" y="1286"/>
                  </a:lnTo>
                  <a:lnTo>
                    <a:pt x="1729" y="1246"/>
                  </a:lnTo>
                  <a:lnTo>
                    <a:pt x="1745" y="1206"/>
                  </a:lnTo>
                  <a:lnTo>
                    <a:pt x="1760" y="1164"/>
                  </a:lnTo>
                  <a:lnTo>
                    <a:pt x="1771" y="1121"/>
                  </a:lnTo>
                  <a:lnTo>
                    <a:pt x="1781" y="1078"/>
                  </a:lnTo>
                  <a:lnTo>
                    <a:pt x="1790" y="1033"/>
                  </a:lnTo>
                  <a:lnTo>
                    <a:pt x="1796" y="989"/>
                  </a:lnTo>
                  <a:lnTo>
                    <a:pt x="1799" y="943"/>
                  </a:lnTo>
                  <a:lnTo>
                    <a:pt x="1800" y="897"/>
                  </a:lnTo>
                  <a:lnTo>
                    <a:pt x="1799" y="851"/>
                  </a:lnTo>
                  <a:lnTo>
                    <a:pt x="1796" y="805"/>
                  </a:lnTo>
                  <a:lnTo>
                    <a:pt x="1790" y="761"/>
                  </a:lnTo>
                  <a:lnTo>
                    <a:pt x="1781" y="716"/>
                  </a:lnTo>
                  <a:lnTo>
                    <a:pt x="1771" y="673"/>
                  </a:lnTo>
                  <a:lnTo>
                    <a:pt x="1760" y="630"/>
                  </a:lnTo>
                  <a:lnTo>
                    <a:pt x="1745" y="588"/>
                  </a:lnTo>
                  <a:lnTo>
                    <a:pt x="1729" y="548"/>
                  </a:lnTo>
                  <a:lnTo>
                    <a:pt x="1711" y="508"/>
                  </a:lnTo>
                  <a:lnTo>
                    <a:pt x="1692" y="469"/>
                  </a:lnTo>
                  <a:lnTo>
                    <a:pt x="1670" y="432"/>
                  </a:lnTo>
                  <a:lnTo>
                    <a:pt x="1646" y="396"/>
                  </a:lnTo>
                  <a:lnTo>
                    <a:pt x="1621" y="360"/>
                  </a:lnTo>
                  <a:lnTo>
                    <a:pt x="1594" y="325"/>
                  </a:lnTo>
                  <a:lnTo>
                    <a:pt x="1567" y="294"/>
                  </a:lnTo>
                  <a:lnTo>
                    <a:pt x="1536" y="262"/>
                  </a:lnTo>
                  <a:lnTo>
                    <a:pt x="1505" y="232"/>
                  </a:lnTo>
                  <a:lnTo>
                    <a:pt x="1473" y="205"/>
                  </a:lnTo>
                  <a:lnTo>
                    <a:pt x="1439" y="178"/>
                  </a:lnTo>
                  <a:lnTo>
                    <a:pt x="1403" y="153"/>
                  </a:lnTo>
                  <a:lnTo>
                    <a:pt x="1367" y="129"/>
                  </a:lnTo>
                  <a:lnTo>
                    <a:pt x="1329" y="107"/>
                  </a:lnTo>
                  <a:lnTo>
                    <a:pt x="1290" y="89"/>
                  </a:lnTo>
                  <a:lnTo>
                    <a:pt x="1250" y="70"/>
                  </a:lnTo>
                  <a:lnTo>
                    <a:pt x="1210" y="54"/>
                  </a:lnTo>
                  <a:lnTo>
                    <a:pt x="1168" y="40"/>
                  </a:lnTo>
                  <a:lnTo>
                    <a:pt x="1125" y="28"/>
                  </a:lnTo>
                  <a:lnTo>
                    <a:pt x="1081" y="18"/>
                  </a:lnTo>
                  <a:lnTo>
                    <a:pt x="1037" y="10"/>
                  </a:lnTo>
                  <a:lnTo>
                    <a:pt x="992" y="4"/>
                  </a:lnTo>
                  <a:lnTo>
                    <a:pt x="946" y="1"/>
                  </a:lnTo>
                  <a:lnTo>
                    <a:pt x="900" y="0"/>
                  </a:lnTo>
                  <a:lnTo>
                    <a:pt x="854" y="1"/>
                  </a:lnTo>
                  <a:lnTo>
                    <a:pt x="808" y="4"/>
                  </a:lnTo>
                  <a:lnTo>
                    <a:pt x="763" y="10"/>
                  </a:lnTo>
                  <a:lnTo>
                    <a:pt x="719" y="18"/>
                  </a:lnTo>
                  <a:lnTo>
                    <a:pt x="675" y="28"/>
                  </a:lnTo>
                  <a:lnTo>
                    <a:pt x="632" y="40"/>
                  </a:lnTo>
                  <a:lnTo>
                    <a:pt x="590" y="54"/>
                  </a:lnTo>
                  <a:lnTo>
                    <a:pt x="550" y="70"/>
                  </a:lnTo>
                  <a:lnTo>
                    <a:pt x="510" y="89"/>
                  </a:lnTo>
                  <a:lnTo>
                    <a:pt x="471" y="107"/>
                  </a:lnTo>
                  <a:lnTo>
                    <a:pt x="433" y="129"/>
                  </a:lnTo>
                  <a:lnTo>
                    <a:pt x="397" y="153"/>
                  </a:lnTo>
                  <a:lnTo>
                    <a:pt x="361" y="178"/>
                  </a:lnTo>
                  <a:lnTo>
                    <a:pt x="327" y="205"/>
                  </a:lnTo>
                  <a:lnTo>
                    <a:pt x="295" y="232"/>
                  </a:lnTo>
                  <a:lnTo>
                    <a:pt x="264" y="2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BE7E31E7-A304-75D4-0629-E89601EC8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90213" y="2211388"/>
              <a:ext cx="917575" cy="914400"/>
            </a:xfrm>
            <a:custGeom>
              <a:avLst/>
              <a:gdLst>
                <a:gd name="T0" fmla="*/ 123 w 1734"/>
                <a:gd name="T1" fmla="*/ 880 h 1728"/>
                <a:gd name="T2" fmla="*/ 675 w 1734"/>
                <a:gd name="T3" fmla="*/ 1559 h 1728"/>
                <a:gd name="T4" fmla="*/ 639 w 1734"/>
                <a:gd name="T5" fmla="*/ 1484 h 1728"/>
                <a:gd name="T6" fmla="*/ 709 w 1734"/>
                <a:gd name="T7" fmla="*/ 1631 h 1728"/>
                <a:gd name="T8" fmla="*/ 736 w 1734"/>
                <a:gd name="T9" fmla="*/ 1545 h 1728"/>
                <a:gd name="T10" fmla="*/ 311 w 1734"/>
                <a:gd name="T11" fmla="*/ 1217 h 1728"/>
                <a:gd name="T12" fmla="*/ 200 w 1734"/>
                <a:gd name="T13" fmla="*/ 1036 h 1728"/>
                <a:gd name="T14" fmla="*/ 223 w 1734"/>
                <a:gd name="T15" fmla="*/ 1003 h 1728"/>
                <a:gd name="T16" fmla="*/ 140 w 1734"/>
                <a:gd name="T17" fmla="*/ 1029 h 1728"/>
                <a:gd name="T18" fmla="*/ 127 w 1734"/>
                <a:gd name="T19" fmla="*/ 1012 h 1728"/>
                <a:gd name="T20" fmla="*/ 114 w 1734"/>
                <a:gd name="T21" fmla="*/ 1092 h 1728"/>
                <a:gd name="T22" fmla="*/ 288 w 1734"/>
                <a:gd name="T23" fmla="*/ 1178 h 1728"/>
                <a:gd name="T24" fmla="*/ 1400 w 1734"/>
                <a:gd name="T25" fmla="*/ 1509 h 1728"/>
                <a:gd name="T26" fmla="*/ 739 w 1734"/>
                <a:gd name="T27" fmla="*/ 1690 h 1728"/>
                <a:gd name="T28" fmla="*/ 173 w 1734"/>
                <a:gd name="T29" fmla="*/ 1331 h 1728"/>
                <a:gd name="T30" fmla="*/ 56 w 1734"/>
                <a:gd name="T31" fmla="*/ 656 h 1728"/>
                <a:gd name="T32" fmla="*/ 468 w 1734"/>
                <a:gd name="T33" fmla="*/ 130 h 1728"/>
                <a:gd name="T34" fmla="*/ 1155 w 1734"/>
                <a:gd name="T35" fmla="*/ 80 h 1728"/>
                <a:gd name="T36" fmla="*/ 1639 w 1734"/>
                <a:gd name="T37" fmla="*/ 539 h 1728"/>
                <a:gd name="T38" fmla="*/ 1622 w 1734"/>
                <a:gd name="T39" fmla="*/ 1226 h 1728"/>
                <a:gd name="T40" fmla="*/ 530 w 1734"/>
                <a:gd name="T41" fmla="*/ 67 h 1728"/>
                <a:gd name="T42" fmla="*/ 52 w 1734"/>
                <a:gd name="T43" fmla="*/ 567 h 1728"/>
                <a:gd name="T44" fmla="*/ 105 w 1734"/>
                <a:gd name="T45" fmla="*/ 1276 h 1728"/>
                <a:gd name="T46" fmla="*/ 651 w 1734"/>
                <a:gd name="T47" fmla="*/ 1701 h 1728"/>
                <a:gd name="T48" fmla="*/ 1352 w 1734"/>
                <a:gd name="T49" fmla="*/ 1581 h 1728"/>
                <a:gd name="T50" fmla="*/ 1724 w 1734"/>
                <a:gd name="T51" fmla="*/ 996 h 1728"/>
                <a:gd name="T52" fmla="*/ 1537 w 1734"/>
                <a:gd name="T53" fmla="*/ 314 h 1728"/>
                <a:gd name="T54" fmla="*/ 912 w 1734"/>
                <a:gd name="T55" fmla="*/ 1 h 1728"/>
                <a:gd name="T56" fmla="*/ 1331 w 1734"/>
                <a:gd name="T57" fmla="*/ 1466 h 1728"/>
                <a:gd name="T58" fmla="*/ 1257 w 1734"/>
                <a:gd name="T59" fmla="*/ 1453 h 1728"/>
                <a:gd name="T60" fmla="*/ 1355 w 1734"/>
                <a:gd name="T61" fmla="*/ 1499 h 1728"/>
                <a:gd name="T62" fmla="*/ 1465 w 1734"/>
                <a:gd name="T63" fmla="*/ 1312 h 1728"/>
                <a:gd name="T64" fmla="*/ 1411 w 1734"/>
                <a:gd name="T65" fmla="*/ 1286 h 1728"/>
                <a:gd name="T66" fmla="*/ 1515 w 1734"/>
                <a:gd name="T67" fmla="*/ 1268 h 1728"/>
                <a:gd name="T68" fmla="*/ 1429 w 1734"/>
                <a:gd name="T69" fmla="*/ 1230 h 1728"/>
                <a:gd name="T70" fmla="*/ 1522 w 1734"/>
                <a:gd name="T71" fmla="*/ 1272 h 1728"/>
                <a:gd name="T72" fmla="*/ 1112 w 1734"/>
                <a:gd name="T73" fmla="*/ 1540 h 1728"/>
                <a:gd name="T74" fmla="*/ 1141 w 1734"/>
                <a:gd name="T75" fmla="*/ 1559 h 1728"/>
                <a:gd name="T76" fmla="*/ 1109 w 1734"/>
                <a:gd name="T77" fmla="*/ 1484 h 1728"/>
                <a:gd name="T78" fmla="*/ 873 w 1734"/>
                <a:gd name="T79" fmla="*/ 1638 h 1728"/>
                <a:gd name="T80" fmla="*/ 1270 w 1734"/>
                <a:gd name="T81" fmla="*/ 170 h 1728"/>
                <a:gd name="T82" fmla="*/ 1037 w 1734"/>
                <a:gd name="T83" fmla="*/ 199 h 1728"/>
                <a:gd name="T84" fmla="*/ 1086 w 1734"/>
                <a:gd name="T85" fmla="*/ 130 h 1728"/>
                <a:gd name="T86" fmla="*/ 1007 w 1734"/>
                <a:gd name="T87" fmla="*/ 107 h 1728"/>
                <a:gd name="T88" fmla="*/ 1041 w 1734"/>
                <a:gd name="T89" fmla="*/ 231 h 1728"/>
                <a:gd name="T90" fmla="*/ 1391 w 1734"/>
                <a:gd name="T91" fmla="*/ 369 h 1728"/>
                <a:gd name="T92" fmla="*/ 1519 w 1734"/>
                <a:gd name="T93" fmla="*/ 728 h 1728"/>
                <a:gd name="T94" fmla="*/ 206 w 1734"/>
                <a:gd name="T95" fmla="*/ 610 h 1728"/>
                <a:gd name="T96" fmla="*/ 236 w 1734"/>
                <a:gd name="T97" fmla="*/ 672 h 1728"/>
                <a:gd name="T98" fmla="*/ 176 w 1734"/>
                <a:gd name="T99" fmla="*/ 558 h 1728"/>
                <a:gd name="T100" fmla="*/ 133 w 1734"/>
                <a:gd name="T101" fmla="*/ 677 h 1728"/>
                <a:gd name="T102" fmla="*/ 546 w 1734"/>
                <a:gd name="T103" fmla="*/ 259 h 1728"/>
                <a:gd name="T104" fmla="*/ 501 w 1734"/>
                <a:gd name="T105" fmla="*/ 182 h 1728"/>
                <a:gd name="T106" fmla="*/ 570 w 1734"/>
                <a:gd name="T107" fmla="*/ 170 h 1728"/>
                <a:gd name="T108" fmla="*/ 448 w 1734"/>
                <a:gd name="T109" fmla="*/ 221 h 1728"/>
                <a:gd name="T110" fmla="*/ 356 w 1734"/>
                <a:gd name="T111" fmla="*/ 331 h 1728"/>
                <a:gd name="T112" fmla="*/ 362 w 1734"/>
                <a:gd name="T113" fmla="*/ 324 h 1728"/>
                <a:gd name="T114" fmla="*/ 392 w 1734"/>
                <a:gd name="T115" fmla="*/ 281 h 1728"/>
                <a:gd name="T116" fmla="*/ 403 w 1734"/>
                <a:gd name="T117" fmla="*/ 396 h 1728"/>
                <a:gd name="T118" fmla="*/ 786 w 1734"/>
                <a:gd name="T119" fmla="*/ 206 h 1728"/>
                <a:gd name="T120" fmla="*/ 1318 w 1734"/>
                <a:gd name="T121" fmla="*/ 131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4" h="1728">
                  <a:moveTo>
                    <a:pt x="295" y="1425"/>
                  </a:moveTo>
                  <a:lnTo>
                    <a:pt x="367" y="1493"/>
                  </a:lnTo>
                  <a:lnTo>
                    <a:pt x="386" y="1474"/>
                  </a:lnTo>
                  <a:lnTo>
                    <a:pt x="343" y="1434"/>
                  </a:lnTo>
                  <a:lnTo>
                    <a:pt x="363" y="1413"/>
                  </a:lnTo>
                  <a:lnTo>
                    <a:pt x="406" y="1453"/>
                  </a:lnTo>
                  <a:lnTo>
                    <a:pt x="425" y="1433"/>
                  </a:lnTo>
                  <a:lnTo>
                    <a:pt x="382" y="1392"/>
                  </a:lnTo>
                  <a:lnTo>
                    <a:pt x="402" y="1371"/>
                  </a:lnTo>
                  <a:lnTo>
                    <a:pt x="445" y="1411"/>
                  </a:lnTo>
                  <a:lnTo>
                    <a:pt x="464" y="1392"/>
                  </a:lnTo>
                  <a:lnTo>
                    <a:pt x="392" y="1324"/>
                  </a:lnTo>
                  <a:lnTo>
                    <a:pt x="295" y="1425"/>
                  </a:lnTo>
                  <a:close/>
                  <a:moveTo>
                    <a:pt x="97" y="819"/>
                  </a:moveTo>
                  <a:lnTo>
                    <a:pt x="97" y="819"/>
                  </a:lnTo>
                  <a:lnTo>
                    <a:pt x="125" y="821"/>
                  </a:lnTo>
                  <a:lnTo>
                    <a:pt x="123" y="880"/>
                  </a:lnTo>
                  <a:lnTo>
                    <a:pt x="148" y="881"/>
                  </a:lnTo>
                  <a:lnTo>
                    <a:pt x="153" y="824"/>
                  </a:lnTo>
                  <a:lnTo>
                    <a:pt x="183" y="825"/>
                  </a:lnTo>
                  <a:lnTo>
                    <a:pt x="179" y="883"/>
                  </a:lnTo>
                  <a:lnTo>
                    <a:pt x="206" y="886"/>
                  </a:lnTo>
                  <a:lnTo>
                    <a:pt x="212" y="786"/>
                  </a:lnTo>
                  <a:lnTo>
                    <a:pt x="72" y="778"/>
                  </a:lnTo>
                  <a:lnTo>
                    <a:pt x="65" y="875"/>
                  </a:lnTo>
                  <a:lnTo>
                    <a:pt x="92" y="877"/>
                  </a:lnTo>
                  <a:lnTo>
                    <a:pt x="97" y="819"/>
                  </a:lnTo>
                  <a:close/>
                  <a:moveTo>
                    <a:pt x="694" y="1548"/>
                  </a:moveTo>
                  <a:lnTo>
                    <a:pt x="694" y="1548"/>
                  </a:lnTo>
                  <a:lnTo>
                    <a:pt x="691" y="1552"/>
                  </a:lnTo>
                  <a:lnTo>
                    <a:pt x="690" y="1555"/>
                  </a:lnTo>
                  <a:lnTo>
                    <a:pt x="687" y="1558"/>
                  </a:lnTo>
                  <a:lnTo>
                    <a:pt x="683" y="1559"/>
                  </a:lnTo>
                  <a:lnTo>
                    <a:pt x="675" y="1559"/>
                  </a:lnTo>
                  <a:lnTo>
                    <a:pt x="667" y="1558"/>
                  </a:lnTo>
                  <a:lnTo>
                    <a:pt x="655" y="1555"/>
                  </a:lnTo>
                  <a:lnTo>
                    <a:pt x="652" y="1553"/>
                  </a:lnTo>
                  <a:lnTo>
                    <a:pt x="664" y="1520"/>
                  </a:lnTo>
                  <a:lnTo>
                    <a:pt x="665" y="1520"/>
                  </a:lnTo>
                  <a:lnTo>
                    <a:pt x="677" y="1525"/>
                  </a:lnTo>
                  <a:lnTo>
                    <a:pt x="686" y="1527"/>
                  </a:lnTo>
                  <a:lnTo>
                    <a:pt x="691" y="1533"/>
                  </a:lnTo>
                  <a:lnTo>
                    <a:pt x="693" y="1536"/>
                  </a:lnTo>
                  <a:lnTo>
                    <a:pt x="694" y="1539"/>
                  </a:lnTo>
                  <a:lnTo>
                    <a:pt x="694" y="1543"/>
                  </a:lnTo>
                  <a:lnTo>
                    <a:pt x="694" y="1548"/>
                  </a:lnTo>
                  <a:close/>
                  <a:moveTo>
                    <a:pt x="686" y="1499"/>
                  </a:moveTo>
                  <a:lnTo>
                    <a:pt x="686" y="1499"/>
                  </a:lnTo>
                  <a:lnTo>
                    <a:pt x="671" y="1494"/>
                  </a:lnTo>
                  <a:lnTo>
                    <a:pt x="654" y="1489"/>
                  </a:lnTo>
                  <a:lnTo>
                    <a:pt x="639" y="1484"/>
                  </a:lnTo>
                  <a:lnTo>
                    <a:pt x="634" y="1483"/>
                  </a:lnTo>
                  <a:lnTo>
                    <a:pt x="591" y="1616"/>
                  </a:lnTo>
                  <a:lnTo>
                    <a:pt x="629" y="1628"/>
                  </a:lnTo>
                  <a:lnTo>
                    <a:pt x="645" y="1579"/>
                  </a:lnTo>
                  <a:lnTo>
                    <a:pt x="647" y="1579"/>
                  </a:lnTo>
                  <a:lnTo>
                    <a:pt x="658" y="1583"/>
                  </a:lnTo>
                  <a:lnTo>
                    <a:pt x="664" y="1585"/>
                  </a:lnTo>
                  <a:lnTo>
                    <a:pt x="668" y="1588"/>
                  </a:lnTo>
                  <a:lnTo>
                    <a:pt x="671" y="1591"/>
                  </a:lnTo>
                  <a:lnTo>
                    <a:pt x="673" y="1593"/>
                  </a:lnTo>
                  <a:lnTo>
                    <a:pt x="675" y="1601"/>
                  </a:lnTo>
                  <a:lnTo>
                    <a:pt x="674" y="1609"/>
                  </a:lnTo>
                  <a:lnTo>
                    <a:pt x="670" y="1625"/>
                  </a:lnTo>
                  <a:lnTo>
                    <a:pt x="670" y="1641"/>
                  </a:lnTo>
                  <a:lnTo>
                    <a:pt x="709" y="1652"/>
                  </a:lnTo>
                  <a:lnTo>
                    <a:pt x="707" y="1642"/>
                  </a:lnTo>
                  <a:lnTo>
                    <a:pt x="709" y="1631"/>
                  </a:lnTo>
                  <a:lnTo>
                    <a:pt x="711" y="1619"/>
                  </a:lnTo>
                  <a:lnTo>
                    <a:pt x="713" y="1609"/>
                  </a:lnTo>
                  <a:lnTo>
                    <a:pt x="713" y="1601"/>
                  </a:lnTo>
                  <a:lnTo>
                    <a:pt x="711" y="1592"/>
                  </a:lnTo>
                  <a:lnTo>
                    <a:pt x="709" y="1588"/>
                  </a:lnTo>
                  <a:lnTo>
                    <a:pt x="706" y="1585"/>
                  </a:lnTo>
                  <a:lnTo>
                    <a:pt x="701" y="1582"/>
                  </a:lnTo>
                  <a:lnTo>
                    <a:pt x="696" y="1579"/>
                  </a:lnTo>
                  <a:lnTo>
                    <a:pt x="701" y="1579"/>
                  </a:lnTo>
                  <a:lnTo>
                    <a:pt x="706" y="1578"/>
                  </a:lnTo>
                  <a:lnTo>
                    <a:pt x="711" y="1578"/>
                  </a:lnTo>
                  <a:lnTo>
                    <a:pt x="717" y="1575"/>
                  </a:lnTo>
                  <a:lnTo>
                    <a:pt x="722" y="1572"/>
                  </a:lnTo>
                  <a:lnTo>
                    <a:pt x="727" y="1566"/>
                  </a:lnTo>
                  <a:lnTo>
                    <a:pt x="732" y="1560"/>
                  </a:lnTo>
                  <a:lnTo>
                    <a:pt x="735" y="1552"/>
                  </a:lnTo>
                  <a:lnTo>
                    <a:pt x="736" y="1545"/>
                  </a:lnTo>
                  <a:lnTo>
                    <a:pt x="736" y="1539"/>
                  </a:lnTo>
                  <a:lnTo>
                    <a:pt x="736" y="1535"/>
                  </a:lnTo>
                  <a:lnTo>
                    <a:pt x="735" y="1530"/>
                  </a:lnTo>
                  <a:lnTo>
                    <a:pt x="730" y="1522"/>
                  </a:lnTo>
                  <a:lnTo>
                    <a:pt x="723" y="1515"/>
                  </a:lnTo>
                  <a:lnTo>
                    <a:pt x="714" y="1510"/>
                  </a:lnTo>
                  <a:lnTo>
                    <a:pt x="704" y="1506"/>
                  </a:lnTo>
                  <a:lnTo>
                    <a:pt x="694" y="1502"/>
                  </a:lnTo>
                  <a:lnTo>
                    <a:pt x="686" y="1499"/>
                  </a:lnTo>
                  <a:close/>
                  <a:moveTo>
                    <a:pt x="311" y="1217"/>
                  </a:moveTo>
                  <a:lnTo>
                    <a:pt x="311" y="1217"/>
                  </a:lnTo>
                  <a:lnTo>
                    <a:pt x="235" y="1209"/>
                  </a:lnTo>
                  <a:lnTo>
                    <a:pt x="193" y="1293"/>
                  </a:lnTo>
                  <a:lnTo>
                    <a:pt x="216" y="1334"/>
                  </a:lnTo>
                  <a:lnTo>
                    <a:pt x="258" y="1249"/>
                  </a:lnTo>
                  <a:lnTo>
                    <a:pt x="334" y="1257"/>
                  </a:lnTo>
                  <a:lnTo>
                    <a:pt x="311" y="1217"/>
                  </a:lnTo>
                  <a:close/>
                  <a:moveTo>
                    <a:pt x="171" y="1058"/>
                  </a:moveTo>
                  <a:lnTo>
                    <a:pt x="171" y="1058"/>
                  </a:lnTo>
                  <a:lnTo>
                    <a:pt x="173" y="1039"/>
                  </a:lnTo>
                  <a:lnTo>
                    <a:pt x="174" y="1023"/>
                  </a:lnTo>
                  <a:lnTo>
                    <a:pt x="176" y="1016"/>
                  </a:lnTo>
                  <a:lnTo>
                    <a:pt x="177" y="1012"/>
                  </a:lnTo>
                  <a:lnTo>
                    <a:pt x="179" y="1008"/>
                  </a:lnTo>
                  <a:lnTo>
                    <a:pt x="182" y="1006"/>
                  </a:lnTo>
                  <a:lnTo>
                    <a:pt x="187" y="1006"/>
                  </a:lnTo>
                  <a:lnTo>
                    <a:pt x="192" y="1006"/>
                  </a:lnTo>
                  <a:lnTo>
                    <a:pt x="195" y="1009"/>
                  </a:lnTo>
                  <a:lnTo>
                    <a:pt x="199" y="1012"/>
                  </a:lnTo>
                  <a:lnTo>
                    <a:pt x="200" y="1016"/>
                  </a:lnTo>
                  <a:lnTo>
                    <a:pt x="202" y="1021"/>
                  </a:lnTo>
                  <a:lnTo>
                    <a:pt x="203" y="1028"/>
                  </a:lnTo>
                  <a:lnTo>
                    <a:pt x="202" y="1033"/>
                  </a:lnTo>
                  <a:lnTo>
                    <a:pt x="200" y="1036"/>
                  </a:lnTo>
                  <a:lnTo>
                    <a:pt x="197" y="1039"/>
                  </a:lnTo>
                  <a:lnTo>
                    <a:pt x="193" y="1041"/>
                  </a:lnTo>
                  <a:lnTo>
                    <a:pt x="187" y="1044"/>
                  </a:lnTo>
                  <a:lnTo>
                    <a:pt x="193" y="1066"/>
                  </a:lnTo>
                  <a:lnTo>
                    <a:pt x="196" y="1079"/>
                  </a:lnTo>
                  <a:lnTo>
                    <a:pt x="199" y="1079"/>
                  </a:lnTo>
                  <a:lnTo>
                    <a:pt x="207" y="1077"/>
                  </a:lnTo>
                  <a:lnTo>
                    <a:pt x="212" y="1075"/>
                  </a:lnTo>
                  <a:lnTo>
                    <a:pt x="216" y="1072"/>
                  </a:lnTo>
                  <a:lnTo>
                    <a:pt x="220" y="1068"/>
                  </a:lnTo>
                  <a:lnTo>
                    <a:pt x="223" y="1064"/>
                  </a:lnTo>
                  <a:lnTo>
                    <a:pt x="228" y="1054"/>
                  </a:lnTo>
                  <a:lnTo>
                    <a:pt x="231" y="1044"/>
                  </a:lnTo>
                  <a:lnTo>
                    <a:pt x="231" y="1033"/>
                  </a:lnTo>
                  <a:lnTo>
                    <a:pt x="229" y="1022"/>
                  </a:lnTo>
                  <a:lnTo>
                    <a:pt x="226" y="1012"/>
                  </a:lnTo>
                  <a:lnTo>
                    <a:pt x="223" y="1003"/>
                  </a:lnTo>
                  <a:lnTo>
                    <a:pt x="220" y="995"/>
                  </a:lnTo>
                  <a:lnTo>
                    <a:pt x="216" y="987"/>
                  </a:lnTo>
                  <a:lnTo>
                    <a:pt x="212" y="982"/>
                  </a:lnTo>
                  <a:lnTo>
                    <a:pt x="207" y="977"/>
                  </a:lnTo>
                  <a:lnTo>
                    <a:pt x="200" y="972"/>
                  </a:lnTo>
                  <a:lnTo>
                    <a:pt x="193" y="969"/>
                  </a:lnTo>
                  <a:lnTo>
                    <a:pt x="186" y="967"/>
                  </a:lnTo>
                  <a:lnTo>
                    <a:pt x="179" y="966"/>
                  </a:lnTo>
                  <a:lnTo>
                    <a:pt x="170" y="967"/>
                  </a:lnTo>
                  <a:lnTo>
                    <a:pt x="163" y="970"/>
                  </a:lnTo>
                  <a:lnTo>
                    <a:pt x="157" y="975"/>
                  </a:lnTo>
                  <a:lnTo>
                    <a:pt x="153" y="977"/>
                  </a:lnTo>
                  <a:lnTo>
                    <a:pt x="148" y="982"/>
                  </a:lnTo>
                  <a:lnTo>
                    <a:pt x="146" y="986"/>
                  </a:lnTo>
                  <a:lnTo>
                    <a:pt x="143" y="996"/>
                  </a:lnTo>
                  <a:lnTo>
                    <a:pt x="141" y="1006"/>
                  </a:lnTo>
                  <a:lnTo>
                    <a:pt x="140" y="1029"/>
                  </a:lnTo>
                  <a:lnTo>
                    <a:pt x="138" y="1051"/>
                  </a:lnTo>
                  <a:lnTo>
                    <a:pt x="135" y="1054"/>
                  </a:lnTo>
                  <a:lnTo>
                    <a:pt x="133" y="1056"/>
                  </a:lnTo>
                  <a:lnTo>
                    <a:pt x="128" y="1059"/>
                  </a:lnTo>
                  <a:lnTo>
                    <a:pt x="124" y="1058"/>
                  </a:lnTo>
                  <a:lnTo>
                    <a:pt x="120" y="1056"/>
                  </a:lnTo>
                  <a:lnTo>
                    <a:pt x="115" y="1054"/>
                  </a:lnTo>
                  <a:lnTo>
                    <a:pt x="112" y="1049"/>
                  </a:lnTo>
                  <a:lnTo>
                    <a:pt x="111" y="1045"/>
                  </a:lnTo>
                  <a:lnTo>
                    <a:pt x="110" y="1038"/>
                  </a:lnTo>
                  <a:lnTo>
                    <a:pt x="110" y="1029"/>
                  </a:lnTo>
                  <a:lnTo>
                    <a:pt x="110" y="1026"/>
                  </a:lnTo>
                  <a:lnTo>
                    <a:pt x="111" y="1022"/>
                  </a:lnTo>
                  <a:lnTo>
                    <a:pt x="114" y="1019"/>
                  </a:lnTo>
                  <a:lnTo>
                    <a:pt x="117" y="1018"/>
                  </a:lnTo>
                  <a:lnTo>
                    <a:pt x="124" y="1013"/>
                  </a:lnTo>
                  <a:lnTo>
                    <a:pt x="127" y="1012"/>
                  </a:lnTo>
                  <a:lnTo>
                    <a:pt x="118" y="977"/>
                  </a:lnTo>
                  <a:lnTo>
                    <a:pt x="108" y="979"/>
                  </a:lnTo>
                  <a:lnTo>
                    <a:pt x="98" y="985"/>
                  </a:lnTo>
                  <a:lnTo>
                    <a:pt x="94" y="987"/>
                  </a:lnTo>
                  <a:lnTo>
                    <a:pt x="91" y="990"/>
                  </a:lnTo>
                  <a:lnTo>
                    <a:pt x="88" y="995"/>
                  </a:lnTo>
                  <a:lnTo>
                    <a:pt x="85" y="1000"/>
                  </a:lnTo>
                  <a:lnTo>
                    <a:pt x="82" y="1012"/>
                  </a:lnTo>
                  <a:lnTo>
                    <a:pt x="81" y="1022"/>
                  </a:lnTo>
                  <a:lnTo>
                    <a:pt x="81" y="1033"/>
                  </a:lnTo>
                  <a:lnTo>
                    <a:pt x="82" y="1045"/>
                  </a:lnTo>
                  <a:lnTo>
                    <a:pt x="85" y="1055"/>
                  </a:lnTo>
                  <a:lnTo>
                    <a:pt x="88" y="1065"/>
                  </a:lnTo>
                  <a:lnTo>
                    <a:pt x="94" y="1074"/>
                  </a:lnTo>
                  <a:lnTo>
                    <a:pt x="101" y="1082"/>
                  </a:lnTo>
                  <a:lnTo>
                    <a:pt x="107" y="1088"/>
                  </a:lnTo>
                  <a:lnTo>
                    <a:pt x="114" y="1092"/>
                  </a:lnTo>
                  <a:lnTo>
                    <a:pt x="121" y="1095"/>
                  </a:lnTo>
                  <a:lnTo>
                    <a:pt x="127" y="1097"/>
                  </a:lnTo>
                  <a:lnTo>
                    <a:pt x="134" y="1098"/>
                  </a:lnTo>
                  <a:lnTo>
                    <a:pt x="140" y="1097"/>
                  </a:lnTo>
                  <a:lnTo>
                    <a:pt x="147" y="1095"/>
                  </a:lnTo>
                  <a:lnTo>
                    <a:pt x="153" y="1092"/>
                  </a:lnTo>
                  <a:lnTo>
                    <a:pt x="157" y="1089"/>
                  </a:lnTo>
                  <a:lnTo>
                    <a:pt x="161" y="1085"/>
                  </a:lnTo>
                  <a:lnTo>
                    <a:pt x="164" y="1081"/>
                  </a:lnTo>
                  <a:lnTo>
                    <a:pt x="167" y="1075"/>
                  </a:lnTo>
                  <a:lnTo>
                    <a:pt x="171" y="1065"/>
                  </a:lnTo>
                  <a:lnTo>
                    <a:pt x="171" y="1058"/>
                  </a:lnTo>
                  <a:close/>
                  <a:moveTo>
                    <a:pt x="268" y="1144"/>
                  </a:moveTo>
                  <a:lnTo>
                    <a:pt x="268" y="1144"/>
                  </a:lnTo>
                  <a:lnTo>
                    <a:pt x="146" y="1214"/>
                  </a:lnTo>
                  <a:lnTo>
                    <a:pt x="166" y="1249"/>
                  </a:lnTo>
                  <a:lnTo>
                    <a:pt x="288" y="1178"/>
                  </a:lnTo>
                  <a:lnTo>
                    <a:pt x="268" y="1144"/>
                  </a:lnTo>
                  <a:close/>
                  <a:moveTo>
                    <a:pt x="423" y="1336"/>
                  </a:moveTo>
                  <a:lnTo>
                    <a:pt x="423" y="1336"/>
                  </a:lnTo>
                  <a:lnTo>
                    <a:pt x="448" y="1359"/>
                  </a:lnTo>
                  <a:lnTo>
                    <a:pt x="480" y="1358"/>
                  </a:lnTo>
                  <a:lnTo>
                    <a:pt x="457" y="1335"/>
                  </a:lnTo>
                  <a:lnTo>
                    <a:pt x="423" y="1336"/>
                  </a:lnTo>
                  <a:close/>
                  <a:moveTo>
                    <a:pt x="1521" y="986"/>
                  </a:moveTo>
                  <a:lnTo>
                    <a:pt x="1521" y="986"/>
                  </a:lnTo>
                  <a:lnTo>
                    <a:pt x="1660" y="1005"/>
                  </a:lnTo>
                  <a:lnTo>
                    <a:pt x="1666" y="965"/>
                  </a:lnTo>
                  <a:lnTo>
                    <a:pt x="1527" y="947"/>
                  </a:lnTo>
                  <a:lnTo>
                    <a:pt x="1521" y="986"/>
                  </a:lnTo>
                  <a:close/>
                  <a:moveTo>
                    <a:pt x="1459" y="1454"/>
                  </a:moveTo>
                  <a:lnTo>
                    <a:pt x="1459" y="1454"/>
                  </a:lnTo>
                  <a:lnTo>
                    <a:pt x="1430" y="1481"/>
                  </a:lnTo>
                  <a:lnTo>
                    <a:pt x="1400" y="1509"/>
                  </a:lnTo>
                  <a:lnTo>
                    <a:pt x="1368" y="1533"/>
                  </a:lnTo>
                  <a:lnTo>
                    <a:pt x="1335" y="1556"/>
                  </a:lnTo>
                  <a:lnTo>
                    <a:pt x="1300" y="1578"/>
                  </a:lnTo>
                  <a:lnTo>
                    <a:pt x="1266" y="1598"/>
                  </a:lnTo>
                  <a:lnTo>
                    <a:pt x="1230" y="1616"/>
                  </a:lnTo>
                  <a:lnTo>
                    <a:pt x="1192" y="1634"/>
                  </a:lnTo>
                  <a:lnTo>
                    <a:pt x="1155" y="1648"/>
                  </a:lnTo>
                  <a:lnTo>
                    <a:pt x="1116" y="1661"/>
                  </a:lnTo>
                  <a:lnTo>
                    <a:pt x="1076" y="1672"/>
                  </a:lnTo>
                  <a:lnTo>
                    <a:pt x="1035" y="1681"/>
                  </a:lnTo>
                  <a:lnTo>
                    <a:pt x="995" y="1690"/>
                  </a:lnTo>
                  <a:lnTo>
                    <a:pt x="952" y="1694"/>
                  </a:lnTo>
                  <a:lnTo>
                    <a:pt x="910" y="1698"/>
                  </a:lnTo>
                  <a:lnTo>
                    <a:pt x="867" y="1698"/>
                  </a:lnTo>
                  <a:lnTo>
                    <a:pt x="824" y="1698"/>
                  </a:lnTo>
                  <a:lnTo>
                    <a:pt x="782" y="1694"/>
                  </a:lnTo>
                  <a:lnTo>
                    <a:pt x="739" y="1690"/>
                  </a:lnTo>
                  <a:lnTo>
                    <a:pt x="699" y="1681"/>
                  </a:lnTo>
                  <a:lnTo>
                    <a:pt x="658" y="1672"/>
                  </a:lnTo>
                  <a:lnTo>
                    <a:pt x="618" y="1661"/>
                  </a:lnTo>
                  <a:lnTo>
                    <a:pt x="579" y="1648"/>
                  </a:lnTo>
                  <a:lnTo>
                    <a:pt x="542" y="1634"/>
                  </a:lnTo>
                  <a:lnTo>
                    <a:pt x="504" y="1616"/>
                  </a:lnTo>
                  <a:lnTo>
                    <a:pt x="468" y="1598"/>
                  </a:lnTo>
                  <a:lnTo>
                    <a:pt x="434" y="1578"/>
                  </a:lnTo>
                  <a:lnTo>
                    <a:pt x="399" y="1556"/>
                  </a:lnTo>
                  <a:lnTo>
                    <a:pt x="366" y="1533"/>
                  </a:lnTo>
                  <a:lnTo>
                    <a:pt x="334" y="1509"/>
                  </a:lnTo>
                  <a:lnTo>
                    <a:pt x="304" y="1481"/>
                  </a:lnTo>
                  <a:lnTo>
                    <a:pt x="275" y="1454"/>
                  </a:lnTo>
                  <a:lnTo>
                    <a:pt x="248" y="1425"/>
                  </a:lnTo>
                  <a:lnTo>
                    <a:pt x="220" y="1395"/>
                  </a:lnTo>
                  <a:lnTo>
                    <a:pt x="196" y="1364"/>
                  </a:lnTo>
                  <a:lnTo>
                    <a:pt x="173" y="1331"/>
                  </a:lnTo>
                  <a:lnTo>
                    <a:pt x="151" y="1296"/>
                  </a:lnTo>
                  <a:lnTo>
                    <a:pt x="131" y="1262"/>
                  </a:lnTo>
                  <a:lnTo>
                    <a:pt x="112" y="1226"/>
                  </a:lnTo>
                  <a:lnTo>
                    <a:pt x="95" y="1189"/>
                  </a:lnTo>
                  <a:lnTo>
                    <a:pt x="81" y="1151"/>
                  </a:lnTo>
                  <a:lnTo>
                    <a:pt x="68" y="1112"/>
                  </a:lnTo>
                  <a:lnTo>
                    <a:pt x="56" y="1072"/>
                  </a:lnTo>
                  <a:lnTo>
                    <a:pt x="46" y="1032"/>
                  </a:lnTo>
                  <a:lnTo>
                    <a:pt x="39" y="990"/>
                  </a:lnTo>
                  <a:lnTo>
                    <a:pt x="35" y="949"/>
                  </a:lnTo>
                  <a:lnTo>
                    <a:pt x="30" y="907"/>
                  </a:lnTo>
                  <a:lnTo>
                    <a:pt x="30" y="864"/>
                  </a:lnTo>
                  <a:lnTo>
                    <a:pt x="30" y="821"/>
                  </a:lnTo>
                  <a:lnTo>
                    <a:pt x="35" y="779"/>
                  </a:lnTo>
                  <a:lnTo>
                    <a:pt x="39" y="736"/>
                  </a:lnTo>
                  <a:lnTo>
                    <a:pt x="46" y="696"/>
                  </a:lnTo>
                  <a:lnTo>
                    <a:pt x="56" y="656"/>
                  </a:lnTo>
                  <a:lnTo>
                    <a:pt x="68" y="616"/>
                  </a:lnTo>
                  <a:lnTo>
                    <a:pt x="81" y="577"/>
                  </a:lnTo>
                  <a:lnTo>
                    <a:pt x="95" y="539"/>
                  </a:lnTo>
                  <a:lnTo>
                    <a:pt x="112" y="502"/>
                  </a:lnTo>
                  <a:lnTo>
                    <a:pt x="131" y="466"/>
                  </a:lnTo>
                  <a:lnTo>
                    <a:pt x="151" y="432"/>
                  </a:lnTo>
                  <a:lnTo>
                    <a:pt x="173" y="397"/>
                  </a:lnTo>
                  <a:lnTo>
                    <a:pt x="196" y="364"/>
                  </a:lnTo>
                  <a:lnTo>
                    <a:pt x="220" y="333"/>
                  </a:lnTo>
                  <a:lnTo>
                    <a:pt x="248" y="303"/>
                  </a:lnTo>
                  <a:lnTo>
                    <a:pt x="275" y="274"/>
                  </a:lnTo>
                  <a:lnTo>
                    <a:pt x="304" y="247"/>
                  </a:lnTo>
                  <a:lnTo>
                    <a:pt x="334" y="219"/>
                  </a:lnTo>
                  <a:lnTo>
                    <a:pt x="366" y="195"/>
                  </a:lnTo>
                  <a:lnTo>
                    <a:pt x="399" y="172"/>
                  </a:lnTo>
                  <a:lnTo>
                    <a:pt x="434" y="150"/>
                  </a:lnTo>
                  <a:lnTo>
                    <a:pt x="468" y="130"/>
                  </a:lnTo>
                  <a:lnTo>
                    <a:pt x="504" y="112"/>
                  </a:lnTo>
                  <a:lnTo>
                    <a:pt x="542" y="94"/>
                  </a:lnTo>
                  <a:lnTo>
                    <a:pt x="579" y="80"/>
                  </a:lnTo>
                  <a:lnTo>
                    <a:pt x="618" y="67"/>
                  </a:lnTo>
                  <a:lnTo>
                    <a:pt x="658" y="56"/>
                  </a:lnTo>
                  <a:lnTo>
                    <a:pt x="699" y="45"/>
                  </a:lnTo>
                  <a:lnTo>
                    <a:pt x="739" y="38"/>
                  </a:lnTo>
                  <a:lnTo>
                    <a:pt x="782" y="34"/>
                  </a:lnTo>
                  <a:lnTo>
                    <a:pt x="824" y="30"/>
                  </a:lnTo>
                  <a:lnTo>
                    <a:pt x="867" y="30"/>
                  </a:lnTo>
                  <a:lnTo>
                    <a:pt x="910" y="30"/>
                  </a:lnTo>
                  <a:lnTo>
                    <a:pt x="952" y="34"/>
                  </a:lnTo>
                  <a:lnTo>
                    <a:pt x="995" y="38"/>
                  </a:lnTo>
                  <a:lnTo>
                    <a:pt x="1035" y="45"/>
                  </a:lnTo>
                  <a:lnTo>
                    <a:pt x="1076" y="56"/>
                  </a:lnTo>
                  <a:lnTo>
                    <a:pt x="1116" y="67"/>
                  </a:lnTo>
                  <a:lnTo>
                    <a:pt x="1155" y="80"/>
                  </a:lnTo>
                  <a:lnTo>
                    <a:pt x="1192" y="94"/>
                  </a:lnTo>
                  <a:lnTo>
                    <a:pt x="1230" y="112"/>
                  </a:lnTo>
                  <a:lnTo>
                    <a:pt x="1266" y="130"/>
                  </a:lnTo>
                  <a:lnTo>
                    <a:pt x="1300" y="150"/>
                  </a:lnTo>
                  <a:lnTo>
                    <a:pt x="1335" y="172"/>
                  </a:lnTo>
                  <a:lnTo>
                    <a:pt x="1368" y="195"/>
                  </a:lnTo>
                  <a:lnTo>
                    <a:pt x="1400" y="219"/>
                  </a:lnTo>
                  <a:lnTo>
                    <a:pt x="1430" y="247"/>
                  </a:lnTo>
                  <a:lnTo>
                    <a:pt x="1459" y="274"/>
                  </a:lnTo>
                  <a:lnTo>
                    <a:pt x="1486" y="303"/>
                  </a:lnTo>
                  <a:lnTo>
                    <a:pt x="1514" y="333"/>
                  </a:lnTo>
                  <a:lnTo>
                    <a:pt x="1538" y="364"/>
                  </a:lnTo>
                  <a:lnTo>
                    <a:pt x="1561" y="397"/>
                  </a:lnTo>
                  <a:lnTo>
                    <a:pt x="1583" y="432"/>
                  </a:lnTo>
                  <a:lnTo>
                    <a:pt x="1603" y="466"/>
                  </a:lnTo>
                  <a:lnTo>
                    <a:pt x="1622" y="502"/>
                  </a:lnTo>
                  <a:lnTo>
                    <a:pt x="1639" y="539"/>
                  </a:lnTo>
                  <a:lnTo>
                    <a:pt x="1653" y="577"/>
                  </a:lnTo>
                  <a:lnTo>
                    <a:pt x="1666" y="616"/>
                  </a:lnTo>
                  <a:lnTo>
                    <a:pt x="1678" y="656"/>
                  </a:lnTo>
                  <a:lnTo>
                    <a:pt x="1686" y="696"/>
                  </a:lnTo>
                  <a:lnTo>
                    <a:pt x="1695" y="736"/>
                  </a:lnTo>
                  <a:lnTo>
                    <a:pt x="1699" y="779"/>
                  </a:lnTo>
                  <a:lnTo>
                    <a:pt x="1704" y="821"/>
                  </a:lnTo>
                  <a:lnTo>
                    <a:pt x="1704" y="864"/>
                  </a:lnTo>
                  <a:lnTo>
                    <a:pt x="1704" y="907"/>
                  </a:lnTo>
                  <a:lnTo>
                    <a:pt x="1699" y="949"/>
                  </a:lnTo>
                  <a:lnTo>
                    <a:pt x="1695" y="990"/>
                  </a:lnTo>
                  <a:lnTo>
                    <a:pt x="1686" y="1032"/>
                  </a:lnTo>
                  <a:lnTo>
                    <a:pt x="1678" y="1072"/>
                  </a:lnTo>
                  <a:lnTo>
                    <a:pt x="1666" y="1112"/>
                  </a:lnTo>
                  <a:lnTo>
                    <a:pt x="1653" y="1151"/>
                  </a:lnTo>
                  <a:lnTo>
                    <a:pt x="1639" y="1189"/>
                  </a:lnTo>
                  <a:lnTo>
                    <a:pt x="1622" y="1226"/>
                  </a:lnTo>
                  <a:lnTo>
                    <a:pt x="1603" y="1262"/>
                  </a:lnTo>
                  <a:lnTo>
                    <a:pt x="1583" y="1296"/>
                  </a:lnTo>
                  <a:lnTo>
                    <a:pt x="1561" y="1331"/>
                  </a:lnTo>
                  <a:lnTo>
                    <a:pt x="1538" y="1364"/>
                  </a:lnTo>
                  <a:lnTo>
                    <a:pt x="1514" y="1395"/>
                  </a:lnTo>
                  <a:lnTo>
                    <a:pt x="1486" y="1425"/>
                  </a:lnTo>
                  <a:lnTo>
                    <a:pt x="1459" y="1454"/>
                  </a:lnTo>
                  <a:close/>
                  <a:moveTo>
                    <a:pt x="867" y="0"/>
                  </a:moveTo>
                  <a:lnTo>
                    <a:pt x="867" y="0"/>
                  </a:lnTo>
                  <a:lnTo>
                    <a:pt x="822" y="1"/>
                  </a:lnTo>
                  <a:lnTo>
                    <a:pt x="778" y="4"/>
                  </a:lnTo>
                  <a:lnTo>
                    <a:pt x="735" y="10"/>
                  </a:lnTo>
                  <a:lnTo>
                    <a:pt x="693" y="17"/>
                  </a:lnTo>
                  <a:lnTo>
                    <a:pt x="651" y="27"/>
                  </a:lnTo>
                  <a:lnTo>
                    <a:pt x="609" y="38"/>
                  </a:lnTo>
                  <a:lnTo>
                    <a:pt x="569" y="51"/>
                  </a:lnTo>
                  <a:lnTo>
                    <a:pt x="530" y="67"/>
                  </a:lnTo>
                  <a:lnTo>
                    <a:pt x="491" y="84"/>
                  </a:lnTo>
                  <a:lnTo>
                    <a:pt x="454" y="104"/>
                  </a:lnTo>
                  <a:lnTo>
                    <a:pt x="418" y="124"/>
                  </a:lnTo>
                  <a:lnTo>
                    <a:pt x="382" y="147"/>
                  </a:lnTo>
                  <a:lnTo>
                    <a:pt x="349" y="172"/>
                  </a:lnTo>
                  <a:lnTo>
                    <a:pt x="315" y="196"/>
                  </a:lnTo>
                  <a:lnTo>
                    <a:pt x="284" y="224"/>
                  </a:lnTo>
                  <a:lnTo>
                    <a:pt x="254" y="252"/>
                  </a:lnTo>
                  <a:lnTo>
                    <a:pt x="225" y="282"/>
                  </a:lnTo>
                  <a:lnTo>
                    <a:pt x="197" y="314"/>
                  </a:lnTo>
                  <a:lnTo>
                    <a:pt x="173" y="347"/>
                  </a:lnTo>
                  <a:lnTo>
                    <a:pt x="148" y="380"/>
                  </a:lnTo>
                  <a:lnTo>
                    <a:pt x="125" y="416"/>
                  </a:lnTo>
                  <a:lnTo>
                    <a:pt x="105" y="452"/>
                  </a:lnTo>
                  <a:lnTo>
                    <a:pt x="85" y="489"/>
                  </a:lnTo>
                  <a:lnTo>
                    <a:pt x="68" y="528"/>
                  </a:lnTo>
                  <a:lnTo>
                    <a:pt x="52" y="567"/>
                  </a:lnTo>
                  <a:lnTo>
                    <a:pt x="39" y="607"/>
                  </a:lnTo>
                  <a:lnTo>
                    <a:pt x="27" y="647"/>
                  </a:lnTo>
                  <a:lnTo>
                    <a:pt x="17" y="690"/>
                  </a:lnTo>
                  <a:lnTo>
                    <a:pt x="10" y="732"/>
                  </a:lnTo>
                  <a:lnTo>
                    <a:pt x="4" y="775"/>
                  </a:lnTo>
                  <a:lnTo>
                    <a:pt x="2" y="819"/>
                  </a:lnTo>
                  <a:lnTo>
                    <a:pt x="0" y="864"/>
                  </a:lnTo>
                  <a:lnTo>
                    <a:pt x="2" y="909"/>
                  </a:lnTo>
                  <a:lnTo>
                    <a:pt x="4" y="953"/>
                  </a:lnTo>
                  <a:lnTo>
                    <a:pt x="10" y="996"/>
                  </a:lnTo>
                  <a:lnTo>
                    <a:pt x="17" y="1038"/>
                  </a:lnTo>
                  <a:lnTo>
                    <a:pt x="27" y="1079"/>
                  </a:lnTo>
                  <a:lnTo>
                    <a:pt x="39" y="1121"/>
                  </a:lnTo>
                  <a:lnTo>
                    <a:pt x="52" y="1161"/>
                  </a:lnTo>
                  <a:lnTo>
                    <a:pt x="68" y="1200"/>
                  </a:lnTo>
                  <a:lnTo>
                    <a:pt x="85" y="1239"/>
                  </a:lnTo>
                  <a:lnTo>
                    <a:pt x="105" y="1276"/>
                  </a:lnTo>
                  <a:lnTo>
                    <a:pt x="125" y="1312"/>
                  </a:lnTo>
                  <a:lnTo>
                    <a:pt x="148" y="1348"/>
                  </a:lnTo>
                  <a:lnTo>
                    <a:pt x="173" y="1381"/>
                  </a:lnTo>
                  <a:lnTo>
                    <a:pt x="197" y="1414"/>
                  </a:lnTo>
                  <a:lnTo>
                    <a:pt x="225" y="1446"/>
                  </a:lnTo>
                  <a:lnTo>
                    <a:pt x="254" y="1476"/>
                  </a:lnTo>
                  <a:lnTo>
                    <a:pt x="284" y="1504"/>
                  </a:lnTo>
                  <a:lnTo>
                    <a:pt x="315" y="1532"/>
                  </a:lnTo>
                  <a:lnTo>
                    <a:pt x="349" y="1556"/>
                  </a:lnTo>
                  <a:lnTo>
                    <a:pt x="382" y="1581"/>
                  </a:lnTo>
                  <a:lnTo>
                    <a:pt x="418" y="1604"/>
                  </a:lnTo>
                  <a:lnTo>
                    <a:pt x="454" y="1624"/>
                  </a:lnTo>
                  <a:lnTo>
                    <a:pt x="491" y="1644"/>
                  </a:lnTo>
                  <a:lnTo>
                    <a:pt x="530" y="1661"/>
                  </a:lnTo>
                  <a:lnTo>
                    <a:pt x="569" y="1675"/>
                  </a:lnTo>
                  <a:lnTo>
                    <a:pt x="609" y="1690"/>
                  </a:lnTo>
                  <a:lnTo>
                    <a:pt x="651" y="1701"/>
                  </a:lnTo>
                  <a:lnTo>
                    <a:pt x="693" y="1711"/>
                  </a:lnTo>
                  <a:lnTo>
                    <a:pt x="735" y="1718"/>
                  </a:lnTo>
                  <a:lnTo>
                    <a:pt x="778" y="1724"/>
                  </a:lnTo>
                  <a:lnTo>
                    <a:pt x="822" y="1727"/>
                  </a:lnTo>
                  <a:lnTo>
                    <a:pt x="867" y="1728"/>
                  </a:lnTo>
                  <a:lnTo>
                    <a:pt x="912" y="1727"/>
                  </a:lnTo>
                  <a:lnTo>
                    <a:pt x="956" y="1724"/>
                  </a:lnTo>
                  <a:lnTo>
                    <a:pt x="999" y="1718"/>
                  </a:lnTo>
                  <a:lnTo>
                    <a:pt x="1041" y="1711"/>
                  </a:lnTo>
                  <a:lnTo>
                    <a:pt x="1083" y="1701"/>
                  </a:lnTo>
                  <a:lnTo>
                    <a:pt x="1125" y="1690"/>
                  </a:lnTo>
                  <a:lnTo>
                    <a:pt x="1165" y="1675"/>
                  </a:lnTo>
                  <a:lnTo>
                    <a:pt x="1204" y="1661"/>
                  </a:lnTo>
                  <a:lnTo>
                    <a:pt x="1243" y="1644"/>
                  </a:lnTo>
                  <a:lnTo>
                    <a:pt x="1280" y="1624"/>
                  </a:lnTo>
                  <a:lnTo>
                    <a:pt x="1316" y="1604"/>
                  </a:lnTo>
                  <a:lnTo>
                    <a:pt x="1352" y="1581"/>
                  </a:lnTo>
                  <a:lnTo>
                    <a:pt x="1385" y="1556"/>
                  </a:lnTo>
                  <a:lnTo>
                    <a:pt x="1419" y="1532"/>
                  </a:lnTo>
                  <a:lnTo>
                    <a:pt x="1450" y="1504"/>
                  </a:lnTo>
                  <a:lnTo>
                    <a:pt x="1480" y="1476"/>
                  </a:lnTo>
                  <a:lnTo>
                    <a:pt x="1509" y="1446"/>
                  </a:lnTo>
                  <a:lnTo>
                    <a:pt x="1537" y="1414"/>
                  </a:lnTo>
                  <a:lnTo>
                    <a:pt x="1561" y="1381"/>
                  </a:lnTo>
                  <a:lnTo>
                    <a:pt x="1586" y="1348"/>
                  </a:lnTo>
                  <a:lnTo>
                    <a:pt x="1609" y="1312"/>
                  </a:lnTo>
                  <a:lnTo>
                    <a:pt x="1629" y="1276"/>
                  </a:lnTo>
                  <a:lnTo>
                    <a:pt x="1649" y="1239"/>
                  </a:lnTo>
                  <a:lnTo>
                    <a:pt x="1666" y="1200"/>
                  </a:lnTo>
                  <a:lnTo>
                    <a:pt x="1681" y="1161"/>
                  </a:lnTo>
                  <a:lnTo>
                    <a:pt x="1695" y="1121"/>
                  </a:lnTo>
                  <a:lnTo>
                    <a:pt x="1707" y="1079"/>
                  </a:lnTo>
                  <a:lnTo>
                    <a:pt x="1717" y="1038"/>
                  </a:lnTo>
                  <a:lnTo>
                    <a:pt x="1724" y="996"/>
                  </a:lnTo>
                  <a:lnTo>
                    <a:pt x="1730" y="953"/>
                  </a:lnTo>
                  <a:lnTo>
                    <a:pt x="1732" y="909"/>
                  </a:lnTo>
                  <a:lnTo>
                    <a:pt x="1734" y="864"/>
                  </a:lnTo>
                  <a:lnTo>
                    <a:pt x="1732" y="819"/>
                  </a:lnTo>
                  <a:lnTo>
                    <a:pt x="1730" y="775"/>
                  </a:lnTo>
                  <a:lnTo>
                    <a:pt x="1724" y="732"/>
                  </a:lnTo>
                  <a:lnTo>
                    <a:pt x="1717" y="690"/>
                  </a:lnTo>
                  <a:lnTo>
                    <a:pt x="1707" y="647"/>
                  </a:lnTo>
                  <a:lnTo>
                    <a:pt x="1695" y="607"/>
                  </a:lnTo>
                  <a:lnTo>
                    <a:pt x="1681" y="567"/>
                  </a:lnTo>
                  <a:lnTo>
                    <a:pt x="1666" y="528"/>
                  </a:lnTo>
                  <a:lnTo>
                    <a:pt x="1649" y="489"/>
                  </a:lnTo>
                  <a:lnTo>
                    <a:pt x="1629" y="452"/>
                  </a:lnTo>
                  <a:lnTo>
                    <a:pt x="1609" y="416"/>
                  </a:lnTo>
                  <a:lnTo>
                    <a:pt x="1586" y="380"/>
                  </a:lnTo>
                  <a:lnTo>
                    <a:pt x="1561" y="347"/>
                  </a:lnTo>
                  <a:lnTo>
                    <a:pt x="1537" y="314"/>
                  </a:lnTo>
                  <a:lnTo>
                    <a:pt x="1509" y="282"/>
                  </a:lnTo>
                  <a:lnTo>
                    <a:pt x="1480" y="252"/>
                  </a:lnTo>
                  <a:lnTo>
                    <a:pt x="1450" y="224"/>
                  </a:lnTo>
                  <a:lnTo>
                    <a:pt x="1419" y="196"/>
                  </a:lnTo>
                  <a:lnTo>
                    <a:pt x="1385" y="172"/>
                  </a:lnTo>
                  <a:lnTo>
                    <a:pt x="1352" y="147"/>
                  </a:lnTo>
                  <a:lnTo>
                    <a:pt x="1316" y="124"/>
                  </a:lnTo>
                  <a:lnTo>
                    <a:pt x="1280" y="104"/>
                  </a:lnTo>
                  <a:lnTo>
                    <a:pt x="1243" y="84"/>
                  </a:lnTo>
                  <a:lnTo>
                    <a:pt x="1204" y="67"/>
                  </a:lnTo>
                  <a:lnTo>
                    <a:pt x="1165" y="51"/>
                  </a:lnTo>
                  <a:lnTo>
                    <a:pt x="1125" y="38"/>
                  </a:lnTo>
                  <a:lnTo>
                    <a:pt x="1083" y="27"/>
                  </a:lnTo>
                  <a:lnTo>
                    <a:pt x="1041" y="17"/>
                  </a:lnTo>
                  <a:lnTo>
                    <a:pt x="999" y="10"/>
                  </a:lnTo>
                  <a:lnTo>
                    <a:pt x="956" y="4"/>
                  </a:lnTo>
                  <a:lnTo>
                    <a:pt x="912" y="1"/>
                  </a:lnTo>
                  <a:lnTo>
                    <a:pt x="867" y="0"/>
                  </a:lnTo>
                  <a:close/>
                  <a:moveTo>
                    <a:pt x="1594" y="1137"/>
                  </a:moveTo>
                  <a:lnTo>
                    <a:pt x="1594" y="1137"/>
                  </a:lnTo>
                  <a:lnTo>
                    <a:pt x="1488" y="1097"/>
                  </a:lnTo>
                  <a:lnTo>
                    <a:pt x="1473" y="1134"/>
                  </a:lnTo>
                  <a:lnTo>
                    <a:pt x="1604" y="1184"/>
                  </a:lnTo>
                  <a:lnTo>
                    <a:pt x="1640" y="1091"/>
                  </a:lnTo>
                  <a:lnTo>
                    <a:pt x="1614" y="1082"/>
                  </a:lnTo>
                  <a:lnTo>
                    <a:pt x="1594" y="1137"/>
                  </a:lnTo>
                  <a:close/>
                  <a:moveTo>
                    <a:pt x="1306" y="1364"/>
                  </a:moveTo>
                  <a:lnTo>
                    <a:pt x="1306" y="1364"/>
                  </a:lnTo>
                  <a:lnTo>
                    <a:pt x="1275" y="1387"/>
                  </a:lnTo>
                  <a:lnTo>
                    <a:pt x="1282" y="1398"/>
                  </a:lnTo>
                  <a:lnTo>
                    <a:pt x="1299" y="1423"/>
                  </a:lnTo>
                  <a:lnTo>
                    <a:pt x="1318" y="1448"/>
                  </a:lnTo>
                  <a:lnTo>
                    <a:pt x="1328" y="1461"/>
                  </a:lnTo>
                  <a:lnTo>
                    <a:pt x="1331" y="1466"/>
                  </a:lnTo>
                  <a:lnTo>
                    <a:pt x="1331" y="1470"/>
                  </a:lnTo>
                  <a:lnTo>
                    <a:pt x="1331" y="1474"/>
                  </a:lnTo>
                  <a:lnTo>
                    <a:pt x="1331" y="1480"/>
                  </a:lnTo>
                  <a:lnTo>
                    <a:pt x="1328" y="1484"/>
                  </a:lnTo>
                  <a:lnTo>
                    <a:pt x="1326" y="1487"/>
                  </a:lnTo>
                  <a:lnTo>
                    <a:pt x="1323" y="1492"/>
                  </a:lnTo>
                  <a:lnTo>
                    <a:pt x="1319" y="1494"/>
                  </a:lnTo>
                  <a:lnTo>
                    <a:pt x="1315" y="1497"/>
                  </a:lnTo>
                  <a:lnTo>
                    <a:pt x="1311" y="1499"/>
                  </a:lnTo>
                  <a:lnTo>
                    <a:pt x="1306" y="1500"/>
                  </a:lnTo>
                  <a:lnTo>
                    <a:pt x="1302" y="1500"/>
                  </a:lnTo>
                  <a:lnTo>
                    <a:pt x="1298" y="1499"/>
                  </a:lnTo>
                  <a:lnTo>
                    <a:pt x="1293" y="1497"/>
                  </a:lnTo>
                  <a:lnTo>
                    <a:pt x="1289" y="1496"/>
                  </a:lnTo>
                  <a:lnTo>
                    <a:pt x="1286" y="1492"/>
                  </a:lnTo>
                  <a:lnTo>
                    <a:pt x="1276" y="1479"/>
                  </a:lnTo>
                  <a:lnTo>
                    <a:pt x="1257" y="1453"/>
                  </a:lnTo>
                  <a:lnTo>
                    <a:pt x="1240" y="1428"/>
                  </a:lnTo>
                  <a:lnTo>
                    <a:pt x="1231" y="1417"/>
                  </a:lnTo>
                  <a:lnTo>
                    <a:pt x="1200" y="1440"/>
                  </a:lnTo>
                  <a:lnTo>
                    <a:pt x="1207" y="1451"/>
                  </a:lnTo>
                  <a:lnTo>
                    <a:pt x="1224" y="1476"/>
                  </a:lnTo>
                  <a:lnTo>
                    <a:pt x="1243" y="1502"/>
                  </a:lnTo>
                  <a:lnTo>
                    <a:pt x="1253" y="1516"/>
                  </a:lnTo>
                  <a:lnTo>
                    <a:pt x="1260" y="1523"/>
                  </a:lnTo>
                  <a:lnTo>
                    <a:pt x="1269" y="1530"/>
                  </a:lnTo>
                  <a:lnTo>
                    <a:pt x="1279" y="1533"/>
                  </a:lnTo>
                  <a:lnTo>
                    <a:pt x="1289" y="1535"/>
                  </a:lnTo>
                  <a:lnTo>
                    <a:pt x="1300" y="1533"/>
                  </a:lnTo>
                  <a:lnTo>
                    <a:pt x="1312" y="1530"/>
                  </a:lnTo>
                  <a:lnTo>
                    <a:pt x="1323" y="1525"/>
                  </a:lnTo>
                  <a:lnTo>
                    <a:pt x="1335" y="1517"/>
                  </a:lnTo>
                  <a:lnTo>
                    <a:pt x="1347" y="1509"/>
                  </a:lnTo>
                  <a:lnTo>
                    <a:pt x="1355" y="1499"/>
                  </a:lnTo>
                  <a:lnTo>
                    <a:pt x="1362" y="1489"/>
                  </a:lnTo>
                  <a:lnTo>
                    <a:pt x="1367" y="1479"/>
                  </a:lnTo>
                  <a:lnTo>
                    <a:pt x="1370" y="1469"/>
                  </a:lnTo>
                  <a:lnTo>
                    <a:pt x="1368" y="1459"/>
                  </a:lnTo>
                  <a:lnTo>
                    <a:pt x="1367" y="1448"/>
                  </a:lnTo>
                  <a:lnTo>
                    <a:pt x="1361" y="1438"/>
                  </a:lnTo>
                  <a:lnTo>
                    <a:pt x="1351" y="1424"/>
                  </a:lnTo>
                  <a:lnTo>
                    <a:pt x="1332" y="1398"/>
                  </a:lnTo>
                  <a:lnTo>
                    <a:pt x="1315" y="1374"/>
                  </a:lnTo>
                  <a:lnTo>
                    <a:pt x="1306" y="1364"/>
                  </a:lnTo>
                  <a:close/>
                  <a:moveTo>
                    <a:pt x="1488" y="1331"/>
                  </a:moveTo>
                  <a:lnTo>
                    <a:pt x="1488" y="1331"/>
                  </a:lnTo>
                  <a:lnTo>
                    <a:pt x="1480" y="1339"/>
                  </a:lnTo>
                  <a:lnTo>
                    <a:pt x="1479" y="1342"/>
                  </a:lnTo>
                  <a:lnTo>
                    <a:pt x="1456" y="1324"/>
                  </a:lnTo>
                  <a:lnTo>
                    <a:pt x="1457" y="1322"/>
                  </a:lnTo>
                  <a:lnTo>
                    <a:pt x="1465" y="1312"/>
                  </a:lnTo>
                  <a:lnTo>
                    <a:pt x="1472" y="1306"/>
                  </a:lnTo>
                  <a:lnTo>
                    <a:pt x="1478" y="1302"/>
                  </a:lnTo>
                  <a:lnTo>
                    <a:pt x="1480" y="1301"/>
                  </a:lnTo>
                  <a:lnTo>
                    <a:pt x="1485" y="1301"/>
                  </a:lnTo>
                  <a:lnTo>
                    <a:pt x="1488" y="1302"/>
                  </a:lnTo>
                  <a:lnTo>
                    <a:pt x="1491" y="1305"/>
                  </a:lnTo>
                  <a:lnTo>
                    <a:pt x="1493" y="1306"/>
                  </a:lnTo>
                  <a:lnTo>
                    <a:pt x="1495" y="1309"/>
                  </a:lnTo>
                  <a:lnTo>
                    <a:pt x="1495" y="1313"/>
                  </a:lnTo>
                  <a:lnTo>
                    <a:pt x="1495" y="1316"/>
                  </a:lnTo>
                  <a:lnTo>
                    <a:pt x="1492" y="1324"/>
                  </a:lnTo>
                  <a:lnTo>
                    <a:pt x="1488" y="1331"/>
                  </a:lnTo>
                  <a:close/>
                  <a:moveTo>
                    <a:pt x="1443" y="1295"/>
                  </a:moveTo>
                  <a:lnTo>
                    <a:pt x="1443" y="1295"/>
                  </a:lnTo>
                  <a:lnTo>
                    <a:pt x="1436" y="1303"/>
                  </a:lnTo>
                  <a:lnTo>
                    <a:pt x="1433" y="1305"/>
                  </a:lnTo>
                  <a:lnTo>
                    <a:pt x="1411" y="1286"/>
                  </a:lnTo>
                  <a:lnTo>
                    <a:pt x="1413" y="1285"/>
                  </a:lnTo>
                  <a:lnTo>
                    <a:pt x="1420" y="1276"/>
                  </a:lnTo>
                  <a:lnTo>
                    <a:pt x="1427" y="1269"/>
                  </a:lnTo>
                  <a:lnTo>
                    <a:pt x="1433" y="1265"/>
                  </a:lnTo>
                  <a:lnTo>
                    <a:pt x="1436" y="1265"/>
                  </a:lnTo>
                  <a:lnTo>
                    <a:pt x="1440" y="1265"/>
                  </a:lnTo>
                  <a:lnTo>
                    <a:pt x="1443" y="1265"/>
                  </a:lnTo>
                  <a:lnTo>
                    <a:pt x="1446" y="1268"/>
                  </a:lnTo>
                  <a:lnTo>
                    <a:pt x="1449" y="1270"/>
                  </a:lnTo>
                  <a:lnTo>
                    <a:pt x="1450" y="1273"/>
                  </a:lnTo>
                  <a:lnTo>
                    <a:pt x="1450" y="1276"/>
                  </a:lnTo>
                  <a:lnTo>
                    <a:pt x="1450" y="1279"/>
                  </a:lnTo>
                  <a:lnTo>
                    <a:pt x="1447" y="1286"/>
                  </a:lnTo>
                  <a:lnTo>
                    <a:pt x="1443" y="1295"/>
                  </a:lnTo>
                  <a:close/>
                  <a:moveTo>
                    <a:pt x="1522" y="1272"/>
                  </a:moveTo>
                  <a:lnTo>
                    <a:pt x="1522" y="1272"/>
                  </a:lnTo>
                  <a:lnTo>
                    <a:pt x="1515" y="1268"/>
                  </a:lnTo>
                  <a:lnTo>
                    <a:pt x="1509" y="1265"/>
                  </a:lnTo>
                  <a:lnTo>
                    <a:pt x="1503" y="1263"/>
                  </a:lnTo>
                  <a:lnTo>
                    <a:pt x="1498" y="1263"/>
                  </a:lnTo>
                  <a:lnTo>
                    <a:pt x="1486" y="1266"/>
                  </a:lnTo>
                  <a:lnTo>
                    <a:pt x="1475" y="1273"/>
                  </a:lnTo>
                  <a:lnTo>
                    <a:pt x="1478" y="1268"/>
                  </a:lnTo>
                  <a:lnTo>
                    <a:pt x="1479" y="1257"/>
                  </a:lnTo>
                  <a:lnTo>
                    <a:pt x="1479" y="1252"/>
                  </a:lnTo>
                  <a:lnTo>
                    <a:pt x="1478" y="1246"/>
                  </a:lnTo>
                  <a:lnTo>
                    <a:pt x="1473" y="1239"/>
                  </a:lnTo>
                  <a:lnTo>
                    <a:pt x="1467" y="1233"/>
                  </a:lnTo>
                  <a:lnTo>
                    <a:pt x="1462" y="1229"/>
                  </a:lnTo>
                  <a:lnTo>
                    <a:pt x="1457" y="1226"/>
                  </a:lnTo>
                  <a:lnTo>
                    <a:pt x="1452" y="1224"/>
                  </a:lnTo>
                  <a:lnTo>
                    <a:pt x="1447" y="1224"/>
                  </a:lnTo>
                  <a:lnTo>
                    <a:pt x="1437" y="1226"/>
                  </a:lnTo>
                  <a:lnTo>
                    <a:pt x="1429" y="1230"/>
                  </a:lnTo>
                  <a:lnTo>
                    <a:pt x="1420" y="1236"/>
                  </a:lnTo>
                  <a:lnTo>
                    <a:pt x="1413" y="1243"/>
                  </a:lnTo>
                  <a:lnTo>
                    <a:pt x="1406" y="1252"/>
                  </a:lnTo>
                  <a:lnTo>
                    <a:pt x="1400" y="1259"/>
                  </a:lnTo>
                  <a:lnTo>
                    <a:pt x="1380" y="1283"/>
                  </a:lnTo>
                  <a:lnTo>
                    <a:pt x="1365" y="1301"/>
                  </a:lnTo>
                  <a:lnTo>
                    <a:pt x="1473" y="1390"/>
                  </a:lnTo>
                  <a:lnTo>
                    <a:pt x="1488" y="1372"/>
                  </a:lnTo>
                  <a:lnTo>
                    <a:pt x="1508" y="1348"/>
                  </a:lnTo>
                  <a:lnTo>
                    <a:pt x="1521" y="1331"/>
                  </a:lnTo>
                  <a:lnTo>
                    <a:pt x="1528" y="1316"/>
                  </a:lnTo>
                  <a:lnTo>
                    <a:pt x="1532" y="1305"/>
                  </a:lnTo>
                  <a:lnTo>
                    <a:pt x="1534" y="1295"/>
                  </a:lnTo>
                  <a:lnTo>
                    <a:pt x="1532" y="1286"/>
                  </a:lnTo>
                  <a:lnTo>
                    <a:pt x="1529" y="1280"/>
                  </a:lnTo>
                  <a:lnTo>
                    <a:pt x="1527" y="1276"/>
                  </a:lnTo>
                  <a:lnTo>
                    <a:pt x="1522" y="1272"/>
                  </a:lnTo>
                  <a:close/>
                  <a:moveTo>
                    <a:pt x="1097" y="1549"/>
                  </a:moveTo>
                  <a:lnTo>
                    <a:pt x="1097" y="1549"/>
                  </a:lnTo>
                  <a:lnTo>
                    <a:pt x="1086" y="1552"/>
                  </a:lnTo>
                  <a:lnTo>
                    <a:pt x="1083" y="1553"/>
                  </a:lnTo>
                  <a:lnTo>
                    <a:pt x="1074" y="1519"/>
                  </a:lnTo>
                  <a:lnTo>
                    <a:pt x="1076" y="1519"/>
                  </a:lnTo>
                  <a:lnTo>
                    <a:pt x="1087" y="1516"/>
                  </a:lnTo>
                  <a:lnTo>
                    <a:pt x="1096" y="1515"/>
                  </a:lnTo>
                  <a:lnTo>
                    <a:pt x="1105" y="1515"/>
                  </a:lnTo>
                  <a:lnTo>
                    <a:pt x="1107" y="1516"/>
                  </a:lnTo>
                  <a:lnTo>
                    <a:pt x="1110" y="1519"/>
                  </a:lnTo>
                  <a:lnTo>
                    <a:pt x="1112" y="1522"/>
                  </a:lnTo>
                  <a:lnTo>
                    <a:pt x="1115" y="1526"/>
                  </a:lnTo>
                  <a:lnTo>
                    <a:pt x="1115" y="1530"/>
                  </a:lnTo>
                  <a:lnTo>
                    <a:pt x="1115" y="1535"/>
                  </a:lnTo>
                  <a:lnTo>
                    <a:pt x="1113" y="1537"/>
                  </a:lnTo>
                  <a:lnTo>
                    <a:pt x="1112" y="1540"/>
                  </a:lnTo>
                  <a:lnTo>
                    <a:pt x="1106" y="1546"/>
                  </a:lnTo>
                  <a:lnTo>
                    <a:pt x="1097" y="1549"/>
                  </a:lnTo>
                  <a:close/>
                  <a:moveTo>
                    <a:pt x="1080" y="1490"/>
                  </a:moveTo>
                  <a:lnTo>
                    <a:pt x="1080" y="1490"/>
                  </a:lnTo>
                  <a:lnTo>
                    <a:pt x="1066" y="1494"/>
                  </a:lnTo>
                  <a:lnTo>
                    <a:pt x="1048" y="1499"/>
                  </a:lnTo>
                  <a:lnTo>
                    <a:pt x="1034" y="1503"/>
                  </a:lnTo>
                  <a:lnTo>
                    <a:pt x="1028" y="1504"/>
                  </a:lnTo>
                  <a:lnTo>
                    <a:pt x="1067" y="1639"/>
                  </a:lnTo>
                  <a:lnTo>
                    <a:pt x="1106" y="1628"/>
                  </a:lnTo>
                  <a:lnTo>
                    <a:pt x="1092" y="1579"/>
                  </a:lnTo>
                  <a:lnTo>
                    <a:pt x="1093" y="1578"/>
                  </a:lnTo>
                  <a:lnTo>
                    <a:pt x="1105" y="1575"/>
                  </a:lnTo>
                  <a:lnTo>
                    <a:pt x="1113" y="1572"/>
                  </a:lnTo>
                  <a:lnTo>
                    <a:pt x="1123" y="1569"/>
                  </a:lnTo>
                  <a:lnTo>
                    <a:pt x="1133" y="1565"/>
                  </a:lnTo>
                  <a:lnTo>
                    <a:pt x="1141" y="1559"/>
                  </a:lnTo>
                  <a:lnTo>
                    <a:pt x="1145" y="1555"/>
                  </a:lnTo>
                  <a:lnTo>
                    <a:pt x="1148" y="1550"/>
                  </a:lnTo>
                  <a:lnTo>
                    <a:pt x="1151" y="1546"/>
                  </a:lnTo>
                  <a:lnTo>
                    <a:pt x="1152" y="1542"/>
                  </a:lnTo>
                  <a:lnTo>
                    <a:pt x="1154" y="1536"/>
                  </a:lnTo>
                  <a:lnTo>
                    <a:pt x="1154" y="1530"/>
                  </a:lnTo>
                  <a:lnTo>
                    <a:pt x="1152" y="1523"/>
                  </a:lnTo>
                  <a:lnTo>
                    <a:pt x="1151" y="1516"/>
                  </a:lnTo>
                  <a:lnTo>
                    <a:pt x="1148" y="1507"/>
                  </a:lnTo>
                  <a:lnTo>
                    <a:pt x="1145" y="1502"/>
                  </a:lnTo>
                  <a:lnTo>
                    <a:pt x="1142" y="1497"/>
                  </a:lnTo>
                  <a:lnTo>
                    <a:pt x="1138" y="1493"/>
                  </a:lnTo>
                  <a:lnTo>
                    <a:pt x="1133" y="1489"/>
                  </a:lnTo>
                  <a:lnTo>
                    <a:pt x="1129" y="1487"/>
                  </a:lnTo>
                  <a:lnTo>
                    <a:pt x="1125" y="1486"/>
                  </a:lnTo>
                  <a:lnTo>
                    <a:pt x="1119" y="1484"/>
                  </a:lnTo>
                  <a:lnTo>
                    <a:pt x="1109" y="1484"/>
                  </a:lnTo>
                  <a:lnTo>
                    <a:pt x="1099" y="1484"/>
                  </a:lnTo>
                  <a:lnTo>
                    <a:pt x="1089" y="1487"/>
                  </a:lnTo>
                  <a:lnTo>
                    <a:pt x="1080" y="1490"/>
                  </a:lnTo>
                  <a:close/>
                  <a:moveTo>
                    <a:pt x="873" y="1638"/>
                  </a:moveTo>
                  <a:lnTo>
                    <a:pt x="873" y="1638"/>
                  </a:lnTo>
                  <a:lnTo>
                    <a:pt x="873" y="1608"/>
                  </a:lnTo>
                  <a:lnTo>
                    <a:pt x="932" y="1608"/>
                  </a:lnTo>
                  <a:lnTo>
                    <a:pt x="932" y="1581"/>
                  </a:lnTo>
                  <a:lnTo>
                    <a:pt x="873" y="1581"/>
                  </a:lnTo>
                  <a:lnTo>
                    <a:pt x="873" y="1552"/>
                  </a:lnTo>
                  <a:lnTo>
                    <a:pt x="930" y="1550"/>
                  </a:lnTo>
                  <a:lnTo>
                    <a:pt x="930" y="1525"/>
                  </a:lnTo>
                  <a:lnTo>
                    <a:pt x="832" y="1525"/>
                  </a:lnTo>
                  <a:lnTo>
                    <a:pt x="832" y="1664"/>
                  </a:lnTo>
                  <a:lnTo>
                    <a:pt x="932" y="1664"/>
                  </a:lnTo>
                  <a:lnTo>
                    <a:pt x="932" y="1637"/>
                  </a:lnTo>
                  <a:lnTo>
                    <a:pt x="873" y="1638"/>
                  </a:lnTo>
                  <a:close/>
                  <a:moveTo>
                    <a:pt x="1531" y="595"/>
                  </a:moveTo>
                  <a:lnTo>
                    <a:pt x="1531" y="595"/>
                  </a:lnTo>
                  <a:lnTo>
                    <a:pt x="1492" y="644"/>
                  </a:lnTo>
                  <a:lnTo>
                    <a:pt x="1508" y="682"/>
                  </a:lnTo>
                  <a:lnTo>
                    <a:pt x="1573" y="601"/>
                  </a:lnTo>
                  <a:lnTo>
                    <a:pt x="1617" y="581"/>
                  </a:lnTo>
                  <a:lnTo>
                    <a:pt x="1601" y="545"/>
                  </a:lnTo>
                  <a:lnTo>
                    <a:pt x="1557" y="564"/>
                  </a:lnTo>
                  <a:lnTo>
                    <a:pt x="1452" y="551"/>
                  </a:lnTo>
                  <a:lnTo>
                    <a:pt x="1467" y="587"/>
                  </a:lnTo>
                  <a:lnTo>
                    <a:pt x="1531" y="595"/>
                  </a:lnTo>
                  <a:close/>
                  <a:moveTo>
                    <a:pt x="1270" y="170"/>
                  </a:moveTo>
                  <a:lnTo>
                    <a:pt x="1270" y="170"/>
                  </a:lnTo>
                  <a:lnTo>
                    <a:pt x="1233" y="152"/>
                  </a:lnTo>
                  <a:lnTo>
                    <a:pt x="1171" y="278"/>
                  </a:lnTo>
                  <a:lnTo>
                    <a:pt x="1207" y="295"/>
                  </a:lnTo>
                  <a:lnTo>
                    <a:pt x="1270" y="170"/>
                  </a:lnTo>
                  <a:close/>
                  <a:moveTo>
                    <a:pt x="1041" y="231"/>
                  </a:moveTo>
                  <a:lnTo>
                    <a:pt x="1041" y="231"/>
                  </a:lnTo>
                  <a:lnTo>
                    <a:pt x="1053" y="232"/>
                  </a:lnTo>
                  <a:lnTo>
                    <a:pt x="1063" y="232"/>
                  </a:lnTo>
                  <a:lnTo>
                    <a:pt x="1073" y="231"/>
                  </a:lnTo>
                  <a:lnTo>
                    <a:pt x="1083" y="228"/>
                  </a:lnTo>
                  <a:lnTo>
                    <a:pt x="1092" y="222"/>
                  </a:lnTo>
                  <a:lnTo>
                    <a:pt x="1099" y="216"/>
                  </a:lnTo>
                  <a:lnTo>
                    <a:pt x="1106" y="208"/>
                  </a:lnTo>
                  <a:lnTo>
                    <a:pt x="1110" y="198"/>
                  </a:lnTo>
                  <a:lnTo>
                    <a:pt x="1077" y="191"/>
                  </a:lnTo>
                  <a:lnTo>
                    <a:pt x="1070" y="198"/>
                  </a:lnTo>
                  <a:lnTo>
                    <a:pt x="1063" y="202"/>
                  </a:lnTo>
                  <a:lnTo>
                    <a:pt x="1056" y="205"/>
                  </a:lnTo>
                  <a:lnTo>
                    <a:pt x="1047" y="203"/>
                  </a:lnTo>
                  <a:lnTo>
                    <a:pt x="1041" y="202"/>
                  </a:lnTo>
                  <a:lnTo>
                    <a:pt x="1037" y="199"/>
                  </a:lnTo>
                  <a:lnTo>
                    <a:pt x="1033" y="195"/>
                  </a:lnTo>
                  <a:lnTo>
                    <a:pt x="1030" y="189"/>
                  </a:lnTo>
                  <a:lnTo>
                    <a:pt x="1027" y="182"/>
                  </a:lnTo>
                  <a:lnTo>
                    <a:pt x="1025" y="173"/>
                  </a:lnTo>
                  <a:lnTo>
                    <a:pt x="1027" y="163"/>
                  </a:lnTo>
                  <a:lnTo>
                    <a:pt x="1028" y="153"/>
                  </a:lnTo>
                  <a:lnTo>
                    <a:pt x="1031" y="142"/>
                  </a:lnTo>
                  <a:lnTo>
                    <a:pt x="1035" y="133"/>
                  </a:lnTo>
                  <a:lnTo>
                    <a:pt x="1040" y="126"/>
                  </a:lnTo>
                  <a:lnTo>
                    <a:pt x="1044" y="122"/>
                  </a:lnTo>
                  <a:lnTo>
                    <a:pt x="1050" y="117"/>
                  </a:lnTo>
                  <a:lnTo>
                    <a:pt x="1056" y="116"/>
                  </a:lnTo>
                  <a:lnTo>
                    <a:pt x="1061" y="114"/>
                  </a:lnTo>
                  <a:lnTo>
                    <a:pt x="1067" y="116"/>
                  </a:lnTo>
                  <a:lnTo>
                    <a:pt x="1074" y="119"/>
                  </a:lnTo>
                  <a:lnTo>
                    <a:pt x="1080" y="123"/>
                  </a:lnTo>
                  <a:lnTo>
                    <a:pt x="1086" y="130"/>
                  </a:lnTo>
                  <a:lnTo>
                    <a:pt x="1087" y="139"/>
                  </a:lnTo>
                  <a:lnTo>
                    <a:pt x="1122" y="147"/>
                  </a:lnTo>
                  <a:lnTo>
                    <a:pt x="1122" y="136"/>
                  </a:lnTo>
                  <a:lnTo>
                    <a:pt x="1119" y="124"/>
                  </a:lnTo>
                  <a:lnTo>
                    <a:pt x="1115" y="116"/>
                  </a:lnTo>
                  <a:lnTo>
                    <a:pt x="1109" y="107"/>
                  </a:lnTo>
                  <a:lnTo>
                    <a:pt x="1102" y="101"/>
                  </a:lnTo>
                  <a:lnTo>
                    <a:pt x="1095" y="96"/>
                  </a:lnTo>
                  <a:lnTo>
                    <a:pt x="1084" y="91"/>
                  </a:lnTo>
                  <a:lnTo>
                    <a:pt x="1073" y="89"/>
                  </a:lnTo>
                  <a:lnTo>
                    <a:pt x="1060" y="86"/>
                  </a:lnTo>
                  <a:lnTo>
                    <a:pt x="1046" y="86"/>
                  </a:lnTo>
                  <a:lnTo>
                    <a:pt x="1034" y="89"/>
                  </a:lnTo>
                  <a:lnTo>
                    <a:pt x="1021" y="94"/>
                  </a:lnTo>
                  <a:lnTo>
                    <a:pt x="1017" y="99"/>
                  </a:lnTo>
                  <a:lnTo>
                    <a:pt x="1011" y="103"/>
                  </a:lnTo>
                  <a:lnTo>
                    <a:pt x="1007" y="107"/>
                  </a:lnTo>
                  <a:lnTo>
                    <a:pt x="1002" y="113"/>
                  </a:lnTo>
                  <a:lnTo>
                    <a:pt x="998" y="120"/>
                  </a:lnTo>
                  <a:lnTo>
                    <a:pt x="995" y="127"/>
                  </a:lnTo>
                  <a:lnTo>
                    <a:pt x="992" y="135"/>
                  </a:lnTo>
                  <a:lnTo>
                    <a:pt x="989" y="145"/>
                  </a:lnTo>
                  <a:lnTo>
                    <a:pt x="988" y="153"/>
                  </a:lnTo>
                  <a:lnTo>
                    <a:pt x="987" y="162"/>
                  </a:lnTo>
                  <a:lnTo>
                    <a:pt x="987" y="170"/>
                  </a:lnTo>
                  <a:lnTo>
                    <a:pt x="988" y="178"/>
                  </a:lnTo>
                  <a:lnTo>
                    <a:pt x="989" y="185"/>
                  </a:lnTo>
                  <a:lnTo>
                    <a:pt x="991" y="191"/>
                  </a:lnTo>
                  <a:lnTo>
                    <a:pt x="994" y="198"/>
                  </a:lnTo>
                  <a:lnTo>
                    <a:pt x="997" y="203"/>
                  </a:lnTo>
                  <a:lnTo>
                    <a:pt x="1005" y="213"/>
                  </a:lnTo>
                  <a:lnTo>
                    <a:pt x="1015" y="221"/>
                  </a:lnTo>
                  <a:lnTo>
                    <a:pt x="1027" y="226"/>
                  </a:lnTo>
                  <a:lnTo>
                    <a:pt x="1041" y="231"/>
                  </a:lnTo>
                  <a:close/>
                  <a:moveTo>
                    <a:pt x="1532" y="858"/>
                  </a:moveTo>
                  <a:lnTo>
                    <a:pt x="1532" y="858"/>
                  </a:lnTo>
                  <a:lnTo>
                    <a:pt x="1672" y="842"/>
                  </a:lnTo>
                  <a:lnTo>
                    <a:pt x="1668" y="802"/>
                  </a:lnTo>
                  <a:lnTo>
                    <a:pt x="1528" y="818"/>
                  </a:lnTo>
                  <a:lnTo>
                    <a:pt x="1532" y="858"/>
                  </a:lnTo>
                  <a:close/>
                  <a:moveTo>
                    <a:pt x="893" y="64"/>
                  </a:moveTo>
                  <a:lnTo>
                    <a:pt x="893" y="64"/>
                  </a:lnTo>
                  <a:lnTo>
                    <a:pt x="853" y="64"/>
                  </a:lnTo>
                  <a:lnTo>
                    <a:pt x="853" y="205"/>
                  </a:lnTo>
                  <a:lnTo>
                    <a:pt x="893" y="205"/>
                  </a:lnTo>
                  <a:lnTo>
                    <a:pt x="893" y="64"/>
                  </a:lnTo>
                  <a:close/>
                  <a:moveTo>
                    <a:pt x="1371" y="392"/>
                  </a:moveTo>
                  <a:lnTo>
                    <a:pt x="1371" y="392"/>
                  </a:lnTo>
                  <a:lnTo>
                    <a:pt x="1328" y="353"/>
                  </a:lnTo>
                  <a:lnTo>
                    <a:pt x="1347" y="330"/>
                  </a:lnTo>
                  <a:lnTo>
                    <a:pt x="1391" y="369"/>
                  </a:lnTo>
                  <a:lnTo>
                    <a:pt x="1408" y="348"/>
                  </a:lnTo>
                  <a:lnTo>
                    <a:pt x="1365" y="310"/>
                  </a:lnTo>
                  <a:lnTo>
                    <a:pt x="1385" y="288"/>
                  </a:lnTo>
                  <a:lnTo>
                    <a:pt x="1429" y="327"/>
                  </a:lnTo>
                  <a:lnTo>
                    <a:pt x="1447" y="307"/>
                  </a:lnTo>
                  <a:lnTo>
                    <a:pt x="1372" y="241"/>
                  </a:lnTo>
                  <a:lnTo>
                    <a:pt x="1279" y="346"/>
                  </a:lnTo>
                  <a:lnTo>
                    <a:pt x="1352" y="412"/>
                  </a:lnTo>
                  <a:lnTo>
                    <a:pt x="1371" y="392"/>
                  </a:lnTo>
                  <a:close/>
                  <a:moveTo>
                    <a:pt x="1519" y="728"/>
                  </a:moveTo>
                  <a:lnTo>
                    <a:pt x="1519" y="728"/>
                  </a:lnTo>
                  <a:lnTo>
                    <a:pt x="1524" y="772"/>
                  </a:lnTo>
                  <a:lnTo>
                    <a:pt x="1590" y="811"/>
                  </a:lnTo>
                  <a:lnTo>
                    <a:pt x="1663" y="751"/>
                  </a:lnTo>
                  <a:lnTo>
                    <a:pt x="1658" y="706"/>
                  </a:lnTo>
                  <a:lnTo>
                    <a:pt x="1584" y="766"/>
                  </a:lnTo>
                  <a:lnTo>
                    <a:pt x="1519" y="728"/>
                  </a:lnTo>
                  <a:close/>
                  <a:moveTo>
                    <a:pt x="133" y="677"/>
                  </a:moveTo>
                  <a:lnTo>
                    <a:pt x="133" y="677"/>
                  </a:lnTo>
                  <a:lnTo>
                    <a:pt x="144" y="644"/>
                  </a:lnTo>
                  <a:lnTo>
                    <a:pt x="138" y="637"/>
                  </a:lnTo>
                  <a:lnTo>
                    <a:pt x="134" y="630"/>
                  </a:lnTo>
                  <a:lnTo>
                    <a:pt x="133" y="621"/>
                  </a:lnTo>
                  <a:lnTo>
                    <a:pt x="134" y="614"/>
                  </a:lnTo>
                  <a:lnTo>
                    <a:pt x="137" y="608"/>
                  </a:lnTo>
                  <a:lnTo>
                    <a:pt x="141" y="604"/>
                  </a:lnTo>
                  <a:lnTo>
                    <a:pt x="146" y="600"/>
                  </a:lnTo>
                  <a:lnTo>
                    <a:pt x="151" y="597"/>
                  </a:lnTo>
                  <a:lnTo>
                    <a:pt x="159" y="595"/>
                  </a:lnTo>
                  <a:lnTo>
                    <a:pt x="167" y="595"/>
                  </a:lnTo>
                  <a:lnTo>
                    <a:pt x="176" y="598"/>
                  </a:lnTo>
                  <a:lnTo>
                    <a:pt x="187" y="601"/>
                  </a:lnTo>
                  <a:lnTo>
                    <a:pt x="197" y="606"/>
                  </a:lnTo>
                  <a:lnTo>
                    <a:pt x="206" y="610"/>
                  </a:lnTo>
                  <a:lnTo>
                    <a:pt x="212" y="616"/>
                  </a:lnTo>
                  <a:lnTo>
                    <a:pt x="218" y="620"/>
                  </a:lnTo>
                  <a:lnTo>
                    <a:pt x="220" y="626"/>
                  </a:lnTo>
                  <a:lnTo>
                    <a:pt x="222" y="631"/>
                  </a:lnTo>
                  <a:lnTo>
                    <a:pt x="222" y="637"/>
                  </a:lnTo>
                  <a:lnTo>
                    <a:pt x="220" y="643"/>
                  </a:lnTo>
                  <a:lnTo>
                    <a:pt x="216" y="650"/>
                  </a:lnTo>
                  <a:lnTo>
                    <a:pt x="210" y="656"/>
                  </a:lnTo>
                  <a:lnTo>
                    <a:pt x="203" y="660"/>
                  </a:lnTo>
                  <a:lnTo>
                    <a:pt x="193" y="662"/>
                  </a:lnTo>
                  <a:lnTo>
                    <a:pt x="182" y="695"/>
                  </a:lnTo>
                  <a:lnTo>
                    <a:pt x="195" y="695"/>
                  </a:lnTo>
                  <a:lnTo>
                    <a:pt x="205" y="693"/>
                  </a:lnTo>
                  <a:lnTo>
                    <a:pt x="215" y="690"/>
                  </a:lnTo>
                  <a:lnTo>
                    <a:pt x="223" y="686"/>
                  </a:lnTo>
                  <a:lnTo>
                    <a:pt x="231" y="680"/>
                  </a:lnTo>
                  <a:lnTo>
                    <a:pt x="236" y="672"/>
                  </a:lnTo>
                  <a:lnTo>
                    <a:pt x="242" y="663"/>
                  </a:lnTo>
                  <a:lnTo>
                    <a:pt x="246" y="653"/>
                  </a:lnTo>
                  <a:lnTo>
                    <a:pt x="251" y="640"/>
                  </a:lnTo>
                  <a:lnTo>
                    <a:pt x="252" y="626"/>
                  </a:lnTo>
                  <a:lnTo>
                    <a:pt x="251" y="613"/>
                  </a:lnTo>
                  <a:lnTo>
                    <a:pt x="246" y="601"/>
                  </a:lnTo>
                  <a:lnTo>
                    <a:pt x="243" y="595"/>
                  </a:lnTo>
                  <a:lnTo>
                    <a:pt x="239" y="590"/>
                  </a:lnTo>
                  <a:lnTo>
                    <a:pt x="235" y="584"/>
                  </a:lnTo>
                  <a:lnTo>
                    <a:pt x="229" y="580"/>
                  </a:lnTo>
                  <a:lnTo>
                    <a:pt x="223" y="574"/>
                  </a:lnTo>
                  <a:lnTo>
                    <a:pt x="216" y="570"/>
                  </a:lnTo>
                  <a:lnTo>
                    <a:pt x="209" y="567"/>
                  </a:lnTo>
                  <a:lnTo>
                    <a:pt x="200" y="562"/>
                  </a:lnTo>
                  <a:lnTo>
                    <a:pt x="192" y="560"/>
                  </a:lnTo>
                  <a:lnTo>
                    <a:pt x="183" y="558"/>
                  </a:lnTo>
                  <a:lnTo>
                    <a:pt x="176" y="558"/>
                  </a:lnTo>
                  <a:lnTo>
                    <a:pt x="167" y="557"/>
                  </a:lnTo>
                  <a:lnTo>
                    <a:pt x="160" y="558"/>
                  </a:lnTo>
                  <a:lnTo>
                    <a:pt x="153" y="560"/>
                  </a:lnTo>
                  <a:lnTo>
                    <a:pt x="147" y="561"/>
                  </a:lnTo>
                  <a:lnTo>
                    <a:pt x="141" y="564"/>
                  </a:lnTo>
                  <a:lnTo>
                    <a:pt x="130" y="571"/>
                  </a:lnTo>
                  <a:lnTo>
                    <a:pt x="121" y="580"/>
                  </a:lnTo>
                  <a:lnTo>
                    <a:pt x="114" y="591"/>
                  </a:lnTo>
                  <a:lnTo>
                    <a:pt x="108" y="604"/>
                  </a:lnTo>
                  <a:lnTo>
                    <a:pt x="105" y="616"/>
                  </a:lnTo>
                  <a:lnTo>
                    <a:pt x="104" y="626"/>
                  </a:lnTo>
                  <a:lnTo>
                    <a:pt x="104" y="636"/>
                  </a:lnTo>
                  <a:lnTo>
                    <a:pt x="107" y="646"/>
                  </a:lnTo>
                  <a:lnTo>
                    <a:pt x="111" y="656"/>
                  </a:lnTo>
                  <a:lnTo>
                    <a:pt x="117" y="663"/>
                  </a:lnTo>
                  <a:lnTo>
                    <a:pt x="124" y="672"/>
                  </a:lnTo>
                  <a:lnTo>
                    <a:pt x="133" y="677"/>
                  </a:lnTo>
                  <a:close/>
                  <a:moveTo>
                    <a:pt x="501" y="182"/>
                  </a:moveTo>
                  <a:lnTo>
                    <a:pt x="501" y="182"/>
                  </a:lnTo>
                  <a:lnTo>
                    <a:pt x="507" y="179"/>
                  </a:lnTo>
                  <a:lnTo>
                    <a:pt x="513" y="179"/>
                  </a:lnTo>
                  <a:lnTo>
                    <a:pt x="519" y="179"/>
                  </a:lnTo>
                  <a:lnTo>
                    <a:pt x="524" y="182"/>
                  </a:lnTo>
                  <a:lnTo>
                    <a:pt x="530" y="186"/>
                  </a:lnTo>
                  <a:lnTo>
                    <a:pt x="536" y="192"/>
                  </a:lnTo>
                  <a:lnTo>
                    <a:pt x="542" y="201"/>
                  </a:lnTo>
                  <a:lnTo>
                    <a:pt x="547" y="209"/>
                  </a:lnTo>
                  <a:lnTo>
                    <a:pt x="552" y="221"/>
                  </a:lnTo>
                  <a:lnTo>
                    <a:pt x="555" y="229"/>
                  </a:lnTo>
                  <a:lnTo>
                    <a:pt x="555" y="238"/>
                  </a:lnTo>
                  <a:lnTo>
                    <a:pt x="555" y="245"/>
                  </a:lnTo>
                  <a:lnTo>
                    <a:pt x="553" y="251"/>
                  </a:lnTo>
                  <a:lnTo>
                    <a:pt x="549" y="257"/>
                  </a:lnTo>
                  <a:lnTo>
                    <a:pt x="546" y="259"/>
                  </a:lnTo>
                  <a:lnTo>
                    <a:pt x="540" y="264"/>
                  </a:lnTo>
                  <a:lnTo>
                    <a:pt x="534" y="265"/>
                  </a:lnTo>
                  <a:lnTo>
                    <a:pt x="529" y="265"/>
                  </a:lnTo>
                  <a:lnTo>
                    <a:pt x="523" y="265"/>
                  </a:lnTo>
                  <a:lnTo>
                    <a:pt x="517" y="262"/>
                  </a:lnTo>
                  <a:lnTo>
                    <a:pt x="510" y="258"/>
                  </a:lnTo>
                  <a:lnTo>
                    <a:pt x="504" y="252"/>
                  </a:lnTo>
                  <a:lnTo>
                    <a:pt x="500" y="245"/>
                  </a:lnTo>
                  <a:lnTo>
                    <a:pt x="494" y="235"/>
                  </a:lnTo>
                  <a:lnTo>
                    <a:pt x="490" y="225"/>
                  </a:lnTo>
                  <a:lnTo>
                    <a:pt x="487" y="215"/>
                  </a:lnTo>
                  <a:lnTo>
                    <a:pt x="487" y="208"/>
                  </a:lnTo>
                  <a:lnTo>
                    <a:pt x="487" y="201"/>
                  </a:lnTo>
                  <a:lnTo>
                    <a:pt x="488" y="193"/>
                  </a:lnTo>
                  <a:lnTo>
                    <a:pt x="491" y="189"/>
                  </a:lnTo>
                  <a:lnTo>
                    <a:pt x="495" y="185"/>
                  </a:lnTo>
                  <a:lnTo>
                    <a:pt x="501" y="182"/>
                  </a:lnTo>
                  <a:close/>
                  <a:moveTo>
                    <a:pt x="552" y="288"/>
                  </a:moveTo>
                  <a:lnTo>
                    <a:pt x="552" y="288"/>
                  </a:lnTo>
                  <a:lnTo>
                    <a:pt x="565" y="281"/>
                  </a:lnTo>
                  <a:lnTo>
                    <a:pt x="575" y="274"/>
                  </a:lnTo>
                  <a:lnTo>
                    <a:pt x="583" y="264"/>
                  </a:lnTo>
                  <a:lnTo>
                    <a:pt x="589" y="252"/>
                  </a:lnTo>
                  <a:lnTo>
                    <a:pt x="591" y="245"/>
                  </a:lnTo>
                  <a:lnTo>
                    <a:pt x="592" y="239"/>
                  </a:lnTo>
                  <a:lnTo>
                    <a:pt x="593" y="232"/>
                  </a:lnTo>
                  <a:lnTo>
                    <a:pt x="592" y="225"/>
                  </a:lnTo>
                  <a:lnTo>
                    <a:pt x="592" y="216"/>
                  </a:lnTo>
                  <a:lnTo>
                    <a:pt x="591" y="209"/>
                  </a:lnTo>
                  <a:lnTo>
                    <a:pt x="588" y="201"/>
                  </a:lnTo>
                  <a:lnTo>
                    <a:pt x="583" y="192"/>
                  </a:lnTo>
                  <a:lnTo>
                    <a:pt x="579" y="185"/>
                  </a:lnTo>
                  <a:lnTo>
                    <a:pt x="575" y="178"/>
                  </a:lnTo>
                  <a:lnTo>
                    <a:pt x="570" y="170"/>
                  </a:lnTo>
                  <a:lnTo>
                    <a:pt x="565" y="165"/>
                  </a:lnTo>
                  <a:lnTo>
                    <a:pt x="559" y="160"/>
                  </a:lnTo>
                  <a:lnTo>
                    <a:pt x="553" y="156"/>
                  </a:lnTo>
                  <a:lnTo>
                    <a:pt x="547" y="153"/>
                  </a:lnTo>
                  <a:lnTo>
                    <a:pt x="542" y="150"/>
                  </a:lnTo>
                  <a:lnTo>
                    <a:pt x="529" y="149"/>
                  </a:lnTo>
                  <a:lnTo>
                    <a:pt x="516" y="149"/>
                  </a:lnTo>
                  <a:lnTo>
                    <a:pt x="503" y="150"/>
                  </a:lnTo>
                  <a:lnTo>
                    <a:pt x="490" y="156"/>
                  </a:lnTo>
                  <a:lnTo>
                    <a:pt x="477" y="163"/>
                  </a:lnTo>
                  <a:lnTo>
                    <a:pt x="467" y="172"/>
                  </a:lnTo>
                  <a:lnTo>
                    <a:pt x="458" y="182"/>
                  </a:lnTo>
                  <a:lnTo>
                    <a:pt x="452" y="193"/>
                  </a:lnTo>
                  <a:lnTo>
                    <a:pt x="451" y="199"/>
                  </a:lnTo>
                  <a:lnTo>
                    <a:pt x="449" y="206"/>
                  </a:lnTo>
                  <a:lnTo>
                    <a:pt x="448" y="212"/>
                  </a:lnTo>
                  <a:lnTo>
                    <a:pt x="448" y="221"/>
                  </a:lnTo>
                  <a:lnTo>
                    <a:pt x="449" y="228"/>
                  </a:lnTo>
                  <a:lnTo>
                    <a:pt x="451" y="235"/>
                  </a:lnTo>
                  <a:lnTo>
                    <a:pt x="454" y="244"/>
                  </a:lnTo>
                  <a:lnTo>
                    <a:pt x="458" y="252"/>
                  </a:lnTo>
                  <a:lnTo>
                    <a:pt x="462" y="259"/>
                  </a:lnTo>
                  <a:lnTo>
                    <a:pt x="467" y="268"/>
                  </a:lnTo>
                  <a:lnTo>
                    <a:pt x="471" y="274"/>
                  </a:lnTo>
                  <a:lnTo>
                    <a:pt x="477" y="280"/>
                  </a:lnTo>
                  <a:lnTo>
                    <a:pt x="483" y="284"/>
                  </a:lnTo>
                  <a:lnTo>
                    <a:pt x="488" y="288"/>
                  </a:lnTo>
                  <a:lnTo>
                    <a:pt x="494" y="291"/>
                  </a:lnTo>
                  <a:lnTo>
                    <a:pt x="500" y="294"/>
                  </a:lnTo>
                  <a:lnTo>
                    <a:pt x="513" y="297"/>
                  </a:lnTo>
                  <a:lnTo>
                    <a:pt x="526" y="297"/>
                  </a:lnTo>
                  <a:lnTo>
                    <a:pt x="539" y="294"/>
                  </a:lnTo>
                  <a:lnTo>
                    <a:pt x="552" y="288"/>
                  </a:lnTo>
                  <a:close/>
                  <a:moveTo>
                    <a:pt x="356" y="331"/>
                  </a:moveTo>
                  <a:lnTo>
                    <a:pt x="356" y="331"/>
                  </a:lnTo>
                  <a:lnTo>
                    <a:pt x="349" y="340"/>
                  </a:lnTo>
                  <a:lnTo>
                    <a:pt x="347" y="341"/>
                  </a:lnTo>
                  <a:lnTo>
                    <a:pt x="321" y="317"/>
                  </a:lnTo>
                  <a:lnTo>
                    <a:pt x="323" y="315"/>
                  </a:lnTo>
                  <a:lnTo>
                    <a:pt x="331" y="307"/>
                  </a:lnTo>
                  <a:lnTo>
                    <a:pt x="339" y="301"/>
                  </a:lnTo>
                  <a:lnTo>
                    <a:pt x="346" y="298"/>
                  </a:lnTo>
                  <a:lnTo>
                    <a:pt x="350" y="298"/>
                  </a:lnTo>
                  <a:lnTo>
                    <a:pt x="353" y="298"/>
                  </a:lnTo>
                  <a:lnTo>
                    <a:pt x="357" y="300"/>
                  </a:lnTo>
                  <a:lnTo>
                    <a:pt x="360" y="303"/>
                  </a:lnTo>
                  <a:lnTo>
                    <a:pt x="363" y="307"/>
                  </a:lnTo>
                  <a:lnTo>
                    <a:pt x="364" y="310"/>
                  </a:lnTo>
                  <a:lnTo>
                    <a:pt x="366" y="314"/>
                  </a:lnTo>
                  <a:lnTo>
                    <a:pt x="364" y="317"/>
                  </a:lnTo>
                  <a:lnTo>
                    <a:pt x="362" y="324"/>
                  </a:lnTo>
                  <a:lnTo>
                    <a:pt x="356" y="331"/>
                  </a:lnTo>
                  <a:close/>
                  <a:moveTo>
                    <a:pt x="403" y="396"/>
                  </a:moveTo>
                  <a:lnTo>
                    <a:pt x="403" y="396"/>
                  </a:lnTo>
                  <a:lnTo>
                    <a:pt x="366" y="360"/>
                  </a:lnTo>
                  <a:lnTo>
                    <a:pt x="367" y="359"/>
                  </a:lnTo>
                  <a:lnTo>
                    <a:pt x="376" y="350"/>
                  </a:lnTo>
                  <a:lnTo>
                    <a:pt x="383" y="343"/>
                  </a:lnTo>
                  <a:lnTo>
                    <a:pt x="389" y="336"/>
                  </a:lnTo>
                  <a:lnTo>
                    <a:pt x="395" y="327"/>
                  </a:lnTo>
                  <a:lnTo>
                    <a:pt x="399" y="318"/>
                  </a:lnTo>
                  <a:lnTo>
                    <a:pt x="400" y="313"/>
                  </a:lnTo>
                  <a:lnTo>
                    <a:pt x="402" y="308"/>
                  </a:lnTo>
                  <a:lnTo>
                    <a:pt x="402" y="303"/>
                  </a:lnTo>
                  <a:lnTo>
                    <a:pt x="400" y="298"/>
                  </a:lnTo>
                  <a:lnTo>
                    <a:pt x="399" y="292"/>
                  </a:lnTo>
                  <a:lnTo>
                    <a:pt x="396" y="287"/>
                  </a:lnTo>
                  <a:lnTo>
                    <a:pt x="392" y="281"/>
                  </a:lnTo>
                  <a:lnTo>
                    <a:pt x="387" y="275"/>
                  </a:lnTo>
                  <a:lnTo>
                    <a:pt x="382" y="271"/>
                  </a:lnTo>
                  <a:lnTo>
                    <a:pt x="376" y="267"/>
                  </a:lnTo>
                  <a:lnTo>
                    <a:pt x="370" y="264"/>
                  </a:lnTo>
                  <a:lnTo>
                    <a:pt x="364" y="262"/>
                  </a:lnTo>
                  <a:lnTo>
                    <a:pt x="359" y="261"/>
                  </a:lnTo>
                  <a:lnTo>
                    <a:pt x="354" y="261"/>
                  </a:lnTo>
                  <a:lnTo>
                    <a:pt x="349" y="262"/>
                  </a:lnTo>
                  <a:lnTo>
                    <a:pt x="344" y="264"/>
                  </a:lnTo>
                  <a:lnTo>
                    <a:pt x="336" y="268"/>
                  </a:lnTo>
                  <a:lnTo>
                    <a:pt x="327" y="274"/>
                  </a:lnTo>
                  <a:lnTo>
                    <a:pt x="320" y="281"/>
                  </a:lnTo>
                  <a:lnTo>
                    <a:pt x="313" y="288"/>
                  </a:lnTo>
                  <a:lnTo>
                    <a:pt x="290" y="311"/>
                  </a:lnTo>
                  <a:lnTo>
                    <a:pt x="274" y="327"/>
                  </a:lnTo>
                  <a:lnTo>
                    <a:pt x="375" y="425"/>
                  </a:lnTo>
                  <a:lnTo>
                    <a:pt x="403" y="396"/>
                  </a:lnTo>
                  <a:close/>
                  <a:moveTo>
                    <a:pt x="264" y="699"/>
                  </a:moveTo>
                  <a:lnTo>
                    <a:pt x="264" y="699"/>
                  </a:lnTo>
                  <a:lnTo>
                    <a:pt x="272" y="674"/>
                  </a:lnTo>
                  <a:lnTo>
                    <a:pt x="262" y="657"/>
                  </a:lnTo>
                  <a:lnTo>
                    <a:pt x="281" y="650"/>
                  </a:lnTo>
                  <a:lnTo>
                    <a:pt x="290" y="624"/>
                  </a:lnTo>
                  <a:lnTo>
                    <a:pt x="261" y="636"/>
                  </a:lnTo>
                  <a:lnTo>
                    <a:pt x="248" y="673"/>
                  </a:lnTo>
                  <a:lnTo>
                    <a:pt x="264" y="699"/>
                  </a:lnTo>
                  <a:close/>
                  <a:moveTo>
                    <a:pt x="786" y="206"/>
                  </a:moveTo>
                  <a:lnTo>
                    <a:pt x="786" y="206"/>
                  </a:lnTo>
                  <a:lnTo>
                    <a:pt x="781" y="179"/>
                  </a:lnTo>
                  <a:lnTo>
                    <a:pt x="724" y="192"/>
                  </a:lnTo>
                  <a:lnTo>
                    <a:pt x="699" y="83"/>
                  </a:lnTo>
                  <a:lnTo>
                    <a:pt x="660" y="91"/>
                  </a:lnTo>
                  <a:lnTo>
                    <a:pt x="691" y="228"/>
                  </a:lnTo>
                  <a:lnTo>
                    <a:pt x="786" y="206"/>
                  </a:lnTo>
                  <a:close/>
                  <a:moveTo>
                    <a:pt x="1119" y="967"/>
                  </a:moveTo>
                  <a:lnTo>
                    <a:pt x="1119" y="967"/>
                  </a:lnTo>
                  <a:lnTo>
                    <a:pt x="1503" y="863"/>
                  </a:lnTo>
                  <a:lnTo>
                    <a:pt x="1119" y="758"/>
                  </a:lnTo>
                  <a:lnTo>
                    <a:pt x="1318" y="413"/>
                  </a:lnTo>
                  <a:lnTo>
                    <a:pt x="971" y="611"/>
                  </a:lnTo>
                  <a:lnTo>
                    <a:pt x="867" y="228"/>
                  </a:lnTo>
                  <a:lnTo>
                    <a:pt x="762" y="611"/>
                  </a:lnTo>
                  <a:lnTo>
                    <a:pt x="416" y="413"/>
                  </a:lnTo>
                  <a:lnTo>
                    <a:pt x="614" y="758"/>
                  </a:lnTo>
                  <a:lnTo>
                    <a:pt x="229" y="863"/>
                  </a:lnTo>
                  <a:lnTo>
                    <a:pt x="614" y="967"/>
                  </a:lnTo>
                  <a:lnTo>
                    <a:pt x="416" y="1312"/>
                  </a:lnTo>
                  <a:lnTo>
                    <a:pt x="762" y="1115"/>
                  </a:lnTo>
                  <a:lnTo>
                    <a:pt x="867" y="1499"/>
                  </a:lnTo>
                  <a:lnTo>
                    <a:pt x="971" y="1115"/>
                  </a:lnTo>
                  <a:lnTo>
                    <a:pt x="1318" y="1312"/>
                  </a:lnTo>
                  <a:lnTo>
                    <a:pt x="1119" y="9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B94C315A-47BC-77F6-0C72-17EC00BFBD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20388" y="2341563"/>
              <a:ext cx="657225" cy="654050"/>
            </a:xfrm>
            <a:custGeom>
              <a:avLst/>
              <a:gdLst>
                <a:gd name="T0" fmla="*/ 470 w 1242"/>
                <a:gd name="T1" fmla="*/ 619 h 1237"/>
                <a:gd name="T2" fmla="*/ 628 w 1242"/>
                <a:gd name="T3" fmla="*/ 627 h 1237"/>
                <a:gd name="T4" fmla="*/ 621 w 1242"/>
                <a:gd name="T5" fmla="*/ 468 h 1237"/>
                <a:gd name="T6" fmla="*/ 182 w 1242"/>
                <a:gd name="T7" fmla="*/ 1057 h 1237"/>
                <a:gd name="T8" fmla="*/ 504 w 1242"/>
                <a:gd name="T9" fmla="*/ 735 h 1237"/>
                <a:gd name="T10" fmla="*/ 455 w 1242"/>
                <a:gd name="T11" fmla="*/ 621 h 1237"/>
                <a:gd name="T12" fmla="*/ 375 w 1242"/>
                <a:gd name="T13" fmla="*/ 721 h 1237"/>
                <a:gd name="T14" fmla="*/ 467 w 1242"/>
                <a:gd name="T15" fmla="*/ 682 h 1237"/>
                <a:gd name="T16" fmla="*/ 491 w 1242"/>
                <a:gd name="T17" fmla="*/ 722 h 1237"/>
                <a:gd name="T18" fmla="*/ 467 w 1242"/>
                <a:gd name="T19" fmla="*/ 682 h 1237"/>
                <a:gd name="T20" fmla="*/ 723 w 1242"/>
                <a:gd name="T21" fmla="*/ 864 h 1237"/>
                <a:gd name="T22" fmla="*/ 712 w 1242"/>
                <a:gd name="T23" fmla="*/ 756 h 1237"/>
                <a:gd name="T24" fmla="*/ 455 w 1242"/>
                <a:gd name="T25" fmla="*/ 616 h 1237"/>
                <a:gd name="T26" fmla="*/ 458 w 1242"/>
                <a:gd name="T27" fmla="*/ 586 h 1237"/>
                <a:gd name="T28" fmla="*/ 375 w 1242"/>
                <a:gd name="T29" fmla="*/ 517 h 1237"/>
                <a:gd name="T30" fmla="*/ 621 w 1242"/>
                <a:gd name="T31" fmla="*/ 784 h 1237"/>
                <a:gd name="T32" fmla="*/ 723 w 1242"/>
                <a:gd name="T33" fmla="*/ 864 h 1237"/>
                <a:gd name="T34" fmla="*/ 723 w 1242"/>
                <a:gd name="T35" fmla="*/ 864 h 1237"/>
                <a:gd name="T36" fmla="*/ 723 w 1242"/>
                <a:gd name="T37" fmla="*/ 864 h 1237"/>
                <a:gd name="T38" fmla="*/ 519 w 1242"/>
                <a:gd name="T39" fmla="*/ 864 h 1237"/>
                <a:gd name="T40" fmla="*/ 586 w 1242"/>
                <a:gd name="T41" fmla="*/ 781 h 1237"/>
                <a:gd name="T42" fmla="*/ 519 w 1242"/>
                <a:gd name="T43" fmla="*/ 864 h 1237"/>
                <a:gd name="T44" fmla="*/ 738 w 1242"/>
                <a:gd name="T45" fmla="*/ 735 h 1237"/>
                <a:gd name="T46" fmla="*/ 739 w 1242"/>
                <a:gd name="T47" fmla="*/ 733 h 1237"/>
                <a:gd name="T48" fmla="*/ 785 w 1242"/>
                <a:gd name="T49" fmla="*/ 637 h 1237"/>
                <a:gd name="T50" fmla="*/ 774 w 1242"/>
                <a:gd name="T51" fmla="*/ 682 h 1237"/>
                <a:gd name="T52" fmla="*/ 867 w 1242"/>
                <a:gd name="T53" fmla="*/ 517 h 1237"/>
                <a:gd name="T54" fmla="*/ 787 w 1242"/>
                <a:gd name="T55" fmla="*/ 619 h 1237"/>
                <a:gd name="T56" fmla="*/ 867 w 1242"/>
                <a:gd name="T57" fmla="*/ 517 h 1237"/>
                <a:gd name="T58" fmla="*/ 749 w 1242"/>
                <a:gd name="T59" fmla="*/ 515 h 1237"/>
                <a:gd name="T60" fmla="*/ 774 w 1242"/>
                <a:gd name="T61" fmla="*/ 555 h 1237"/>
                <a:gd name="T62" fmla="*/ 501 w 1242"/>
                <a:gd name="T63" fmla="*/ 504 h 1237"/>
                <a:gd name="T64" fmla="*/ 375 w 1242"/>
                <a:gd name="T65" fmla="*/ 517 h 1237"/>
                <a:gd name="T66" fmla="*/ 519 w 1242"/>
                <a:gd name="T67" fmla="*/ 373 h 1237"/>
                <a:gd name="T68" fmla="*/ 529 w 1242"/>
                <a:gd name="T69" fmla="*/ 481 h 1237"/>
                <a:gd name="T70" fmla="*/ 519 w 1242"/>
                <a:gd name="T71" fmla="*/ 373 h 1237"/>
                <a:gd name="T72" fmla="*/ 1060 w 1242"/>
                <a:gd name="T73" fmla="*/ 181 h 1237"/>
                <a:gd name="T74" fmla="*/ 738 w 1242"/>
                <a:gd name="T75" fmla="*/ 502 h 1237"/>
                <a:gd name="T76" fmla="*/ 621 w 1242"/>
                <a:gd name="T77" fmla="*/ 0 h 1237"/>
                <a:gd name="T78" fmla="*/ 621 w 1242"/>
                <a:gd name="T79" fmla="*/ 453 h 1237"/>
                <a:gd name="T80" fmla="*/ 622 w 1242"/>
                <a:gd name="T81" fmla="*/ 453 h 1237"/>
                <a:gd name="T82" fmla="*/ 670 w 1242"/>
                <a:gd name="T83" fmla="*/ 461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2" h="1237">
                  <a:moveTo>
                    <a:pt x="621" y="468"/>
                  </a:moveTo>
                  <a:lnTo>
                    <a:pt x="612" y="611"/>
                  </a:lnTo>
                  <a:lnTo>
                    <a:pt x="470" y="619"/>
                  </a:lnTo>
                  <a:lnTo>
                    <a:pt x="612" y="627"/>
                  </a:lnTo>
                  <a:lnTo>
                    <a:pt x="621" y="769"/>
                  </a:lnTo>
                  <a:lnTo>
                    <a:pt x="628" y="627"/>
                  </a:lnTo>
                  <a:lnTo>
                    <a:pt x="772" y="619"/>
                  </a:lnTo>
                  <a:lnTo>
                    <a:pt x="628" y="611"/>
                  </a:lnTo>
                  <a:lnTo>
                    <a:pt x="621" y="468"/>
                  </a:lnTo>
                  <a:close/>
                  <a:moveTo>
                    <a:pt x="504" y="735"/>
                  </a:moveTo>
                  <a:lnTo>
                    <a:pt x="504" y="735"/>
                  </a:lnTo>
                  <a:lnTo>
                    <a:pt x="182" y="1057"/>
                  </a:lnTo>
                  <a:lnTo>
                    <a:pt x="519" y="864"/>
                  </a:lnTo>
                  <a:lnTo>
                    <a:pt x="506" y="738"/>
                  </a:lnTo>
                  <a:lnTo>
                    <a:pt x="504" y="735"/>
                  </a:lnTo>
                  <a:close/>
                  <a:moveTo>
                    <a:pt x="375" y="721"/>
                  </a:moveTo>
                  <a:lnTo>
                    <a:pt x="375" y="7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0" y="619"/>
                  </a:lnTo>
                  <a:lnTo>
                    <a:pt x="375" y="721"/>
                  </a:lnTo>
                  <a:lnTo>
                    <a:pt x="375" y="721"/>
                  </a:lnTo>
                  <a:close/>
                  <a:moveTo>
                    <a:pt x="467" y="682"/>
                  </a:moveTo>
                  <a:lnTo>
                    <a:pt x="467" y="682"/>
                  </a:lnTo>
                  <a:lnTo>
                    <a:pt x="375" y="721"/>
                  </a:lnTo>
                  <a:lnTo>
                    <a:pt x="503" y="733"/>
                  </a:lnTo>
                  <a:lnTo>
                    <a:pt x="491" y="722"/>
                  </a:lnTo>
                  <a:lnTo>
                    <a:pt x="483" y="710"/>
                  </a:lnTo>
                  <a:lnTo>
                    <a:pt x="474" y="696"/>
                  </a:lnTo>
                  <a:lnTo>
                    <a:pt x="467" y="682"/>
                  </a:lnTo>
                  <a:close/>
                  <a:moveTo>
                    <a:pt x="684" y="771"/>
                  </a:moveTo>
                  <a:lnTo>
                    <a:pt x="684" y="771"/>
                  </a:lnTo>
                  <a:lnTo>
                    <a:pt x="723" y="864"/>
                  </a:lnTo>
                  <a:lnTo>
                    <a:pt x="736" y="736"/>
                  </a:lnTo>
                  <a:lnTo>
                    <a:pt x="725" y="748"/>
                  </a:lnTo>
                  <a:lnTo>
                    <a:pt x="712" y="756"/>
                  </a:lnTo>
                  <a:lnTo>
                    <a:pt x="699" y="765"/>
                  </a:lnTo>
                  <a:lnTo>
                    <a:pt x="684" y="771"/>
                  </a:lnTo>
                  <a:close/>
                  <a:moveTo>
                    <a:pt x="455" y="616"/>
                  </a:moveTo>
                  <a:lnTo>
                    <a:pt x="455" y="616"/>
                  </a:lnTo>
                  <a:lnTo>
                    <a:pt x="455" y="600"/>
                  </a:lnTo>
                  <a:lnTo>
                    <a:pt x="458" y="586"/>
                  </a:lnTo>
                  <a:lnTo>
                    <a:pt x="463" y="570"/>
                  </a:lnTo>
                  <a:lnTo>
                    <a:pt x="467" y="555"/>
                  </a:lnTo>
                  <a:lnTo>
                    <a:pt x="375" y="517"/>
                  </a:lnTo>
                  <a:lnTo>
                    <a:pt x="455" y="616"/>
                  </a:lnTo>
                  <a:close/>
                  <a:moveTo>
                    <a:pt x="621" y="784"/>
                  </a:moveTo>
                  <a:lnTo>
                    <a:pt x="621" y="784"/>
                  </a:lnTo>
                  <a:lnTo>
                    <a:pt x="621" y="1237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624" y="784"/>
                  </a:lnTo>
                  <a:lnTo>
                    <a:pt x="621" y="784"/>
                  </a:lnTo>
                  <a:close/>
                  <a:moveTo>
                    <a:pt x="723" y="864"/>
                  </a:move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close/>
                  <a:moveTo>
                    <a:pt x="519" y="864"/>
                  </a:moveTo>
                  <a:lnTo>
                    <a:pt x="519" y="864"/>
                  </a:lnTo>
                  <a:lnTo>
                    <a:pt x="618" y="784"/>
                  </a:lnTo>
                  <a:lnTo>
                    <a:pt x="602" y="782"/>
                  </a:lnTo>
                  <a:lnTo>
                    <a:pt x="586" y="781"/>
                  </a:lnTo>
                  <a:lnTo>
                    <a:pt x="572" y="777"/>
                  </a:lnTo>
                  <a:lnTo>
                    <a:pt x="558" y="771"/>
                  </a:lnTo>
                  <a:lnTo>
                    <a:pt x="519" y="864"/>
                  </a:lnTo>
                  <a:close/>
                  <a:moveTo>
                    <a:pt x="739" y="733"/>
                  </a:moveTo>
                  <a:lnTo>
                    <a:pt x="739" y="733"/>
                  </a:lnTo>
                  <a:lnTo>
                    <a:pt x="738" y="735"/>
                  </a:lnTo>
                  <a:lnTo>
                    <a:pt x="1060" y="1057"/>
                  </a:lnTo>
                  <a:lnTo>
                    <a:pt x="867" y="721"/>
                  </a:lnTo>
                  <a:lnTo>
                    <a:pt x="739" y="733"/>
                  </a:lnTo>
                  <a:close/>
                  <a:moveTo>
                    <a:pt x="787" y="621"/>
                  </a:moveTo>
                  <a:lnTo>
                    <a:pt x="787" y="621"/>
                  </a:lnTo>
                  <a:lnTo>
                    <a:pt x="785" y="637"/>
                  </a:lnTo>
                  <a:lnTo>
                    <a:pt x="782" y="653"/>
                  </a:lnTo>
                  <a:lnTo>
                    <a:pt x="779" y="667"/>
                  </a:lnTo>
                  <a:lnTo>
                    <a:pt x="774" y="682"/>
                  </a:lnTo>
                  <a:lnTo>
                    <a:pt x="867" y="721"/>
                  </a:lnTo>
                  <a:lnTo>
                    <a:pt x="787" y="621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87" y="616"/>
                  </a:lnTo>
                  <a:lnTo>
                    <a:pt x="787" y="619"/>
                  </a:lnTo>
                  <a:lnTo>
                    <a:pt x="1242" y="619"/>
                  </a:lnTo>
                  <a:lnTo>
                    <a:pt x="867" y="517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39" y="504"/>
                  </a:lnTo>
                  <a:lnTo>
                    <a:pt x="749" y="515"/>
                  </a:lnTo>
                  <a:lnTo>
                    <a:pt x="759" y="528"/>
                  </a:lnTo>
                  <a:lnTo>
                    <a:pt x="766" y="541"/>
                  </a:lnTo>
                  <a:lnTo>
                    <a:pt x="774" y="555"/>
                  </a:lnTo>
                  <a:lnTo>
                    <a:pt x="867" y="517"/>
                  </a:lnTo>
                  <a:close/>
                  <a:moveTo>
                    <a:pt x="501" y="504"/>
                  </a:moveTo>
                  <a:lnTo>
                    <a:pt x="501" y="504"/>
                  </a:lnTo>
                  <a:lnTo>
                    <a:pt x="504" y="502"/>
                  </a:lnTo>
                  <a:lnTo>
                    <a:pt x="182" y="181"/>
                  </a:lnTo>
                  <a:lnTo>
                    <a:pt x="375" y="517"/>
                  </a:lnTo>
                  <a:lnTo>
                    <a:pt x="501" y="504"/>
                  </a:lnTo>
                  <a:close/>
                  <a:moveTo>
                    <a:pt x="519" y="373"/>
                  </a:moveTo>
                  <a:lnTo>
                    <a:pt x="519" y="373"/>
                  </a:lnTo>
                  <a:lnTo>
                    <a:pt x="506" y="501"/>
                  </a:lnTo>
                  <a:lnTo>
                    <a:pt x="517" y="491"/>
                  </a:lnTo>
                  <a:lnTo>
                    <a:pt x="529" y="481"/>
                  </a:lnTo>
                  <a:lnTo>
                    <a:pt x="543" y="474"/>
                  </a:lnTo>
                  <a:lnTo>
                    <a:pt x="558" y="466"/>
                  </a:lnTo>
                  <a:lnTo>
                    <a:pt x="519" y="373"/>
                  </a:lnTo>
                  <a:close/>
                  <a:moveTo>
                    <a:pt x="738" y="502"/>
                  </a:moveTo>
                  <a:lnTo>
                    <a:pt x="738" y="502"/>
                  </a:lnTo>
                  <a:lnTo>
                    <a:pt x="1060" y="181"/>
                  </a:lnTo>
                  <a:lnTo>
                    <a:pt x="723" y="373"/>
                  </a:lnTo>
                  <a:lnTo>
                    <a:pt x="736" y="501"/>
                  </a:lnTo>
                  <a:lnTo>
                    <a:pt x="738" y="502"/>
                  </a:lnTo>
                  <a:close/>
                  <a:moveTo>
                    <a:pt x="621" y="453"/>
                  </a:moveTo>
                  <a:lnTo>
                    <a:pt x="621" y="453"/>
                  </a:lnTo>
                  <a:lnTo>
                    <a:pt x="621" y="0"/>
                  </a:lnTo>
                  <a:lnTo>
                    <a:pt x="519" y="373"/>
                  </a:lnTo>
                  <a:lnTo>
                    <a:pt x="618" y="453"/>
                  </a:lnTo>
                  <a:lnTo>
                    <a:pt x="621" y="453"/>
                  </a:lnTo>
                  <a:close/>
                  <a:moveTo>
                    <a:pt x="723" y="373"/>
                  </a:moveTo>
                  <a:lnTo>
                    <a:pt x="723" y="373"/>
                  </a:lnTo>
                  <a:lnTo>
                    <a:pt x="622" y="453"/>
                  </a:lnTo>
                  <a:lnTo>
                    <a:pt x="640" y="455"/>
                  </a:lnTo>
                  <a:lnTo>
                    <a:pt x="654" y="458"/>
                  </a:lnTo>
                  <a:lnTo>
                    <a:pt x="670" y="461"/>
                  </a:lnTo>
                  <a:lnTo>
                    <a:pt x="684" y="466"/>
                  </a:lnTo>
                  <a:lnTo>
                    <a:pt x="723" y="373"/>
                  </a:lnTo>
                  <a:close/>
                </a:path>
              </a:pathLst>
            </a:custGeom>
            <a:solidFill>
              <a:srgbClr val="B8B8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1A68B2DA-2152-2B25-6799-B0BFBCD83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63275" y="2582863"/>
              <a:ext cx="171450" cy="169863"/>
            </a:xfrm>
            <a:custGeom>
              <a:avLst/>
              <a:gdLst>
                <a:gd name="T0" fmla="*/ 170 w 322"/>
                <a:gd name="T1" fmla="*/ 184 h 321"/>
                <a:gd name="T2" fmla="*/ 178 w 322"/>
                <a:gd name="T3" fmla="*/ 321 h 321"/>
                <a:gd name="T4" fmla="*/ 210 w 322"/>
                <a:gd name="T5" fmla="*/ 314 h 321"/>
                <a:gd name="T6" fmla="*/ 239 w 322"/>
                <a:gd name="T7" fmla="*/ 303 h 321"/>
                <a:gd name="T8" fmla="*/ 263 w 322"/>
                <a:gd name="T9" fmla="*/ 285 h 321"/>
                <a:gd name="T10" fmla="*/ 285 w 322"/>
                <a:gd name="T11" fmla="*/ 264 h 321"/>
                <a:gd name="T12" fmla="*/ 302 w 322"/>
                <a:gd name="T13" fmla="*/ 238 h 321"/>
                <a:gd name="T14" fmla="*/ 315 w 322"/>
                <a:gd name="T15" fmla="*/ 209 h 321"/>
                <a:gd name="T16" fmla="*/ 321 w 322"/>
                <a:gd name="T17" fmla="*/ 178 h 321"/>
                <a:gd name="T18" fmla="*/ 183 w 322"/>
                <a:gd name="T19" fmla="*/ 171 h 321"/>
                <a:gd name="T20" fmla="*/ 151 w 322"/>
                <a:gd name="T21" fmla="*/ 171 h 321"/>
                <a:gd name="T22" fmla="*/ 138 w 322"/>
                <a:gd name="T23" fmla="*/ 171 h 321"/>
                <a:gd name="T24" fmla="*/ 0 w 322"/>
                <a:gd name="T25" fmla="*/ 178 h 321"/>
                <a:gd name="T26" fmla="*/ 7 w 322"/>
                <a:gd name="T27" fmla="*/ 209 h 321"/>
                <a:gd name="T28" fmla="*/ 18 w 322"/>
                <a:gd name="T29" fmla="*/ 238 h 321"/>
                <a:gd name="T30" fmla="*/ 36 w 322"/>
                <a:gd name="T31" fmla="*/ 264 h 321"/>
                <a:gd name="T32" fmla="*/ 57 w 322"/>
                <a:gd name="T33" fmla="*/ 285 h 321"/>
                <a:gd name="T34" fmla="*/ 83 w 322"/>
                <a:gd name="T35" fmla="*/ 303 h 321"/>
                <a:gd name="T36" fmla="*/ 112 w 322"/>
                <a:gd name="T37" fmla="*/ 314 h 321"/>
                <a:gd name="T38" fmla="*/ 142 w 322"/>
                <a:gd name="T39" fmla="*/ 321 h 321"/>
                <a:gd name="T40" fmla="*/ 151 w 322"/>
                <a:gd name="T41" fmla="*/ 184 h 321"/>
                <a:gd name="T42" fmla="*/ 171 w 322"/>
                <a:gd name="T43" fmla="*/ 151 h 321"/>
                <a:gd name="T44" fmla="*/ 183 w 322"/>
                <a:gd name="T45" fmla="*/ 152 h 321"/>
                <a:gd name="T46" fmla="*/ 321 w 322"/>
                <a:gd name="T47" fmla="*/ 143 h 321"/>
                <a:gd name="T48" fmla="*/ 315 w 322"/>
                <a:gd name="T49" fmla="*/ 112 h 321"/>
                <a:gd name="T50" fmla="*/ 302 w 322"/>
                <a:gd name="T51" fmla="*/ 83 h 321"/>
                <a:gd name="T52" fmla="*/ 285 w 322"/>
                <a:gd name="T53" fmla="*/ 59 h 321"/>
                <a:gd name="T54" fmla="*/ 263 w 322"/>
                <a:gd name="T55" fmla="*/ 37 h 321"/>
                <a:gd name="T56" fmla="*/ 239 w 322"/>
                <a:gd name="T57" fmla="*/ 20 h 321"/>
                <a:gd name="T58" fmla="*/ 210 w 322"/>
                <a:gd name="T59" fmla="*/ 7 h 321"/>
                <a:gd name="T60" fmla="*/ 178 w 322"/>
                <a:gd name="T61" fmla="*/ 1 h 321"/>
                <a:gd name="T62" fmla="*/ 170 w 322"/>
                <a:gd name="T63" fmla="*/ 139 h 321"/>
                <a:gd name="T64" fmla="*/ 0 w 322"/>
                <a:gd name="T65" fmla="*/ 159 h 321"/>
                <a:gd name="T66" fmla="*/ 138 w 322"/>
                <a:gd name="T67" fmla="*/ 152 h 321"/>
                <a:gd name="T68" fmla="*/ 151 w 322"/>
                <a:gd name="T69" fmla="*/ 139 h 321"/>
                <a:gd name="T70" fmla="*/ 142 w 322"/>
                <a:gd name="T71" fmla="*/ 1 h 321"/>
                <a:gd name="T72" fmla="*/ 112 w 322"/>
                <a:gd name="T73" fmla="*/ 7 h 321"/>
                <a:gd name="T74" fmla="*/ 83 w 322"/>
                <a:gd name="T75" fmla="*/ 20 h 321"/>
                <a:gd name="T76" fmla="*/ 57 w 322"/>
                <a:gd name="T77" fmla="*/ 37 h 321"/>
                <a:gd name="T78" fmla="*/ 36 w 322"/>
                <a:gd name="T79" fmla="*/ 59 h 321"/>
                <a:gd name="T80" fmla="*/ 18 w 322"/>
                <a:gd name="T81" fmla="*/ 83 h 321"/>
                <a:gd name="T82" fmla="*/ 7 w 322"/>
                <a:gd name="T83" fmla="*/ 112 h 321"/>
                <a:gd name="T84" fmla="*/ 0 w 322"/>
                <a:gd name="T85" fmla="*/ 1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2" h="321">
                  <a:moveTo>
                    <a:pt x="171" y="171"/>
                  </a:moveTo>
                  <a:lnTo>
                    <a:pt x="170" y="184"/>
                  </a:lnTo>
                  <a:lnTo>
                    <a:pt x="162" y="321"/>
                  </a:lnTo>
                  <a:lnTo>
                    <a:pt x="178" y="321"/>
                  </a:lnTo>
                  <a:lnTo>
                    <a:pt x="194" y="319"/>
                  </a:lnTo>
                  <a:lnTo>
                    <a:pt x="210" y="314"/>
                  </a:lnTo>
                  <a:lnTo>
                    <a:pt x="224" y="308"/>
                  </a:lnTo>
                  <a:lnTo>
                    <a:pt x="239" y="303"/>
                  </a:lnTo>
                  <a:lnTo>
                    <a:pt x="252" y="294"/>
                  </a:lnTo>
                  <a:lnTo>
                    <a:pt x="263" y="285"/>
                  </a:lnTo>
                  <a:lnTo>
                    <a:pt x="275" y="274"/>
                  </a:lnTo>
                  <a:lnTo>
                    <a:pt x="285" y="264"/>
                  </a:lnTo>
                  <a:lnTo>
                    <a:pt x="295" y="251"/>
                  </a:lnTo>
                  <a:lnTo>
                    <a:pt x="302" y="238"/>
                  </a:lnTo>
                  <a:lnTo>
                    <a:pt x="309" y="224"/>
                  </a:lnTo>
                  <a:lnTo>
                    <a:pt x="315" y="209"/>
                  </a:lnTo>
                  <a:lnTo>
                    <a:pt x="318" y="194"/>
                  </a:lnTo>
                  <a:lnTo>
                    <a:pt x="321" y="178"/>
                  </a:lnTo>
                  <a:lnTo>
                    <a:pt x="322" y="162"/>
                  </a:lnTo>
                  <a:lnTo>
                    <a:pt x="183" y="171"/>
                  </a:lnTo>
                  <a:lnTo>
                    <a:pt x="171" y="171"/>
                  </a:lnTo>
                  <a:close/>
                  <a:moveTo>
                    <a:pt x="151" y="171"/>
                  </a:moveTo>
                  <a:lnTo>
                    <a:pt x="151" y="171"/>
                  </a:lnTo>
                  <a:lnTo>
                    <a:pt x="138" y="171"/>
                  </a:lnTo>
                  <a:lnTo>
                    <a:pt x="0" y="162"/>
                  </a:lnTo>
                  <a:lnTo>
                    <a:pt x="0" y="178"/>
                  </a:lnTo>
                  <a:lnTo>
                    <a:pt x="3" y="194"/>
                  </a:lnTo>
                  <a:lnTo>
                    <a:pt x="7" y="209"/>
                  </a:lnTo>
                  <a:lnTo>
                    <a:pt x="13" y="224"/>
                  </a:lnTo>
                  <a:lnTo>
                    <a:pt x="18" y="238"/>
                  </a:lnTo>
                  <a:lnTo>
                    <a:pt x="27" y="251"/>
                  </a:lnTo>
                  <a:lnTo>
                    <a:pt x="36" y="264"/>
                  </a:lnTo>
                  <a:lnTo>
                    <a:pt x="47" y="274"/>
                  </a:lnTo>
                  <a:lnTo>
                    <a:pt x="57" y="285"/>
                  </a:lnTo>
                  <a:lnTo>
                    <a:pt x="70" y="294"/>
                  </a:lnTo>
                  <a:lnTo>
                    <a:pt x="83" y="303"/>
                  </a:lnTo>
                  <a:lnTo>
                    <a:pt x="98" y="308"/>
                  </a:lnTo>
                  <a:lnTo>
                    <a:pt x="112" y="314"/>
                  </a:lnTo>
                  <a:lnTo>
                    <a:pt x="126" y="319"/>
                  </a:lnTo>
                  <a:lnTo>
                    <a:pt x="142" y="321"/>
                  </a:lnTo>
                  <a:lnTo>
                    <a:pt x="160" y="321"/>
                  </a:lnTo>
                  <a:lnTo>
                    <a:pt x="151" y="184"/>
                  </a:lnTo>
                  <a:lnTo>
                    <a:pt x="151" y="171"/>
                  </a:lnTo>
                  <a:close/>
                  <a:moveTo>
                    <a:pt x="171" y="151"/>
                  </a:moveTo>
                  <a:lnTo>
                    <a:pt x="171" y="151"/>
                  </a:lnTo>
                  <a:lnTo>
                    <a:pt x="183" y="152"/>
                  </a:lnTo>
                  <a:lnTo>
                    <a:pt x="322" y="159"/>
                  </a:lnTo>
                  <a:lnTo>
                    <a:pt x="321" y="143"/>
                  </a:lnTo>
                  <a:lnTo>
                    <a:pt x="318" y="128"/>
                  </a:lnTo>
                  <a:lnTo>
                    <a:pt x="315" y="112"/>
                  </a:lnTo>
                  <a:lnTo>
                    <a:pt x="309" y="97"/>
                  </a:lnTo>
                  <a:lnTo>
                    <a:pt x="302" y="83"/>
                  </a:lnTo>
                  <a:lnTo>
                    <a:pt x="295" y="70"/>
                  </a:lnTo>
                  <a:lnTo>
                    <a:pt x="285" y="59"/>
                  </a:lnTo>
                  <a:lnTo>
                    <a:pt x="275" y="47"/>
                  </a:lnTo>
                  <a:lnTo>
                    <a:pt x="263" y="37"/>
                  </a:lnTo>
                  <a:lnTo>
                    <a:pt x="252" y="27"/>
                  </a:lnTo>
                  <a:lnTo>
                    <a:pt x="239" y="20"/>
                  </a:lnTo>
                  <a:lnTo>
                    <a:pt x="224" y="13"/>
                  </a:lnTo>
                  <a:lnTo>
                    <a:pt x="210" y="7"/>
                  </a:lnTo>
                  <a:lnTo>
                    <a:pt x="194" y="4"/>
                  </a:lnTo>
                  <a:lnTo>
                    <a:pt x="178" y="1"/>
                  </a:lnTo>
                  <a:lnTo>
                    <a:pt x="162" y="0"/>
                  </a:lnTo>
                  <a:lnTo>
                    <a:pt x="170" y="139"/>
                  </a:lnTo>
                  <a:lnTo>
                    <a:pt x="171" y="151"/>
                  </a:lnTo>
                  <a:close/>
                  <a:moveTo>
                    <a:pt x="0" y="159"/>
                  </a:moveTo>
                  <a:lnTo>
                    <a:pt x="0" y="159"/>
                  </a:lnTo>
                  <a:lnTo>
                    <a:pt x="138" y="152"/>
                  </a:lnTo>
                  <a:lnTo>
                    <a:pt x="151" y="151"/>
                  </a:lnTo>
                  <a:lnTo>
                    <a:pt x="151" y="139"/>
                  </a:lnTo>
                  <a:lnTo>
                    <a:pt x="160" y="0"/>
                  </a:lnTo>
                  <a:lnTo>
                    <a:pt x="142" y="1"/>
                  </a:lnTo>
                  <a:lnTo>
                    <a:pt x="126" y="4"/>
                  </a:lnTo>
                  <a:lnTo>
                    <a:pt x="112" y="7"/>
                  </a:lnTo>
                  <a:lnTo>
                    <a:pt x="98" y="13"/>
                  </a:lnTo>
                  <a:lnTo>
                    <a:pt x="83" y="20"/>
                  </a:lnTo>
                  <a:lnTo>
                    <a:pt x="70" y="27"/>
                  </a:lnTo>
                  <a:lnTo>
                    <a:pt x="57" y="37"/>
                  </a:lnTo>
                  <a:lnTo>
                    <a:pt x="47" y="47"/>
                  </a:lnTo>
                  <a:lnTo>
                    <a:pt x="36" y="59"/>
                  </a:lnTo>
                  <a:lnTo>
                    <a:pt x="27" y="70"/>
                  </a:lnTo>
                  <a:lnTo>
                    <a:pt x="18" y="83"/>
                  </a:lnTo>
                  <a:lnTo>
                    <a:pt x="13" y="97"/>
                  </a:lnTo>
                  <a:lnTo>
                    <a:pt x="7" y="112"/>
                  </a:lnTo>
                  <a:lnTo>
                    <a:pt x="3" y="128"/>
                  </a:lnTo>
                  <a:lnTo>
                    <a:pt x="0" y="143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8CBCFA57-D499-C5A4-DCD9-D15BA3233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35250"/>
              <a:ext cx="65088" cy="31750"/>
            </a:xfrm>
            <a:custGeom>
              <a:avLst/>
              <a:gdLst>
                <a:gd name="T0" fmla="*/ 61 w 121"/>
                <a:gd name="T1" fmla="*/ 0 h 60"/>
                <a:gd name="T2" fmla="*/ 61 w 121"/>
                <a:gd name="T3" fmla="*/ 0 h 60"/>
                <a:gd name="T4" fmla="*/ 29 w 121"/>
                <a:gd name="T5" fmla="*/ 0 h 60"/>
                <a:gd name="T6" fmla="*/ 29 w 121"/>
                <a:gd name="T7" fmla="*/ 0 h 60"/>
                <a:gd name="T8" fmla="*/ 0 w 121"/>
                <a:gd name="T9" fmla="*/ 29 h 60"/>
                <a:gd name="T10" fmla="*/ 0 w 121"/>
                <a:gd name="T11" fmla="*/ 46 h 60"/>
                <a:gd name="T12" fmla="*/ 9 w 121"/>
                <a:gd name="T13" fmla="*/ 54 h 60"/>
                <a:gd name="T14" fmla="*/ 121 w 121"/>
                <a:gd name="T15" fmla="*/ 60 h 60"/>
                <a:gd name="T16" fmla="*/ 61 w 121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60">
                  <a:moveTo>
                    <a:pt x="61" y="0"/>
                  </a:moveTo>
                  <a:lnTo>
                    <a:pt x="6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46"/>
                  </a:lnTo>
                  <a:lnTo>
                    <a:pt x="9" y="54"/>
                  </a:lnTo>
                  <a:lnTo>
                    <a:pt x="121" y="6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5CAFA9FE-5995-FAA3-829B-BAD3C15C4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68588"/>
              <a:ext cx="65088" cy="31750"/>
            </a:xfrm>
            <a:custGeom>
              <a:avLst/>
              <a:gdLst>
                <a:gd name="T0" fmla="*/ 9 w 121"/>
                <a:gd name="T1" fmla="*/ 7 h 60"/>
                <a:gd name="T2" fmla="*/ 0 w 121"/>
                <a:gd name="T3" fmla="*/ 14 h 60"/>
                <a:gd name="T4" fmla="*/ 0 w 121"/>
                <a:gd name="T5" fmla="*/ 32 h 60"/>
                <a:gd name="T6" fmla="*/ 29 w 121"/>
                <a:gd name="T7" fmla="*/ 60 h 60"/>
                <a:gd name="T8" fmla="*/ 61 w 121"/>
                <a:gd name="T9" fmla="*/ 60 h 60"/>
                <a:gd name="T10" fmla="*/ 121 w 121"/>
                <a:gd name="T11" fmla="*/ 0 h 60"/>
                <a:gd name="T12" fmla="*/ 9 w 121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60">
                  <a:moveTo>
                    <a:pt x="9" y="7"/>
                  </a:moveTo>
                  <a:lnTo>
                    <a:pt x="0" y="14"/>
                  </a:lnTo>
                  <a:lnTo>
                    <a:pt x="0" y="32"/>
                  </a:lnTo>
                  <a:lnTo>
                    <a:pt x="29" y="60"/>
                  </a:lnTo>
                  <a:lnTo>
                    <a:pt x="61" y="60"/>
                  </a:lnTo>
                  <a:lnTo>
                    <a:pt x="121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4FB3DA4-F46C-7393-F8F5-80B572A2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35250"/>
              <a:ext cx="63500" cy="31750"/>
            </a:xfrm>
            <a:custGeom>
              <a:avLst/>
              <a:gdLst>
                <a:gd name="T0" fmla="*/ 59 w 119"/>
                <a:gd name="T1" fmla="*/ 0 h 60"/>
                <a:gd name="T2" fmla="*/ 59 w 119"/>
                <a:gd name="T3" fmla="*/ 0 h 60"/>
                <a:gd name="T4" fmla="*/ 92 w 119"/>
                <a:gd name="T5" fmla="*/ 0 h 60"/>
                <a:gd name="T6" fmla="*/ 92 w 119"/>
                <a:gd name="T7" fmla="*/ 0 h 60"/>
                <a:gd name="T8" fmla="*/ 119 w 119"/>
                <a:gd name="T9" fmla="*/ 29 h 60"/>
                <a:gd name="T10" fmla="*/ 119 w 119"/>
                <a:gd name="T11" fmla="*/ 46 h 60"/>
                <a:gd name="T12" fmla="*/ 112 w 119"/>
                <a:gd name="T13" fmla="*/ 54 h 60"/>
                <a:gd name="T14" fmla="*/ 0 w 119"/>
                <a:gd name="T15" fmla="*/ 60 h 60"/>
                <a:gd name="T16" fmla="*/ 59 w 119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60">
                  <a:moveTo>
                    <a:pt x="59" y="0"/>
                  </a:moveTo>
                  <a:lnTo>
                    <a:pt x="59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19" y="29"/>
                  </a:lnTo>
                  <a:lnTo>
                    <a:pt x="119" y="46"/>
                  </a:lnTo>
                  <a:lnTo>
                    <a:pt x="112" y="54"/>
                  </a:lnTo>
                  <a:lnTo>
                    <a:pt x="0" y="6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CC365492-0639-DB67-CAF8-885118405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68588"/>
              <a:ext cx="63500" cy="31750"/>
            </a:xfrm>
            <a:custGeom>
              <a:avLst/>
              <a:gdLst>
                <a:gd name="T0" fmla="*/ 112 w 119"/>
                <a:gd name="T1" fmla="*/ 7 h 60"/>
                <a:gd name="T2" fmla="*/ 119 w 119"/>
                <a:gd name="T3" fmla="*/ 14 h 60"/>
                <a:gd name="T4" fmla="*/ 119 w 119"/>
                <a:gd name="T5" fmla="*/ 32 h 60"/>
                <a:gd name="T6" fmla="*/ 90 w 119"/>
                <a:gd name="T7" fmla="*/ 60 h 60"/>
                <a:gd name="T8" fmla="*/ 60 w 119"/>
                <a:gd name="T9" fmla="*/ 60 h 60"/>
                <a:gd name="T10" fmla="*/ 0 w 119"/>
                <a:gd name="T11" fmla="*/ 0 h 60"/>
                <a:gd name="T12" fmla="*/ 112 w 119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60">
                  <a:moveTo>
                    <a:pt x="112" y="7"/>
                  </a:moveTo>
                  <a:lnTo>
                    <a:pt x="119" y="14"/>
                  </a:lnTo>
                  <a:lnTo>
                    <a:pt x="119" y="32"/>
                  </a:lnTo>
                  <a:lnTo>
                    <a:pt x="90" y="60"/>
                  </a:lnTo>
                  <a:lnTo>
                    <a:pt x="60" y="60"/>
                  </a:lnTo>
                  <a:lnTo>
                    <a:pt x="0" y="0"/>
                  </a:lnTo>
                  <a:lnTo>
                    <a:pt x="112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8823327-977F-71A1-F6F8-7ED3653F2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584450"/>
              <a:ext cx="33338" cy="63500"/>
            </a:xfrm>
            <a:custGeom>
              <a:avLst/>
              <a:gdLst>
                <a:gd name="T0" fmla="*/ 61 w 61"/>
                <a:gd name="T1" fmla="*/ 60 h 120"/>
                <a:gd name="T2" fmla="*/ 59 w 61"/>
                <a:gd name="T3" fmla="*/ 60 h 120"/>
                <a:gd name="T4" fmla="*/ 59 w 61"/>
                <a:gd name="T5" fmla="*/ 92 h 120"/>
                <a:gd name="T6" fmla="*/ 61 w 61"/>
                <a:gd name="T7" fmla="*/ 92 h 120"/>
                <a:gd name="T8" fmla="*/ 32 w 61"/>
                <a:gd name="T9" fmla="*/ 120 h 120"/>
                <a:gd name="T10" fmla="*/ 15 w 61"/>
                <a:gd name="T11" fmla="*/ 120 h 120"/>
                <a:gd name="T12" fmla="*/ 6 w 61"/>
                <a:gd name="T13" fmla="*/ 112 h 120"/>
                <a:gd name="T14" fmla="*/ 0 w 61"/>
                <a:gd name="T15" fmla="*/ 0 h 120"/>
                <a:gd name="T16" fmla="*/ 61 w 61"/>
                <a:gd name="T17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0"/>
                  </a:moveTo>
                  <a:lnTo>
                    <a:pt x="59" y="60"/>
                  </a:lnTo>
                  <a:lnTo>
                    <a:pt x="59" y="92"/>
                  </a:lnTo>
                  <a:lnTo>
                    <a:pt x="61" y="92"/>
                  </a:lnTo>
                  <a:lnTo>
                    <a:pt x="32" y="120"/>
                  </a:lnTo>
                  <a:lnTo>
                    <a:pt x="15" y="120"/>
                  </a:lnTo>
                  <a:lnTo>
                    <a:pt x="6" y="112"/>
                  </a:lnTo>
                  <a:lnTo>
                    <a:pt x="0" y="0"/>
                  </a:lnTo>
                  <a:lnTo>
                    <a:pt x="61" y="6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A070502B-1D7D-A90A-4B66-F1368334B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584450"/>
              <a:ext cx="33338" cy="63500"/>
            </a:xfrm>
            <a:custGeom>
              <a:avLst/>
              <a:gdLst>
                <a:gd name="T0" fmla="*/ 53 w 61"/>
                <a:gd name="T1" fmla="*/ 112 h 120"/>
                <a:gd name="T2" fmla="*/ 46 w 61"/>
                <a:gd name="T3" fmla="*/ 120 h 120"/>
                <a:gd name="T4" fmla="*/ 29 w 61"/>
                <a:gd name="T5" fmla="*/ 120 h 120"/>
                <a:gd name="T6" fmla="*/ 0 w 61"/>
                <a:gd name="T7" fmla="*/ 92 h 120"/>
                <a:gd name="T8" fmla="*/ 0 w 61"/>
                <a:gd name="T9" fmla="*/ 60 h 120"/>
                <a:gd name="T10" fmla="*/ 61 w 61"/>
                <a:gd name="T11" fmla="*/ 0 h 120"/>
                <a:gd name="T12" fmla="*/ 53 w 61"/>
                <a:gd name="T13" fmla="*/ 11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112"/>
                  </a:moveTo>
                  <a:lnTo>
                    <a:pt x="46" y="120"/>
                  </a:lnTo>
                  <a:lnTo>
                    <a:pt x="29" y="120"/>
                  </a:lnTo>
                  <a:lnTo>
                    <a:pt x="0" y="92"/>
                  </a:lnTo>
                  <a:lnTo>
                    <a:pt x="0" y="60"/>
                  </a:lnTo>
                  <a:lnTo>
                    <a:pt x="61" y="0"/>
                  </a:lnTo>
                  <a:lnTo>
                    <a:pt x="53" y="112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F2E26F5F-4D8F-9704-B65C-31B3D29D7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689225"/>
              <a:ext cx="33338" cy="63500"/>
            </a:xfrm>
            <a:custGeom>
              <a:avLst/>
              <a:gdLst>
                <a:gd name="T0" fmla="*/ 61 w 61"/>
                <a:gd name="T1" fmla="*/ 61 h 120"/>
                <a:gd name="T2" fmla="*/ 59 w 61"/>
                <a:gd name="T3" fmla="*/ 61 h 120"/>
                <a:gd name="T4" fmla="*/ 59 w 61"/>
                <a:gd name="T5" fmla="*/ 28 h 120"/>
                <a:gd name="T6" fmla="*/ 61 w 61"/>
                <a:gd name="T7" fmla="*/ 28 h 120"/>
                <a:gd name="T8" fmla="*/ 32 w 61"/>
                <a:gd name="T9" fmla="*/ 0 h 120"/>
                <a:gd name="T10" fmla="*/ 15 w 61"/>
                <a:gd name="T11" fmla="*/ 0 h 120"/>
                <a:gd name="T12" fmla="*/ 6 w 61"/>
                <a:gd name="T13" fmla="*/ 8 h 120"/>
                <a:gd name="T14" fmla="*/ 0 w 61"/>
                <a:gd name="T15" fmla="*/ 120 h 120"/>
                <a:gd name="T16" fmla="*/ 61 w 61"/>
                <a:gd name="T17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1"/>
                  </a:moveTo>
                  <a:lnTo>
                    <a:pt x="59" y="61"/>
                  </a:lnTo>
                  <a:lnTo>
                    <a:pt x="59" y="28"/>
                  </a:lnTo>
                  <a:lnTo>
                    <a:pt x="61" y="28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6" y="8"/>
                  </a:lnTo>
                  <a:lnTo>
                    <a:pt x="0" y="120"/>
                  </a:lnTo>
                  <a:lnTo>
                    <a:pt x="61" y="61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EF42C38A-2B1C-7116-029F-45741B7F1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689225"/>
              <a:ext cx="33338" cy="63500"/>
            </a:xfrm>
            <a:custGeom>
              <a:avLst/>
              <a:gdLst>
                <a:gd name="T0" fmla="*/ 53 w 61"/>
                <a:gd name="T1" fmla="*/ 8 h 120"/>
                <a:gd name="T2" fmla="*/ 46 w 61"/>
                <a:gd name="T3" fmla="*/ 0 h 120"/>
                <a:gd name="T4" fmla="*/ 29 w 61"/>
                <a:gd name="T5" fmla="*/ 0 h 120"/>
                <a:gd name="T6" fmla="*/ 0 w 61"/>
                <a:gd name="T7" fmla="*/ 29 h 120"/>
                <a:gd name="T8" fmla="*/ 0 w 61"/>
                <a:gd name="T9" fmla="*/ 59 h 120"/>
                <a:gd name="T10" fmla="*/ 61 w 61"/>
                <a:gd name="T11" fmla="*/ 120 h 120"/>
                <a:gd name="T12" fmla="*/ 53 w 61"/>
                <a:gd name="T13" fmla="*/ 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8"/>
                  </a:moveTo>
                  <a:lnTo>
                    <a:pt x="46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59"/>
                  </a:lnTo>
                  <a:lnTo>
                    <a:pt x="61" y="120"/>
                  </a:lnTo>
                  <a:lnTo>
                    <a:pt x="53" y="8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2" name="Skupina 1061">
            <a:extLst>
              <a:ext uri="{FF2B5EF4-FFF2-40B4-BE49-F238E27FC236}">
                <a16:creationId xmlns:a16="http://schemas.microsoft.com/office/drawing/2014/main" id="{A42A0414-D3E2-E604-DBB5-CBD2EE97453E}"/>
              </a:ext>
            </a:extLst>
          </p:cNvPr>
          <p:cNvGrpSpPr/>
          <p:nvPr/>
        </p:nvGrpSpPr>
        <p:grpSpPr>
          <a:xfrm>
            <a:off x="10363200" y="785813"/>
            <a:ext cx="1371600" cy="536575"/>
            <a:chOff x="10363200" y="785813"/>
            <a:chExt cx="1371600" cy="536575"/>
          </a:xfrm>
        </p:grpSpPr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02EE8710-E01C-B596-38DD-969506914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0250" y="879475"/>
              <a:ext cx="844550" cy="401638"/>
            </a:xfrm>
            <a:custGeom>
              <a:avLst/>
              <a:gdLst>
                <a:gd name="T0" fmla="*/ 950 w 1597"/>
                <a:gd name="T1" fmla="*/ 308 h 758"/>
                <a:gd name="T2" fmla="*/ 827 w 1597"/>
                <a:gd name="T3" fmla="*/ 308 h 758"/>
                <a:gd name="T4" fmla="*/ 707 w 1597"/>
                <a:gd name="T5" fmla="*/ 297 h 758"/>
                <a:gd name="T6" fmla="*/ 660 w 1597"/>
                <a:gd name="T7" fmla="*/ 309 h 758"/>
                <a:gd name="T8" fmla="*/ 688 w 1597"/>
                <a:gd name="T9" fmla="*/ 510 h 758"/>
                <a:gd name="T10" fmla="*/ 713 w 1597"/>
                <a:gd name="T11" fmla="*/ 473 h 758"/>
                <a:gd name="T12" fmla="*/ 727 w 1597"/>
                <a:gd name="T13" fmla="*/ 506 h 758"/>
                <a:gd name="T14" fmla="*/ 765 w 1597"/>
                <a:gd name="T15" fmla="*/ 359 h 758"/>
                <a:gd name="T16" fmla="*/ 599 w 1597"/>
                <a:gd name="T17" fmla="*/ 308 h 758"/>
                <a:gd name="T18" fmla="*/ 418 w 1597"/>
                <a:gd name="T19" fmla="*/ 507 h 758"/>
                <a:gd name="T20" fmla="*/ 350 w 1597"/>
                <a:gd name="T21" fmla="*/ 473 h 758"/>
                <a:gd name="T22" fmla="*/ 170 w 1597"/>
                <a:gd name="T23" fmla="*/ 308 h 758"/>
                <a:gd name="T24" fmla="*/ 97 w 1597"/>
                <a:gd name="T25" fmla="*/ 471 h 758"/>
                <a:gd name="T26" fmla="*/ 20 w 1597"/>
                <a:gd name="T27" fmla="*/ 389 h 758"/>
                <a:gd name="T28" fmla="*/ 61 w 1597"/>
                <a:gd name="T29" fmla="*/ 339 h 758"/>
                <a:gd name="T30" fmla="*/ 117 w 1597"/>
                <a:gd name="T31" fmla="*/ 411 h 758"/>
                <a:gd name="T32" fmla="*/ 45 w 1597"/>
                <a:gd name="T33" fmla="*/ 454 h 758"/>
                <a:gd name="T34" fmla="*/ 10 w 1597"/>
                <a:gd name="T35" fmla="*/ 484 h 758"/>
                <a:gd name="T36" fmla="*/ 85 w 1597"/>
                <a:gd name="T37" fmla="*/ 339 h 758"/>
                <a:gd name="T38" fmla="*/ 386 w 1597"/>
                <a:gd name="T39" fmla="*/ 244 h 758"/>
                <a:gd name="T40" fmla="*/ 295 w 1597"/>
                <a:gd name="T41" fmla="*/ 61 h 758"/>
                <a:gd name="T42" fmla="*/ 207 w 1597"/>
                <a:gd name="T43" fmla="*/ 114 h 758"/>
                <a:gd name="T44" fmla="*/ 189 w 1597"/>
                <a:gd name="T45" fmla="*/ 193 h 758"/>
                <a:gd name="T46" fmla="*/ 46 w 1597"/>
                <a:gd name="T47" fmla="*/ 101 h 758"/>
                <a:gd name="T48" fmla="*/ 1387 w 1597"/>
                <a:gd name="T49" fmla="*/ 708 h 758"/>
                <a:gd name="T50" fmla="*/ 1339 w 1597"/>
                <a:gd name="T51" fmla="*/ 718 h 758"/>
                <a:gd name="T52" fmla="*/ 1251 w 1597"/>
                <a:gd name="T53" fmla="*/ 628 h 758"/>
                <a:gd name="T54" fmla="*/ 1295 w 1597"/>
                <a:gd name="T55" fmla="*/ 590 h 758"/>
                <a:gd name="T56" fmla="*/ 1359 w 1597"/>
                <a:gd name="T57" fmla="*/ 661 h 758"/>
                <a:gd name="T58" fmla="*/ 1286 w 1597"/>
                <a:gd name="T59" fmla="*/ 708 h 758"/>
                <a:gd name="T60" fmla="*/ 1244 w 1597"/>
                <a:gd name="T61" fmla="*/ 723 h 758"/>
                <a:gd name="T62" fmla="*/ 1319 w 1597"/>
                <a:gd name="T63" fmla="*/ 586 h 758"/>
                <a:gd name="T64" fmla="*/ 1218 w 1597"/>
                <a:gd name="T65" fmla="*/ 593 h 758"/>
                <a:gd name="T66" fmla="*/ 1174 w 1597"/>
                <a:gd name="T67" fmla="*/ 707 h 758"/>
                <a:gd name="T68" fmla="*/ 1220 w 1597"/>
                <a:gd name="T69" fmla="*/ 701 h 758"/>
                <a:gd name="T70" fmla="*/ 1138 w 1597"/>
                <a:gd name="T71" fmla="*/ 586 h 758"/>
                <a:gd name="T72" fmla="*/ 1097 w 1597"/>
                <a:gd name="T73" fmla="*/ 743 h 758"/>
                <a:gd name="T74" fmla="*/ 903 w 1597"/>
                <a:gd name="T75" fmla="*/ 556 h 758"/>
                <a:gd name="T76" fmla="*/ 860 w 1597"/>
                <a:gd name="T77" fmla="*/ 516 h 758"/>
                <a:gd name="T78" fmla="*/ 765 w 1597"/>
                <a:gd name="T79" fmla="*/ 560 h 758"/>
                <a:gd name="T80" fmla="*/ 804 w 1597"/>
                <a:gd name="T81" fmla="*/ 727 h 758"/>
                <a:gd name="T82" fmla="*/ 822 w 1597"/>
                <a:gd name="T83" fmla="*/ 725 h 758"/>
                <a:gd name="T84" fmla="*/ 854 w 1597"/>
                <a:gd name="T85" fmla="*/ 750 h 758"/>
                <a:gd name="T86" fmla="*/ 880 w 1597"/>
                <a:gd name="T87" fmla="*/ 595 h 758"/>
                <a:gd name="T88" fmla="*/ 814 w 1597"/>
                <a:gd name="T89" fmla="*/ 552 h 758"/>
                <a:gd name="T90" fmla="*/ 661 w 1597"/>
                <a:gd name="T91" fmla="*/ 556 h 758"/>
                <a:gd name="T92" fmla="*/ 523 w 1597"/>
                <a:gd name="T93" fmla="*/ 636 h 758"/>
                <a:gd name="T94" fmla="*/ 536 w 1597"/>
                <a:gd name="T95" fmla="*/ 593 h 758"/>
                <a:gd name="T96" fmla="*/ 590 w 1597"/>
                <a:gd name="T97" fmla="*/ 596 h 758"/>
                <a:gd name="T98" fmla="*/ 454 w 1597"/>
                <a:gd name="T99" fmla="*/ 556 h 758"/>
                <a:gd name="T100" fmla="*/ 301 w 1597"/>
                <a:gd name="T101" fmla="*/ 720 h 758"/>
                <a:gd name="T102" fmla="*/ 216 w 1597"/>
                <a:gd name="T103" fmla="*/ 556 h 758"/>
                <a:gd name="T104" fmla="*/ 282 w 1597"/>
                <a:gd name="T105" fmla="*/ 589 h 758"/>
                <a:gd name="T106" fmla="*/ 89 w 1597"/>
                <a:gd name="T107" fmla="*/ 633 h 758"/>
                <a:gd name="T108" fmla="*/ 76 w 1597"/>
                <a:gd name="T109" fmla="*/ 589 h 758"/>
                <a:gd name="T110" fmla="*/ 143 w 1597"/>
                <a:gd name="T111" fmla="*/ 626 h 758"/>
                <a:gd name="T112" fmla="*/ 147 w 1597"/>
                <a:gd name="T113" fmla="*/ 691 h 758"/>
                <a:gd name="T114" fmla="*/ 82 w 1597"/>
                <a:gd name="T115" fmla="*/ 721 h 758"/>
                <a:gd name="T116" fmla="*/ 86 w 1597"/>
                <a:gd name="T117" fmla="*/ 67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7" h="758">
                  <a:moveTo>
                    <a:pt x="982" y="297"/>
                  </a:moveTo>
                  <a:lnTo>
                    <a:pt x="953" y="297"/>
                  </a:lnTo>
                  <a:lnTo>
                    <a:pt x="976" y="267"/>
                  </a:lnTo>
                  <a:lnTo>
                    <a:pt x="1028" y="267"/>
                  </a:lnTo>
                  <a:lnTo>
                    <a:pt x="982" y="297"/>
                  </a:lnTo>
                  <a:close/>
                  <a:moveTo>
                    <a:pt x="1597" y="754"/>
                  </a:moveTo>
                  <a:lnTo>
                    <a:pt x="1597" y="556"/>
                  </a:lnTo>
                  <a:lnTo>
                    <a:pt x="1551" y="556"/>
                  </a:lnTo>
                  <a:lnTo>
                    <a:pt x="1551" y="556"/>
                  </a:lnTo>
                  <a:lnTo>
                    <a:pt x="1551" y="754"/>
                  </a:lnTo>
                  <a:lnTo>
                    <a:pt x="1597" y="754"/>
                  </a:lnTo>
                  <a:close/>
                  <a:moveTo>
                    <a:pt x="950" y="308"/>
                  </a:moveTo>
                  <a:lnTo>
                    <a:pt x="950" y="308"/>
                  </a:lnTo>
                  <a:lnTo>
                    <a:pt x="998" y="308"/>
                  </a:lnTo>
                  <a:lnTo>
                    <a:pt x="998" y="507"/>
                  </a:lnTo>
                  <a:lnTo>
                    <a:pt x="950" y="507"/>
                  </a:lnTo>
                  <a:lnTo>
                    <a:pt x="950" y="308"/>
                  </a:lnTo>
                  <a:close/>
                  <a:moveTo>
                    <a:pt x="889" y="308"/>
                  </a:moveTo>
                  <a:lnTo>
                    <a:pt x="889" y="308"/>
                  </a:lnTo>
                  <a:lnTo>
                    <a:pt x="932" y="308"/>
                  </a:lnTo>
                  <a:lnTo>
                    <a:pt x="932" y="507"/>
                  </a:lnTo>
                  <a:lnTo>
                    <a:pt x="889" y="507"/>
                  </a:lnTo>
                  <a:lnTo>
                    <a:pt x="889" y="308"/>
                  </a:lnTo>
                  <a:close/>
                  <a:moveTo>
                    <a:pt x="785" y="308"/>
                  </a:moveTo>
                  <a:lnTo>
                    <a:pt x="785" y="308"/>
                  </a:lnTo>
                  <a:lnTo>
                    <a:pt x="827" y="308"/>
                  </a:lnTo>
                  <a:lnTo>
                    <a:pt x="827" y="507"/>
                  </a:lnTo>
                  <a:lnTo>
                    <a:pt x="785" y="507"/>
                  </a:lnTo>
                  <a:lnTo>
                    <a:pt x="785" y="308"/>
                  </a:lnTo>
                  <a:close/>
                  <a:moveTo>
                    <a:pt x="883" y="425"/>
                  </a:moveTo>
                  <a:lnTo>
                    <a:pt x="883" y="425"/>
                  </a:lnTo>
                  <a:lnTo>
                    <a:pt x="883" y="493"/>
                  </a:lnTo>
                  <a:lnTo>
                    <a:pt x="832" y="392"/>
                  </a:lnTo>
                  <a:lnTo>
                    <a:pt x="832" y="323"/>
                  </a:lnTo>
                  <a:lnTo>
                    <a:pt x="883" y="425"/>
                  </a:lnTo>
                  <a:close/>
                  <a:moveTo>
                    <a:pt x="707" y="267"/>
                  </a:moveTo>
                  <a:lnTo>
                    <a:pt x="707" y="267"/>
                  </a:lnTo>
                  <a:lnTo>
                    <a:pt x="745" y="267"/>
                  </a:lnTo>
                  <a:lnTo>
                    <a:pt x="707" y="297"/>
                  </a:lnTo>
                  <a:lnTo>
                    <a:pt x="678" y="297"/>
                  </a:lnTo>
                  <a:lnTo>
                    <a:pt x="641" y="267"/>
                  </a:lnTo>
                  <a:lnTo>
                    <a:pt x="680" y="267"/>
                  </a:lnTo>
                  <a:lnTo>
                    <a:pt x="693" y="280"/>
                  </a:lnTo>
                  <a:lnTo>
                    <a:pt x="707" y="267"/>
                  </a:lnTo>
                  <a:close/>
                  <a:moveTo>
                    <a:pt x="624" y="358"/>
                  </a:moveTo>
                  <a:lnTo>
                    <a:pt x="624" y="358"/>
                  </a:lnTo>
                  <a:lnTo>
                    <a:pt x="625" y="346"/>
                  </a:lnTo>
                  <a:lnTo>
                    <a:pt x="628" y="335"/>
                  </a:lnTo>
                  <a:lnTo>
                    <a:pt x="632" y="326"/>
                  </a:lnTo>
                  <a:lnTo>
                    <a:pt x="639" y="319"/>
                  </a:lnTo>
                  <a:lnTo>
                    <a:pt x="649" y="313"/>
                  </a:lnTo>
                  <a:lnTo>
                    <a:pt x="660" y="309"/>
                  </a:lnTo>
                  <a:lnTo>
                    <a:pt x="673" y="305"/>
                  </a:lnTo>
                  <a:lnTo>
                    <a:pt x="688" y="303"/>
                  </a:lnTo>
                  <a:lnTo>
                    <a:pt x="688" y="336"/>
                  </a:lnTo>
                  <a:lnTo>
                    <a:pt x="681" y="339"/>
                  </a:lnTo>
                  <a:lnTo>
                    <a:pt x="675" y="342"/>
                  </a:lnTo>
                  <a:lnTo>
                    <a:pt x="671" y="348"/>
                  </a:lnTo>
                  <a:lnTo>
                    <a:pt x="670" y="356"/>
                  </a:lnTo>
                  <a:lnTo>
                    <a:pt x="670" y="460"/>
                  </a:lnTo>
                  <a:lnTo>
                    <a:pt x="671" y="467"/>
                  </a:lnTo>
                  <a:lnTo>
                    <a:pt x="675" y="473"/>
                  </a:lnTo>
                  <a:lnTo>
                    <a:pt x="681" y="477"/>
                  </a:lnTo>
                  <a:lnTo>
                    <a:pt x="688" y="478"/>
                  </a:lnTo>
                  <a:lnTo>
                    <a:pt x="688" y="510"/>
                  </a:lnTo>
                  <a:lnTo>
                    <a:pt x="673" y="509"/>
                  </a:lnTo>
                  <a:lnTo>
                    <a:pt x="660" y="506"/>
                  </a:lnTo>
                  <a:lnTo>
                    <a:pt x="648" y="501"/>
                  </a:lnTo>
                  <a:lnTo>
                    <a:pt x="639" y="494"/>
                  </a:lnTo>
                  <a:lnTo>
                    <a:pt x="632" y="487"/>
                  </a:lnTo>
                  <a:lnTo>
                    <a:pt x="628" y="477"/>
                  </a:lnTo>
                  <a:lnTo>
                    <a:pt x="625" y="465"/>
                  </a:lnTo>
                  <a:lnTo>
                    <a:pt x="624" y="453"/>
                  </a:lnTo>
                  <a:lnTo>
                    <a:pt x="624" y="358"/>
                  </a:lnTo>
                  <a:close/>
                  <a:moveTo>
                    <a:pt x="697" y="478"/>
                  </a:moveTo>
                  <a:lnTo>
                    <a:pt x="697" y="478"/>
                  </a:lnTo>
                  <a:lnTo>
                    <a:pt x="707" y="477"/>
                  </a:lnTo>
                  <a:lnTo>
                    <a:pt x="713" y="473"/>
                  </a:lnTo>
                  <a:lnTo>
                    <a:pt x="714" y="470"/>
                  </a:lnTo>
                  <a:lnTo>
                    <a:pt x="717" y="467"/>
                  </a:lnTo>
                  <a:lnTo>
                    <a:pt x="717" y="464"/>
                  </a:lnTo>
                  <a:lnTo>
                    <a:pt x="717" y="460"/>
                  </a:lnTo>
                  <a:lnTo>
                    <a:pt x="717" y="432"/>
                  </a:lnTo>
                  <a:lnTo>
                    <a:pt x="765" y="432"/>
                  </a:lnTo>
                  <a:lnTo>
                    <a:pt x="765" y="453"/>
                  </a:lnTo>
                  <a:lnTo>
                    <a:pt x="765" y="465"/>
                  </a:lnTo>
                  <a:lnTo>
                    <a:pt x="760" y="477"/>
                  </a:lnTo>
                  <a:lnTo>
                    <a:pt x="756" y="487"/>
                  </a:lnTo>
                  <a:lnTo>
                    <a:pt x="749" y="496"/>
                  </a:lnTo>
                  <a:lnTo>
                    <a:pt x="739" y="501"/>
                  </a:lnTo>
                  <a:lnTo>
                    <a:pt x="727" y="506"/>
                  </a:lnTo>
                  <a:lnTo>
                    <a:pt x="713" y="509"/>
                  </a:lnTo>
                  <a:lnTo>
                    <a:pt x="697" y="510"/>
                  </a:lnTo>
                  <a:lnTo>
                    <a:pt x="697" y="478"/>
                  </a:lnTo>
                  <a:close/>
                  <a:moveTo>
                    <a:pt x="697" y="303"/>
                  </a:moveTo>
                  <a:lnTo>
                    <a:pt x="697" y="303"/>
                  </a:lnTo>
                  <a:lnTo>
                    <a:pt x="714" y="305"/>
                  </a:lnTo>
                  <a:lnTo>
                    <a:pt x="727" y="308"/>
                  </a:lnTo>
                  <a:lnTo>
                    <a:pt x="739" y="312"/>
                  </a:lnTo>
                  <a:lnTo>
                    <a:pt x="749" y="318"/>
                  </a:lnTo>
                  <a:lnTo>
                    <a:pt x="756" y="325"/>
                  </a:lnTo>
                  <a:lnTo>
                    <a:pt x="760" y="335"/>
                  </a:lnTo>
                  <a:lnTo>
                    <a:pt x="765" y="346"/>
                  </a:lnTo>
                  <a:lnTo>
                    <a:pt x="765" y="359"/>
                  </a:lnTo>
                  <a:lnTo>
                    <a:pt x="765" y="378"/>
                  </a:lnTo>
                  <a:lnTo>
                    <a:pt x="717" y="378"/>
                  </a:lnTo>
                  <a:lnTo>
                    <a:pt x="717" y="356"/>
                  </a:lnTo>
                  <a:lnTo>
                    <a:pt x="717" y="352"/>
                  </a:lnTo>
                  <a:lnTo>
                    <a:pt x="717" y="348"/>
                  </a:lnTo>
                  <a:lnTo>
                    <a:pt x="714" y="345"/>
                  </a:lnTo>
                  <a:lnTo>
                    <a:pt x="713" y="342"/>
                  </a:lnTo>
                  <a:lnTo>
                    <a:pt x="707" y="338"/>
                  </a:lnTo>
                  <a:lnTo>
                    <a:pt x="697" y="336"/>
                  </a:lnTo>
                  <a:lnTo>
                    <a:pt x="697" y="303"/>
                  </a:lnTo>
                  <a:close/>
                  <a:moveTo>
                    <a:pt x="552" y="308"/>
                  </a:moveTo>
                  <a:lnTo>
                    <a:pt x="552" y="308"/>
                  </a:lnTo>
                  <a:lnTo>
                    <a:pt x="599" y="308"/>
                  </a:lnTo>
                  <a:lnTo>
                    <a:pt x="599" y="507"/>
                  </a:lnTo>
                  <a:lnTo>
                    <a:pt x="552" y="507"/>
                  </a:lnTo>
                  <a:lnTo>
                    <a:pt x="552" y="308"/>
                  </a:lnTo>
                  <a:close/>
                  <a:moveTo>
                    <a:pt x="480" y="308"/>
                  </a:moveTo>
                  <a:lnTo>
                    <a:pt x="480" y="308"/>
                  </a:lnTo>
                  <a:lnTo>
                    <a:pt x="523" y="308"/>
                  </a:lnTo>
                  <a:lnTo>
                    <a:pt x="523" y="507"/>
                  </a:lnTo>
                  <a:lnTo>
                    <a:pt x="480" y="507"/>
                  </a:lnTo>
                  <a:lnTo>
                    <a:pt x="480" y="308"/>
                  </a:lnTo>
                  <a:close/>
                  <a:moveTo>
                    <a:pt x="376" y="308"/>
                  </a:moveTo>
                  <a:lnTo>
                    <a:pt x="376" y="308"/>
                  </a:lnTo>
                  <a:lnTo>
                    <a:pt x="418" y="308"/>
                  </a:lnTo>
                  <a:lnTo>
                    <a:pt x="418" y="507"/>
                  </a:lnTo>
                  <a:lnTo>
                    <a:pt x="376" y="507"/>
                  </a:lnTo>
                  <a:lnTo>
                    <a:pt x="376" y="308"/>
                  </a:lnTo>
                  <a:close/>
                  <a:moveTo>
                    <a:pt x="474" y="425"/>
                  </a:moveTo>
                  <a:lnTo>
                    <a:pt x="474" y="425"/>
                  </a:lnTo>
                  <a:lnTo>
                    <a:pt x="474" y="493"/>
                  </a:lnTo>
                  <a:lnTo>
                    <a:pt x="423" y="392"/>
                  </a:lnTo>
                  <a:lnTo>
                    <a:pt x="423" y="323"/>
                  </a:lnTo>
                  <a:lnTo>
                    <a:pt x="474" y="425"/>
                  </a:lnTo>
                  <a:close/>
                  <a:moveTo>
                    <a:pt x="350" y="507"/>
                  </a:moveTo>
                  <a:lnTo>
                    <a:pt x="350" y="507"/>
                  </a:lnTo>
                  <a:lnTo>
                    <a:pt x="297" y="507"/>
                  </a:lnTo>
                  <a:lnTo>
                    <a:pt x="297" y="473"/>
                  </a:lnTo>
                  <a:lnTo>
                    <a:pt x="350" y="473"/>
                  </a:lnTo>
                  <a:lnTo>
                    <a:pt x="350" y="507"/>
                  </a:lnTo>
                  <a:close/>
                  <a:moveTo>
                    <a:pt x="242" y="308"/>
                  </a:moveTo>
                  <a:lnTo>
                    <a:pt x="242" y="308"/>
                  </a:lnTo>
                  <a:lnTo>
                    <a:pt x="288" y="308"/>
                  </a:lnTo>
                  <a:lnTo>
                    <a:pt x="288" y="507"/>
                  </a:lnTo>
                  <a:lnTo>
                    <a:pt x="242" y="507"/>
                  </a:lnTo>
                  <a:lnTo>
                    <a:pt x="242" y="308"/>
                  </a:lnTo>
                  <a:close/>
                  <a:moveTo>
                    <a:pt x="170" y="308"/>
                  </a:moveTo>
                  <a:lnTo>
                    <a:pt x="170" y="308"/>
                  </a:lnTo>
                  <a:lnTo>
                    <a:pt x="217" y="308"/>
                  </a:lnTo>
                  <a:lnTo>
                    <a:pt x="217" y="507"/>
                  </a:lnTo>
                  <a:lnTo>
                    <a:pt x="170" y="507"/>
                  </a:lnTo>
                  <a:lnTo>
                    <a:pt x="170" y="308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7" y="471"/>
                  </a:lnTo>
                  <a:lnTo>
                    <a:pt x="144" y="481"/>
                  </a:lnTo>
                  <a:lnTo>
                    <a:pt x="138" y="490"/>
                  </a:lnTo>
                  <a:lnTo>
                    <a:pt x="131" y="497"/>
                  </a:lnTo>
                  <a:lnTo>
                    <a:pt x="121" y="503"/>
                  </a:lnTo>
                  <a:lnTo>
                    <a:pt x="109" y="507"/>
                  </a:lnTo>
                  <a:lnTo>
                    <a:pt x="97" y="510"/>
                  </a:lnTo>
                  <a:lnTo>
                    <a:pt x="81" y="510"/>
                  </a:lnTo>
                  <a:lnTo>
                    <a:pt x="81" y="477"/>
                  </a:lnTo>
                  <a:lnTo>
                    <a:pt x="91" y="476"/>
                  </a:lnTo>
                  <a:lnTo>
                    <a:pt x="97" y="471"/>
                  </a:lnTo>
                  <a:lnTo>
                    <a:pt x="99" y="470"/>
                  </a:lnTo>
                  <a:lnTo>
                    <a:pt x="101" y="467"/>
                  </a:lnTo>
                  <a:lnTo>
                    <a:pt x="102" y="464"/>
                  </a:lnTo>
                  <a:lnTo>
                    <a:pt x="102" y="461"/>
                  </a:lnTo>
                  <a:lnTo>
                    <a:pt x="101" y="455"/>
                  </a:lnTo>
                  <a:lnTo>
                    <a:pt x="99" y="451"/>
                  </a:lnTo>
                  <a:lnTo>
                    <a:pt x="95" y="447"/>
                  </a:lnTo>
                  <a:lnTo>
                    <a:pt x="91" y="443"/>
                  </a:lnTo>
                  <a:lnTo>
                    <a:pt x="75" y="430"/>
                  </a:lnTo>
                  <a:lnTo>
                    <a:pt x="59" y="418"/>
                  </a:lnTo>
                  <a:lnTo>
                    <a:pt x="43" y="408"/>
                  </a:lnTo>
                  <a:lnTo>
                    <a:pt x="29" y="398"/>
                  </a:lnTo>
                  <a:lnTo>
                    <a:pt x="20" y="389"/>
                  </a:lnTo>
                  <a:lnTo>
                    <a:pt x="13" y="379"/>
                  </a:lnTo>
                  <a:lnTo>
                    <a:pt x="7" y="368"/>
                  </a:lnTo>
                  <a:lnTo>
                    <a:pt x="4" y="356"/>
                  </a:lnTo>
                  <a:lnTo>
                    <a:pt x="6" y="345"/>
                  </a:lnTo>
                  <a:lnTo>
                    <a:pt x="9" y="333"/>
                  </a:lnTo>
                  <a:lnTo>
                    <a:pt x="13" y="326"/>
                  </a:lnTo>
                  <a:lnTo>
                    <a:pt x="20" y="319"/>
                  </a:lnTo>
                  <a:lnTo>
                    <a:pt x="30" y="313"/>
                  </a:lnTo>
                  <a:lnTo>
                    <a:pt x="40" y="309"/>
                  </a:lnTo>
                  <a:lnTo>
                    <a:pt x="53" y="306"/>
                  </a:lnTo>
                  <a:lnTo>
                    <a:pt x="69" y="305"/>
                  </a:lnTo>
                  <a:lnTo>
                    <a:pt x="69" y="338"/>
                  </a:lnTo>
                  <a:lnTo>
                    <a:pt x="61" y="339"/>
                  </a:lnTo>
                  <a:lnTo>
                    <a:pt x="55" y="342"/>
                  </a:lnTo>
                  <a:lnTo>
                    <a:pt x="52" y="348"/>
                  </a:lnTo>
                  <a:lnTo>
                    <a:pt x="50" y="353"/>
                  </a:lnTo>
                  <a:lnTo>
                    <a:pt x="50" y="358"/>
                  </a:lnTo>
                  <a:lnTo>
                    <a:pt x="50" y="364"/>
                  </a:lnTo>
                  <a:lnTo>
                    <a:pt x="53" y="366"/>
                  </a:lnTo>
                  <a:lnTo>
                    <a:pt x="56" y="369"/>
                  </a:lnTo>
                  <a:lnTo>
                    <a:pt x="73" y="381"/>
                  </a:lnTo>
                  <a:lnTo>
                    <a:pt x="86" y="391"/>
                  </a:lnTo>
                  <a:lnTo>
                    <a:pt x="98" y="398"/>
                  </a:lnTo>
                  <a:lnTo>
                    <a:pt x="107" y="404"/>
                  </a:lnTo>
                  <a:lnTo>
                    <a:pt x="112" y="408"/>
                  </a:lnTo>
                  <a:lnTo>
                    <a:pt x="117" y="411"/>
                  </a:lnTo>
                  <a:lnTo>
                    <a:pt x="120" y="414"/>
                  </a:lnTo>
                  <a:lnTo>
                    <a:pt x="121" y="414"/>
                  </a:lnTo>
                  <a:lnTo>
                    <a:pt x="128" y="420"/>
                  </a:lnTo>
                  <a:lnTo>
                    <a:pt x="133" y="424"/>
                  </a:lnTo>
                  <a:lnTo>
                    <a:pt x="137" y="430"/>
                  </a:lnTo>
                  <a:lnTo>
                    <a:pt x="141" y="435"/>
                  </a:lnTo>
                  <a:lnTo>
                    <a:pt x="144" y="441"/>
                  </a:lnTo>
                  <a:lnTo>
                    <a:pt x="145" y="447"/>
                  </a:lnTo>
                  <a:lnTo>
                    <a:pt x="147" y="454"/>
                  </a:lnTo>
                  <a:lnTo>
                    <a:pt x="148" y="460"/>
                  </a:lnTo>
                  <a:close/>
                  <a:moveTo>
                    <a:pt x="45" y="448"/>
                  </a:moveTo>
                  <a:lnTo>
                    <a:pt x="45" y="448"/>
                  </a:lnTo>
                  <a:lnTo>
                    <a:pt x="45" y="454"/>
                  </a:lnTo>
                  <a:lnTo>
                    <a:pt x="46" y="460"/>
                  </a:lnTo>
                  <a:lnTo>
                    <a:pt x="48" y="464"/>
                  </a:lnTo>
                  <a:lnTo>
                    <a:pt x="50" y="468"/>
                  </a:lnTo>
                  <a:lnTo>
                    <a:pt x="55" y="471"/>
                  </a:lnTo>
                  <a:lnTo>
                    <a:pt x="59" y="474"/>
                  </a:lnTo>
                  <a:lnTo>
                    <a:pt x="63" y="476"/>
                  </a:lnTo>
                  <a:lnTo>
                    <a:pt x="69" y="477"/>
                  </a:lnTo>
                  <a:lnTo>
                    <a:pt x="69" y="510"/>
                  </a:lnTo>
                  <a:lnTo>
                    <a:pt x="53" y="509"/>
                  </a:lnTo>
                  <a:lnTo>
                    <a:pt x="39" y="506"/>
                  </a:lnTo>
                  <a:lnTo>
                    <a:pt x="27" y="500"/>
                  </a:lnTo>
                  <a:lnTo>
                    <a:pt x="17" y="494"/>
                  </a:lnTo>
                  <a:lnTo>
                    <a:pt x="10" y="484"/>
                  </a:lnTo>
                  <a:lnTo>
                    <a:pt x="4" y="474"/>
                  </a:lnTo>
                  <a:lnTo>
                    <a:pt x="1" y="463"/>
                  </a:lnTo>
                  <a:lnTo>
                    <a:pt x="0" y="448"/>
                  </a:lnTo>
                  <a:lnTo>
                    <a:pt x="45" y="448"/>
                  </a:lnTo>
                  <a:close/>
                  <a:moveTo>
                    <a:pt x="99" y="362"/>
                  </a:moveTo>
                  <a:lnTo>
                    <a:pt x="99" y="362"/>
                  </a:lnTo>
                  <a:lnTo>
                    <a:pt x="99" y="356"/>
                  </a:lnTo>
                  <a:lnTo>
                    <a:pt x="99" y="352"/>
                  </a:lnTo>
                  <a:lnTo>
                    <a:pt x="97" y="349"/>
                  </a:lnTo>
                  <a:lnTo>
                    <a:pt x="95" y="345"/>
                  </a:lnTo>
                  <a:lnTo>
                    <a:pt x="92" y="343"/>
                  </a:lnTo>
                  <a:lnTo>
                    <a:pt x="89" y="341"/>
                  </a:lnTo>
                  <a:lnTo>
                    <a:pt x="85" y="339"/>
                  </a:lnTo>
                  <a:lnTo>
                    <a:pt x="81" y="338"/>
                  </a:lnTo>
                  <a:lnTo>
                    <a:pt x="81" y="305"/>
                  </a:lnTo>
                  <a:lnTo>
                    <a:pt x="97" y="306"/>
                  </a:lnTo>
                  <a:lnTo>
                    <a:pt x="109" y="309"/>
                  </a:lnTo>
                  <a:lnTo>
                    <a:pt x="121" y="313"/>
                  </a:lnTo>
                  <a:lnTo>
                    <a:pt x="130" y="320"/>
                  </a:lnTo>
                  <a:lnTo>
                    <a:pt x="137" y="328"/>
                  </a:lnTo>
                  <a:lnTo>
                    <a:pt x="143" y="338"/>
                  </a:lnTo>
                  <a:lnTo>
                    <a:pt x="145" y="349"/>
                  </a:lnTo>
                  <a:lnTo>
                    <a:pt x="147" y="362"/>
                  </a:lnTo>
                  <a:lnTo>
                    <a:pt x="99" y="362"/>
                  </a:lnTo>
                  <a:close/>
                  <a:moveTo>
                    <a:pt x="386" y="244"/>
                  </a:moveTo>
                  <a:lnTo>
                    <a:pt x="386" y="244"/>
                  </a:lnTo>
                  <a:lnTo>
                    <a:pt x="344" y="145"/>
                  </a:lnTo>
                  <a:lnTo>
                    <a:pt x="344" y="76"/>
                  </a:lnTo>
                  <a:lnTo>
                    <a:pt x="386" y="177"/>
                  </a:lnTo>
                  <a:lnTo>
                    <a:pt x="428" y="76"/>
                  </a:lnTo>
                  <a:lnTo>
                    <a:pt x="428" y="145"/>
                  </a:lnTo>
                  <a:lnTo>
                    <a:pt x="386" y="244"/>
                  </a:lnTo>
                  <a:close/>
                  <a:moveTo>
                    <a:pt x="433" y="61"/>
                  </a:moveTo>
                  <a:lnTo>
                    <a:pt x="433" y="61"/>
                  </a:lnTo>
                  <a:lnTo>
                    <a:pt x="477" y="61"/>
                  </a:lnTo>
                  <a:lnTo>
                    <a:pt x="477" y="259"/>
                  </a:lnTo>
                  <a:lnTo>
                    <a:pt x="433" y="259"/>
                  </a:lnTo>
                  <a:lnTo>
                    <a:pt x="433" y="61"/>
                  </a:lnTo>
                  <a:close/>
                  <a:moveTo>
                    <a:pt x="295" y="61"/>
                  </a:moveTo>
                  <a:lnTo>
                    <a:pt x="295" y="61"/>
                  </a:lnTo>
                  <a:lnTo>
                    <a:pt x="338" y="61"/>
                  </a:lnTo>
                  <a:lnTo>
                    <a:pt x="338" y="259"/>
                  </a:lnTo>
                  <a:lnTo>
                    <a:pt x="295" y="259"/>
                  </a:lnTo>
                  <a:lnTo>
                    <a:pt x="295" y="61"/>
                  </a:lnTo>
                  <a:close/>
                  <a:moveTo>
                    <a:pt x="199" y="38"/>
                  </a:moveTo>
                  <a:lnTo>
                    <a:pt x="199" y="38"/>
                  </a:lnTo>
                  <a:lnTo>
                    <a:pt x="228" y="38"/>
                  </a:lnTo>
                  <a:lnTo>
                    <a:pt x="274" y="0"/>
                  </a:lnTo>
                  <a:lnTo>
                    <a:pt x="225" y="0"/>
                  </a:lnTo>
                  <a:lnTo>
                    <a:pt x="199" y="38"/>
                  </a:lnTo>
                  <a:close/>
                  <a:moveTo>
                    <a:pt x="207" y="114"/>
                  </a:moveTo>
                  <a:lnTo>
                    <a:pt x="207" y="114"/>
                  </a:lnTo>
                  <a:lnTo>
                    <a:pt x="189" y="61"/>
                  </a:lnTo>
                  <a:lnTo>
                    <a:pt x="141" y="61"/>
                  </a:lnTo>
                  <a:lnTo>
                    <a:pt x="187" y="171"/>
                  </a:lnTo>
                  <a:lnTo>
                    <a:pt x="207" y="114"/>
                  </a:lnTo>
                  <a:close/>
                  <a:moveTo>
                    <a:pt x="189" y="259"/>
                  </a:moveTo>
                  <a:lnTo>
                    <a:pt x="189" y="259"/>
                  </a:lnTo>
                  <a:lnTo>
                    <a:pt x="235" y="259"/>
                  </a:lnTo>
                  <a:lnTo>
                    <a:pt x="235" y="175"/>
                  </a:lnTo>
                  <a:lnTo>
                    <a:pt x="284" y="61"/>
                  </a:lnTo>
                  <a:lnTo>
                    <a:pt x="236" y="61"/>
                  </a:lnTo>
                  <a:lnTo>
                    <a:pt x="213" y="125"/>
                  </a:lnTo>
                  <a:lnTo>
                    <a:pt x="213" y="125"/>
                  </a:lnTo>
                  <a:lnTo>
                    <a:pt x="189" y="193"/>
                  </a:lnTo>
                  <a:lnTo>
                    <a:pt x="189" y="259"/>
                  </a:lnTo>
                  <a:close/>
                  <a:moveTo>
                    <a:pt x="7" y="61"/>
                  </a:moveTo>
                  <a:lnTo>
                    <a:pt x="7" y="61"/>
                  </a:lnTo>
                  <a:lnTo>
                    <a:pt x="133" y="61"/>
                  </a:lnTo>
                  <a:lnTo>
                    <a:pt x="133" y="95"/>
                  </a:lnTo>
                  <a:lnTo>
                    <a:pt x="7" y="95"/>
                  </a:lnTo>
                  <a:lnTo>
                    <a:pt x="7" y="61"/>
                  </a:lnTo>
                  <a:close/>
                  <a:moveTo>
                    <a:pt x="46" y="101"/>
                  </a:moveTo>
                  <a:lnTo>
                    <a:pt x="46" y="101"/>
                  </a:lnTo>
                  <a:lnTo>
                    <a:pt x="92" y="101"/>
                  </a:lnTo>
                  <a:lnTo>
                    <a:pt x="92" y="259"/>
                  </a:lnTo>
                  <a:lnTo>
                    <a:pt x="46" y="259"/>
                  </a:lnTo>
                  <a:lnTo>
                    <a:pt x="46" y="101"/>
                  </a:lnTo>
                  <a:close/>
                  <a:moveTo>
                    <a:pt x="1407" y="556"/>
                  </a:moveTo>
                  <a:lnTo>
                    <a:pt x="1407" y="556"/>
                  </a:lnTo>
                  <a:lnTo>
                    <a:pt x="1532" y="556"/>
                  </a:lnTo>
                  <a:lnTo>
                    <a:pt x="1532" y="592"/>
                  </a:lnTo>
                  <a:lnTo>
                    <a:pt x="1407" y="592"/>
                  </a:lnTo>
                  <a:lnTo>
                    <a:pt x="1407" y="556"/>
                  </a:lnTo>
                  <a:close/>
                  <a:moveTo>
                    <a:pt x="1447" y="598"/>
                  </a:moveTo>
                  <a:lnTo>
                    <a:pt x="1447" y="598"/>
                  </a:lnTo>
                  <a:lnTo>
                    <a:pt x="1492" y="598"/>
                  </a:lnTo>
                  <a:lnTo>
                    <a:pt x="1492" y="754"/>
                  </a:lnTo>
                  <a:lnTo>
                    <a:pt x="1447" y="754"/>
                  </a:lnTo>
                  <a:lnTo>
                    <a:pt x="1447" y="598"/>
                  </a:lnTo>
                  <a:close/>
                  <a:moveTo>
                    <a:pt x="1387" y="708"/>
                  </a:moveTo>
                  <a:lnTo>
                    <a:pt x="1387" y="708"/>
                  </a:lnTo>
                  <a:lnTo>
                    <a:pt x="1385" y="720"/>
                  </a:lnTo>
                  <a:lnTo>
                    <a:pt x="1382" y="730"/>
                  </a:lnTo>
                  <a:lnTo>
                    <a:pt x="1378" y="738"/>
                  </a:lnTo>
                  <a:lnTo>
                    <a:pt x="1371" y="746"/>
                  </a:lnTo>
                  <a:lnTo>
                    <a:pt x="1361" y="751"/>
                  </a:lnTo>
                  <a:lnTo>
                    <a:pt x="1349" y="756"/>
                  </a:lnTo>
                  <a:lnTo>
                    <a:pt x="1335" y="757"/>
                  </a:lnTo>
                  <a:lnTo>
                    <a:pt x="1319" y="758"/>
                  </a:lnTo>
                  <a:lnTo>
                    <a:pt x="1319" y="724"/>
                  </a:lnTo>
                  <a:lnTo>
                    <a:pt x="1329" y="723"/>
                  </a:lnTo>
                  <a:lnTo>
                    <a:pt x="1336" y="720"/>
                  </a:lnTo>
                  <a:lnTo>
                    <a:pt x="1339" y="718"/>
                  </a:lnTo>
                  <a:lnTo>
                    <a:pt x="1341" y="715"/>
                  </a:lnTo>
                  <a:lnTo>
                    <a:pt x="1342" y="712"/>
                  </a:lnTo>
                  <a:lnTo>
                    <a:pt x="1342" y="708"/>
                  </a:lnTo>
                  <a:lnTo>
                    <a:pt x="1341" y="704"/>
                  </a:lnTo>
                  <a:lnTo>
                    <a:pt x="1338" y="700"/>
                  </a:lnTo>
                  <a:lnTo>
                    <a:pt x="1335" y="695"/>
                  </a:lnTo>
                  <a:lnTo>
                    <a:pt x="1331" y="691"/>
                  </a:lnTo>
                  <a:lnTo>
                    <a:pt x="1315" y="678"/>
                  </a:lnTo>
                  <a:lnTo>
                    <a:pt x="1299" y="667"/>
                  </a:lnTo>
                  <a:lnTo>
                    <a:pt x="1283" y="656"/>
                  </a:lnTo>
                  <a:lnTo>
                    <a:pt x="1269" y="646"/>
                  </a:lnTo>
                  <a:lnTo>
                    <a:pt x="1259" y="638"/>
                  </a:lnTo>
                  <a:lnTo>
                    <a:pt x="1251" y="628"/>
                  </a:lnTo>
                  <a:lnTo>
                    <a:pt x="1247" y="616"/>
                  </a:lnTo>
                  <a:lnTo>
                    <a:pt x="1244" y="603"/>
                  </a:lnTo>
                  <a:lnTo>
                    <a:pt x="1244" y="592"/>
                  </a:lnTo>
                  <a:lnTo>
                    <a:pt x="1249" y="582"/>
                  </a:lnTo>
                  <a:lnTo>
                    <a:pt x="1253" y="573"/>
                  </a:lnTo>
                  <a:lnTo>
                    <a:pt x="1260" y="566"/>
                  </a:lnTo>
                  <a:lnTo>
                    <a:pt x="1269" y="560"/>
                  </a:lnTo>
                  <a:lnTo>
                    <a:pt x="1280" y="557"/>
                  </a:lnTo>
                  <a:lnTo>
                    <a:pt x="1293" y="555"/>
                  </a:lnTo>
                  <a:lnTo>
                    <a:pt x="1309" y="553"/>
                  </a:lnTo>
                  <a:lnTo>
                    <a:pt x="1309" y="586"/>
                  </a:lnTo>
                  <a:lnTo>
                    <a:pt x="1300" y="588"/>
                  </a:lnTo>
                  <a:lnTo>
                    <a:pt x="1295" y="590"/>
                  </a:lnTo>
                  <a:lnTo>
                    <a:pt x="1290" y="595"/>
                  </a:lnTo>
                  <a:lnTo>
                    <a:pt x="1289" y="602"/>
                  </a:lnTo>
                  <a:lnTo>
                    <a:pt x="1289" y="606"/>
                  </a:lnTo>
                  <a:lnTo>
                    <a:pt x="1290" y="611"/>
                  </a:lnTo>
                  <a:lnTo>
                    <a:pt x="1293" y="615"/>
                  </a:lnTo>
                  <a:lnTo>
                    <a:pt x="1296" y="618"/>
                  </a:lnTo>
                  <a:lnTo>
                    <a:pt x="1312" y="629"/>
                  </a:lnTo>
                  <a:lnTo>
                    <a:pt x="1326" y="638"/>
                  </a:lnTo>
                  <a:lnTo>
                    <a:pt x="1338" y="646"/>
                  </a:lnTo>
                  <a:lnTo>
                    <a:pt x="1345" y="652"/>
                  </a:lnTo>
                  <a:lnTo>
                    <a:pt x="1352" y="656"/>
                  </a:lnTo>
                  <a:lnTo>
                    <a:pt x="1357" y="659"/>
                  </a:lnTo>
                  <a:lnTo>
                    <a:pt x="1359" y="661"/>
                  </a:lnTo>
                  <a:lnTo>
                    <a:pt x="1361" y="662"/>
                  </a:lnTo>
                  <a:lnTo>
                    <a:pt x="1367" y="667"/>
                  </a:lnTo>
                  <a:lnTo>
                    <a:pt x="1372" y="672"/>
                  </a:lnTo>
                  <a:lnTo>
                    <a:pt x="1377" y="678"/>
                  </a:lnTo>
                  <a:lnTo>
                    <a:pt x="1381" y="684"/>
                  </a:lnTo>
                  <a:lnTo>
                    <a:pt x="1384" y="690"/>
                  </a:lnTo>
                  <a:lnTo>
                    <a:pt x="1385" y="695"/>
                  </a:lnTo>
                  <a:lnTo>
                    <a:pt x="1387" y="701"/>
                  </a:lnTo>
                  <a:lnTo>
                    <a:pt x="1387" y="708"/>
                  </a:lnTo>
                  <a:close/>
                  <a:moveTo>
                    <a:pt x="1283" y="695"/>
                  </a:moveTo>
                  <a:lnTo>
                    <a:pt x="1283" y="695"/>
                  </a:lnTo>
                  <a:lnTo>
                    <a:pt x="1285" y="702"/>
                  </a:lnTo>
                  <a:lnTo>
                    <a:pt x="1286" y="708"/>
                  </a:lnTo>
                  <a:lnTo>
                    <a:pt x="1287" y="712"/>
                  </a:lnTo>
                  <a:lnTo>
                    <a:pt x="1290" y="717"/>
                  </a:lnTo>
                  <a:lnTo>
                    <a:pt x="1293" y="720"/>
                  </a:lnTo>
                  <a:lnTo>
                    <a:pt x="1297" y="721"/>
                  </a:lnTo>
                  <a:lnTo>
                    <a:pt x="1303" y="724"/>
                  </a:lnTo>
                  <a:lnTo>
                    <a:pt x="1309" y="724"/>
                  </a:lnTo>
                  <a:lnTo>
                    <a:pt x="1309" y="758"/>
                  </a:lnTo>
                  <a:lnTo>
                    <a:pt x="1293" y="757"/>
                  </a:lnTo>
                  <a:lnTo>
                    <a:pt x="1279" y="754"/>
                  </a:lnTo>
                  <a:lnTo>
                    <a:pt x="1266" y="748"/>
                  </a:lnTo>
                  <a:lnTo>
                    <a:pt x="1257" y="741"/>
                  </a:lnTo>
                  <a:lnTo>
                    <a:pt x="1249" y="733"/>
                  </a:lnTo>
                  <a:lnTo>
                    <a:pt x="1244" y="723"/>
                  </a:lnTo>
                  <a:lnTo>
                    <a:pt x="1240" y="710"/>
                  </a:lnTo>
                  <a:lnTo>
                    <a:pt x="1240" y="695"/>
                  </a:lnTo>
                  <a:lnTo>
                    <a:pt x="1283" y="695"/>
                  </a:lnTo>
                  <a:close/>
                  <a:moveTo>
                    <a:pt x="1339" y="611"/>
                  </a:moveTo>
                  <a:lnTo>
                    <a:pt x="1339" y="611"/>
                  </a:lnTo>
                  <a:lnTo>
                    <a:pt x="1339" y="605"/>
                  </a:lnTo>
                  <a:lnTo>
                    <a:pt x="1338" y="600"/>
                  </a:lnTo>
                  <a:lnTo>
                    <a:pt x="1336" y="598"/>
                  </a:lnTo>
                  <a:lnTo>
                    <a:pt x="1335" y="593"/>
                  </a:lnTo>
                  <a:lnTo>
                    <a:pt x="1332" y="590"/>
                  </a:lnTo>
                  <a:lnTo>
                    <a:pt x="1328" y="589"/>
                  </a:lnTo>
                  <a:lnTo>
                    <a:pt x="1325" y="588"/>
                  </a:lnTo>
                  <a:lnTo>
                    <a:pt x="1319" y="586"/>
                  </a:lnTo>
                  <a:lnTo>
                    <a:pt x="1319" y="553"/>
                  </a:lnTo>
                  <a:lnTo>
                    <a:pt x="1335" y="555"/>
                  </a:lnTo>
                  <a:lnTo>
                    <a:pt x="1349" y="557"/>
                  </a:lnTo>
                  <a:lnTo>
                    <a:pt x="1359" y="562"/>
                  </a:lnTo>
                  <a:lnTo>
                    <a:pt x="1369" y="569"/>
                  </a:lnTo>
                  <a:lnTo>
                    <a:pt x="1377" y="576"/>
                  </a:lnTo>
                  <a:lnTo>
                    <a:pt x="1381" y="586"/>
                  </a:lnTo>
                  <a:lnTo>
                    <a:pt x="1385" y="598"/>
                  </a:lnTo>
                  <a:lnTo>
                    <a:pt x="1385" y="611"/>
                  </a:lnTo>
                  <a:lnTo>
                    <a:pt x="1339" y="611"/>
                  </a:lnTo>
                  <a:close/>
                  <a:moveTo>
                    <a:pt x="1220" y="606"/>
                  </a:moveTo>
                  <a:lnTo>
                    <a:pt x="1220" y="606"/>
                  </a:lnTo>
                  <a:lnTo>
                    <a:pt x="1218" y="593"/>
                  </a:lnTo>
                  <a:lnTo>
                    <a:pt x="1215" y="583"/>
                  </a:lnTo>
                  <a:lnTo>
                    <a:pt x="1211" y="575"/>
                  </a:lnTo>
                  <a:lnTo>
                    <a:pt x="1204" y="567"/>
                  </a:lnTo>
                  <a:lnTo>
                    <a:pt x="1195" y="560"/>
                  </a:lnTo>
                  <a:lnTo>
                    <a:pt x="1184" y="556"/>
                  </a:lnTo>
                  <a:lnTo>
                    <a:pt x="1171" y="553"/>
                  </a:lnTo>
                  <a:lnTo>
                    <a:pt x="1155" y="552"/>
                  </a:lnTo>
                  <a:lnTo>
                    <a:pt x="1155" y="585"/>
                  </a:lnTo>
                  <a:lnTo>
                    <a:pt x="1164" y="586"/>
                  </a:lnTo>
                  <a:lnTo>
                    <a:pt x="1169" y="590"/>
                  </a:lnTo>
                  <a:lnTo>
                    <a:pt x="1172" y="596"/>
                  </a:lnTo>
                  <a:lnTo>
                    <a:pt x="1174" y="605"/>
                  </a:lnTo>
                  <a:lnTo>
                    <a:pt x="1174" y="707"/>
                  </a:lnTo>
                  <a:lnTo>
                    <a:pt x="1172" y="715"/>
                  </a:lnTo>
                  <a:lnTo>
                    <a:pt x="1169" y="721"/>
                  </a:lnTo>
                  <a:lnTo>
                    <a:pt x="1164" y="724"/>
                  </a:lnTo>
                  <a:lnTo>
                    <a:pt x="1155" y="727"/>
                  </a:lnTo>
                  <a:lnTo>
                    <a:pt x="1155" y="758"/>
                  </a:lnTo>
                  <a:lnTo>
                    <a:pt x="1171" y="757"/>
                  </a:lnTo>
                  <a:lnTo>
                    <a:pt x="1184" y="754"/>
                  </a:lnTo>
                  <a:lnTo>
                    <a:pt x="1195" y="750"/>
                  </a:lnTo>
                  <a:lnTo>
                    <a:pt x="1204" y="743"/>
                  </a:lnTo>
                  <a:lnTo>
                    <a:pt x="1211" y="734"/>
                  </a:lnTo>
                  <a:lnTo>
                    <a:pt x="1215" y="725"/>
                  </a:lnTo>
                  <a:lnTo>
                    <a:pt x="1218" y="714"/>
                  </a:lnTo>
                  <a:lnTo>
                    <a:pt x="1220" y="701"/>
                  </a:lnTo>
                  <a:lnTo>
                    <a:pt x="1220" y="606"/>
                  </a:lnTo>
                  <a:close/>
                  <a:moveTo>
                    <a:pt x="1081" y="606"/>
                  </a:moveTo>
                  <a:lnTo>
                    <a:pt x="1081" y="606"/>
                  </a:lnTo>
                  <a:lnTo>
                    <a:pt x="1081" y="593"/>
                  </a:lnTo>
                  <a:lnTo>
                    <a:pt x="1084" y="583"/>
                  </a:lnTo>
                  <a:lnTo>
                    <a:pt x="1090" y="575"/>
                  </a:lnTo>
                  <a:lnTo>
                    <a:pt x="1097" y="567"/>
                  </a:lnTo>
                  <a:lnTo>
                    <a:pt x="1106" y="560"/>
                  </a:lnTo>
                  <a:lnTo>
                    <a:pt x="1117" y="556"/>
                  </a:lnTo>
                  <a:lnTo>
                    <a:pt x="1130" y="553"/>
                  </a:lnTo>
                  <a:lnTo>
                    <a:pt x="1146" y="552"/>
                  </a:lnTo>
                  <a:lnTo>
                    <a:pt x="1146" y="585"/>
                  </a:lnTo>
                  <a:lnTo>
                    <a:pt x="1138" y="586"/>
                  </a:lnTo>
                  <a:lnTo>
                    <a:pt x="1132" y="590"/>
                  </a:lnTo>
                  <a:lnTo>
                    <a:pt x="1129" y="596"/>
                  </a:lnTo>
                  <a:lnTo>
                    <a:pt x="1128" y="605"/>
                  </a:lnTo>
                  <a:lnTo>
                    <a:pt x="1128" y="707"/>
                  </a:lnTo>
                  <a:lnTo>
                    <a:pt x="1129" y="715"/>
                  </a:lnTo>
                  <a:lnTo>
                    <a:pt x="1132" y="721"/>
                  </a:lnTo>
                  <a:lnTo>
                    <a:pt x="1138" y="724"/>
                  </a:lnTo>
                  <a:lnTo>
                    <a:pt x="1146" y="727"/>
                  </a:lnTo>
                  <a:lnTo>
                    <a:pt x="1146" y="758"/>
                  </a:lnTo>
                  <a:lnTo>
                    <a:pt x="1130" y="757"/>
                  </a:lnTo>
                  <a:lnTo>
                    <a:pt x="1117" y="754"/>
                  </a:lnTo>
                  <a:lnTo>
                    <a:pt x="1106" y="750"/>
                  </a:lnTo>
                  <a:lnTo>
                    <a:pt x="1097" y="743"/>
                  </a:lnTo>
                  <a:lnTo>
                    <a:pt x="1090" y="734"/>
                  </a:lnTo>
                  <a:lnTo>
                    <a:pt x="1084" y="725"/>
                  </a:lnTo>
                  <a:lnTo>
                    <a:pt x="1081" y="714"/>
                  </a:lnTo>
                  <a:lnTo>
                    <a:pt x="1081" y="701"/>
                  </a:lnTo>
                  <a:lnTo>
                    <a:pt x="1081" y="606"/>
                  </a:lnTo>
                  <a:close/>
                  <a:moveTo>
                    <a:pt x="1007" y="556"/>
                  </a:moveTo>
                  <a:lnTo>
                    <a:pt x="1007" y="556"/>
                  </a:lnTo>
                  <a:lnTo>
                    <a:pt x="1050" y="556"/>
                  </a:lnTo>
                  <a:lnTo>
                    <a:pt x="1050" y="754"/>
                  </a:lnTo>
                  <a:lnTo>
                    <a:pt x="1007" y="754"/>
                  </a:lnTo>
                  <a:lnTo>
                    <a:pt x="1007" y="556"/>
                  </a:lnTo>
                  <a:close/>
                  <a:moveTo>
                    <a:pt x="903" y="556"/>
                  </a:moveTo>
                  <a:lnTo>
                    <a:pt x="903" y="556"/>
                  </a:lnTo>
                  <a:lnTo>
                    <a:pt x="946" y="556"/>
                  </a:lnTo>
                  <a:lnTo>
                    <a:pt x="946" y="754"/>
                  </a:lnTo>
                  <a:lnTo>
                    <a:pt x="903" y="754"/>
                  </a:lnTo>
                  <a:lnTo>
                    <a:pt x="903" y="556"/>
                  </a:lnTo>
                  <a:close/>
                  <a:moveTo>
                    <a:pt x="1001" y="674"/>
                  </a:moveTo>
                  <a:lnTo>
                    <a:pt x="1001" y="674"/>
                  </a:lnTo>
                  <a:lnTo>
                    <a:pt x="1001" y="741"/>
                  </a:lnTo>
                  <a:lnTo>
                    <a:pt x="952" y="641"/>
                  </a:lnTo>
                  <a:lnTo>
                    <a:pt x="952" y="572"/>
                  </a:lnTo>
                  <a:lnTo>
                    <a:pt x="1001" y="674"/>
                  </a:lnTo>
                  <a:close/>
                  <a:moveTo>
                    <a:pt x="822" y="516"/>
                  </a:moveTo>
                  <a:lnTo>
                    <a:pt x="822" y="516"/>
                  </a:lnTo>
                  <a:lnTo>
                    <a:pt x="860" y="516"/>
                  </a:lnTo>
                  <a:lnTo>
                    <a:pt x="822" y="546"/>
                  </a:lnTo>
                  <a:lnTo>
                    <a:pt x="795" y="546"/>
                  </a:lnTo>
                  <a:lnTo>
                    <a:pt x="757" y="516"/>
                  </a:lnTo>
                  <a:lnTo>
                    <a:pt x="795" y="516"/>
                  </a:lnTo>
                  <a:lnTo>
                    <a:pt x="808" y="529"/>
                  </a:lnTo>
                  <a:lnTo>
                    <a:pt x="822" y="516"/>
                  </a:lnTo>
                  <a:close/>
                  <a:moveTo>
                    <a:pt x="739" y="606"/>
                  </a:moveTo>
                  <a:lnTo>
                    <a:pt x="739" y="606"/>
                  </a:lnTo>
                  <a:lnTo>
                    <a:pt x="740" y="593"/>
                  </a:lnTo>
                  <a:lnTo>
                    <a:pt x="743" y="583"/>
                  </a:lnTo>
                  <a:lnTo>
                    <a:pt x="747" y="575"/>
                  </a:lnTo>
                  <a:lnTo>
                    <a:pt x="755" y="567"/>
                  </a:lnTo>
                  <a:lnTo>
                    <a:pt x="765" y="560"/>
                  </a:lnTo>
                  <a:lnTo>
                    <a:pt x="775" y="556"/>
                  </a:lnTo>
                  <a:lnTo>
                    <a:pt x="789" y="553"/>
                  </a:lnTo>
                  <a:lnTo>
                    <a:pt x="804" y="552"/>
                  </a:lnTo>
                  <a:lnTo>
                    <a:pt x="804" y="585"/>
                  </a:lnTo>
                  <a:lnTo>
                    <a:pt x="796" y="586"/>
                  </a:lnTo>
                  <a:lnTo>
                    <a:pt x="791" y="590"/>
                  </a:lnTo>
                  <a:lnTo>
                    <a:pt x="786" y="596"/>
                  </a:lnTo>
                  <a:lnTo>
                    <a:pt x="786" y="605"/>
                  </a:lnTo>
                  <a:lnTo>
                    <a:pt x="786" y="707"/>
                  </a:lnTo>
                  <a:lnTo>
                    <a:pt x="786" y="715"/>
                  </a:lnTo>
                  <a:lnTo>
                    <a:pt x="791" y="721"/>
                  </a:lnTo>
                  <a:lnTo>
                    <a:pt x="796" y="724"/>
                  </a:lnTo>
                  <a:lnTo>
                    <a:pt x="804" y="727"/>
                  </a:lnTo>
                  <a:lnTo>
                    <a:pt x="804" y="758"/>
                  </a:lnTo>
                  <a:lnTo>
                    <a:pt x="789" y="757"/>
                  </a:lnTo>
                  <a:lnTo>
                    <a:pt x="775" y="754"/>
                  </a:lnTo>
                  <a:lnTo>
                    <a:pt x="765" y="750"/>
                  </a:lnTo>
                  <a:lnTo>
                    <a:pt x="755" y="743"/>
                  </a:lnTo>
                  <a:lnTo>
                    <a:pt x="747" y="734"/>
                  </a:lnTo>
                  <a:lnTo>
                    <a:pt x="743" y="725"/>
                  </a:lnTo>
                  <a:lnTo>
                    <a:pt x="740" y="714"/>
                  </a:lnTo>
                  <a:lnTo>
                    <a:pt x="739" y="701"/>
                  </a:lnTo>
                  <a:lnTo>
                    <a:pt x="739" y="606"/>
                  </a:lnTo>
                  <a:close/>
                  <a:moveTo>
                    <a:pt x="814" y="727"/>
                  </a:moveTo>
                  <a:lnTo>
                    <a:pt x="814" y="727"/>
                  </a:lnTo>
                  <a:lnTo>
                    <a:pt x="822" y="725"/>
                  </a:lnTo>
                  <a:lnTo>
                    <a:pt x="828" y="721"/>
                  </a:lnTo>
                  <a:lnTo>
                    <a:pt x="831" y="718"/>
                  </a:lnTo>
                  <a:lnTo>
                    <a:pt x="832" y="715"/>
                  </a:lnTo>
                  <a:lnTo>
                    <a:pt x="832" y="711"/>
                  </a:lnTo>
                  <a:lnTo>
                    <a:pt x="834" y="707"/>
                  </a:lnTo>
                  <a:lnTo>
                    <a:pt x="834" y="681"/>
                  </a:lnTo>
                  <a:lnTo>
                    <a:pt x="880" y="681"/>
                  </a:lnTo>
                  <a:lnTo>
                    <a:pt x="880" y="701"/>
                  </a:lnTo>
                  <a:lnTo>
                    <a:pt x="880" y="714"/>
                  </a:lnTo>
                  <a:lnTo>
                    <a:pt x="876" y="725"/>
                  </a:lnTo>
                  <a:lnTo>
                    <a:pt x="871" y="735"/>
                  </a:lnTo>
                  <a:lnTo>
                    <a:pt x="864" y="744"/>
                  </a:lnTo>
                  <a:lnTo>
                    <a:pt x="854" y="750"/>
                  </a:lnTo>
                  <a:lnTo>
                    <a:pt x="842" y="754"/>
                  </a:lnTo>
                  <a:lnTo>
                    <a:pt x="829" y="757"/>
                  </a:lnTo>
                  <a:lnTo>
                    <a:pt x="814" y="758"/>
                  </a:lnTo>
                  <a:lnTo>
                    <a:pt x="814" y="727"/>
                  </a:lnTo>
                  <a:close/>
                  <a:moveTo>
                    <a:pt x="814" y="552"/>
                  </a:moveTo>
                  <a:lnTo>
                    <a:pt x="814" y="552"/>
                  </a:lnTo>
                  <a:lnTo>
                    <a:pt x="829" y="553"/>
                  </a:lnTo>
                  <a:lnTo>
                    <a:pt x="842" y="556"/>
                  </a:lnTo>
                  <a:lnTo>
                    <a:pt x="854" y="560"/>
                  </a:lnTo>
                  <a:lnTo>
                    <a:pt x="864" y="566"/>
                  </a:lnTo>
                  <a:lnTo>
                    <a:pt x="871" y="573"/>
                  </a:lnTo>
                  <a:lnTo>
                    <a:pt x="877" y="583"/>
                  </a:lnTo>
                  <a:lnTo>
                    <a:pt x="880" y="595"/>
                  </a:lnTo>
                  <a:lnTo>
                    <a:pt x="880" y="606"/>
                  </a:lnTo>
                  <a:lnTo>
                    <a:pt x="880" y="625"/>
                  </a:lnTo>
                  <a:lnTo>
                    <a:pt x="834" y="625"/>
                  </a:lnTo>
                  <a:lnTo>
                    <a:pt x="834" y="605"/>
                  </a:lnTo>
                  <a:lnTo>
                    <a:pt x="832" y="600"/>
                  </a:lnTo>
                  <a:lnTo>
                    <a:pt x="832" y="596"/>
                  </a:lnTo>
                  <a:lnTo>
                    <a:pt x="831" y="593"/>
                  </a:lnTo>
                  <a:lnTo>
                    <a:pt x="828" y="590"/>
                  </a:lnTo>
                  <a:lnTo>
                    <a:pt x="825" y="588"/>
                  </a:lnTo>
                  <a:lnTo>
                    <a:pt x="822" y="586"/>
                  </a:lnTo>
                  <a:lnTo>
                    <a:pt x="818" y="585"/>
                  </a:lnTo>
                  <a:lnTo>
                    <a:pt x="814" y="585"/>
                  </a:lnTo>
                  <a:lnTo>
                    <a:pt x="814" y="552"/>
                  </a:lnTo>
                  <a:close/>
                  <a:moveTo>
                    <a:pt x="608" y="556"/>
                  </a:moveTo>
                  <a:lnTo>
                    <a:pt x="608" y="556"/>
                  </a:lnTo>
                  <a:lnTo>
                    <a:pt x="654" y="556"/>
                  </a:lnTo>
                  <a:lnTo>
                    <a:pt x="654" y="754"/>
                  </a:lnTo>
                  <a:lnTo>
                    <a:pt x="608" y="754"/>
                  </a:lnTo>
                  <a:lnTo>
                    <a:pt x="608" y="556"/>
                  </a:lnTo>
                  <a:close/>
                  <a:moveTo>
                    <a:pt x="720" y="754"/>
                  </a:moveTo>
                  <a:lnTo>
                    <a:pt x="720" y="754"/>
                  </a:lnTo>
                  <a:lnTo>
                    <a:pt x="661" y="754"/>
                  </a:lnTo>
                  <a:lnTo>
                    <a:pt x="661" y="720"/>
                  </a:lnTo>
                  <a:lnTo>
                    <a:pt x="720" y="720"/>
                  </a:lnTo>
                  <a:lnTo>
                    <a:pt x="720" y="754"/>
                  </a:lnTo>
                  <a:close/>
                  <a:moveTo>
                    <a:pt x="661" y="556"/>
                  </a:moveTo>
                  <a:lnTo>
                    <a:pt x="661" y="556"/>
                  </a:lnTo>
                  <a:lnTo>
                    <a:pt x="720" y="556"/>
                  </a:lnTo>
                  <a:lnTo>
                    <a:pt x="720" y="589"/>
                  </a:lnTo>
                  <a:lnTo>
                    <a:pt x="661" y="589"/>
                  </a:lnTo>
                  <a:lnTo>
                    <a:pt x="661" y="556"/>
                  </a:lnTo>
                  <a:close/>
                  <a:moveTo>
                    <a:pt x="661" y="635"/>
                  </a:moveTo>
                  <a:lnTo>
                    <a:pt x="661" y="635"/>
                  </a:lnTo>
                  <a:lnTo>
                    <a:pt x="717" y="635"/>
                  </a:lnTo>
                  <a:lnTo>
                    <a:pt x="717" y="668"/>
                  </a:lnTo>
                  <a:lnTo>
                    <a:pt x="661" y="668"/>
                  </a:lnTo>
                  <a:lnTo>
                    <a:pt x="661" y="635"/>
                  </a:lnTo>
                  <a:close/>
                  <a:moveTo>
                    <a:pt x="523" y="636"/>
                  </a:moveTo>
                  <a:lnTo>
                    <a:pt x="523" y="636"/>
                  </a:lnTo>
                  <a:lnTo>
                    <a:pt x="529" y="636"/>
                  </a:lnTo>
                  <a:lnTo>
                    <a:pt x="533" y="635"/>
                  </a:lnTo>
                  <a:lnTo>
                    <a:pt x="536" y="633"/>
                  </a:lnTo>
                  <a:lnTo>
                    <a:pt x="539" y="631"/>
                  </a:lnTo>
                  <a:lnTo>
                    <a:pt x="541" y="628"/>
                  </a:lnTo>
                  <a:lnTo>
                    <a:pt x="543" y="623"/>
                  </a:lnTo>
                  <a:lnTo>
                    <a:pt x="544" y="618"/>
                  </a:lnTo>
                  <a:lnTo>
                    <a:pt x="544" y="613"/>
                  </a:lnTo>
                  <a:lnTo>
                    <a:pt x="544" y="608"/>
                  </a:lnTo>
                  <a:lnTo>
                    <a:pt x="543" y="602"/>
                  </a:lnTo>
                  <a:lnTo>
                    <a:pt x="541" y="599"/>
                  </a:lnTo>
                  <a:lnTo>
                    <a:pt x="539" y="595"/>
                  </a:lnTo>
                  <a:lnTo>
                    <a:pt x="536" y="593"/>
                  </a:lnTo>
                  <a:lnTo>
                    <a:pt x="533" y="590"/>
                  </a:lnTo>
                  <a:lnTo>
                    <a:pt x="529" y="590"/>
                  </a:lnTo>
                  <a:lnTo>
                    <a:pt x="523" y="589"/>
                  </a:lnTo>
                  <a:lnTo>
                    <a:pt x="507" y="589"/>
                  </a:lnTo>
                  <a:lnTo>
                    <a:pt x="507" y="556"/>
                  </a:lnTo>
                  <a:lnTo>
                    <a:pt x="521" y="556"/>
                  </a:lnTo>
                  <a:lnTo>
                    <a:pt x="539" y="557"/>
                  </a:lnTo>
                  <a:lnTo>
                    <a:pt x="552" y="560"/>
                  </a:lnTo>
                  <a:lnTo>
                    <a:pt x="565" y="563"/>
                  </a:lnTo>
                  <a:lnTo>
                    <a:pt x="575" y="569"/>
                  </a:lnTo>
                  <a:lnTo>
                    <a:pt x="582" y="577"/>
                  </a:lnTo>
                  <a:lnTo>
                    <a:pt x="588" y="586"/>
                  </a:lnTo>
                  <a:lnTo>
                    <a:pt x="590" y="596"/>
                  </a:lnTo>
                  <a:lnTo>
                    <a:pt x="592" y="609"/>
                  </a:lnTo>
                  <a:lnTo>
                    <a:pt x="590" y="623"/>
                  </a:lnTo>
                  <a:lnTo>
                    <a:pt x="588" y="636"/>
                  </a:lnTo>
                  <a:lnTo>
                    <a:pt x="582" y="646"/>
                  </a:lnTo>
                  <a:lnTo>
                    <a:pt x="575" y="655"/>
                  </a:lnTo>
                  <a:lnTo>
                    <a:pt x="565" y="661"/>
                  </a:lnTo>
                  <a:lnTo>
                    <a:pt x="553" y="667"/>
                  </a:lnTo>
                  <a:lnTo>
                    <a:pt x="539" y="669"/>
                  </a:lnTo>
                  <a:lnTo>
                    <a:pt x="523" y="669"/>
                  </a:lnTo>
                  <a:lnTo>
                    <a:pt x="507" y="669"/>
                  </a:lnTo>
                  <a:lnTo>
                    <a:pt x="507" y="636"/>
                  </a:lnTo>
                  <a:lnTo>
                    <a:pt x="523" y="636"/>
                  </a:lnTo>
                  <a:close/>
                  <a:moveTo>
                    <a:pt x="454" y="556"/>
                  </a:moveTo>
                  <a:lnTo>
                    <a:pt x="454" y="556"/>
                  </a:lnTo>
                  <a:lnTo>
                    <a:pt x="500" y="556"/>
                  </a:lnTo>
                  <a:lnTo>
                    <a:pt x="500" y="754"/>
                  </a:lnTo>
                  <a:lnTo>
                    <a:pt x="454" y="754"/>
                  </a:lnTo>
                  <a:lnTo>
                    <a:pt x="454" y="556"/>
                  </a:lnTo>
                  <a:close/>
                  <a:moveTo>
                    <a:pt x="357" y="712"/>
                  </a:moveTo>
                  <a:lnTo>
                    <a:pt x="357" y="712"/>
                  </a:lnTo>
                  <a:lnTo>
                    <a:pt x="307" y="712"/>
                  </a:lnTo>
                  <a:lnTo>
                    <a:pt x="377" y="598"/>
                  </a:lnTo>
                  <a:lnTo>
                    <a:pt x="428" y="598"/>
                  </a:lnTo>
                  <a:lnTo>
                    <a:pt x="357" y="712"/>
                  </a:lnTo>
                  <a:close/>
                  <a:moveTo>
                    <a:pt x="301" y="720"/>
                  </a:moveTo>
                  <a:lnTo>
                    <a:pt x="301" y="720"/>
                  </a:lnTo>
                  <a:lnTo>
                    <a:pt x="433" y="720"/>
                  </a:lnTo>
                  <a:lnTo>
                    <a:pt x="433" y="754"/>
                  </a:lnTo>
                  <a:lnTo>
                    <a:pt x="301" y="754"/>
                  </a:lnTo>
                  <a:lnTo>
                    <a:pt x="301" y="720"/>
                  </a:lnTo>
                  <a:close/>
                  <a:moveTo>
                    <a:pt x="308" y="556"/>
                  </a:moveTo>
                  <a:lnTo>
                    <a:pt x="308" y="556"/>
                  </a:lnTo>
                  <a:lnTo>
                    <a:pt x="433" y="556"/>
                  </a:lnTo>
                  <a:lnTo>
                    <a:pt x="433" y="592"/>
                  </a:lnTo>
                  <a:lnTo>
                    <a:pt x="308" y="592"/>
                  </a:lnTo>
                  <a:lnTo>
                    <a:pt x="308" y="556"/>
                  </a:lnTo>
                  <a:close/>
                  <a:moveTo>
                    <a:pt x="170" y="556"/>
                  </a:moveTo>
                  <a:lnTo>
                    <a:pt x="170" y="556"/>
                  </a:lnTo>
                  <a:lnTo>
                    <a:pt x="216" y="556"/>
                  </a:lnTo>
                  <a:lnTo>
                    <a:pt x="216" y="754"/>
                  </a:lnTo>
                  <a:lnTo>
                    <a:pt x="170" y="754"/>
                  </a:lnTo>
                  <a:lnTo>
                    <a:pt x="170" y="556"/>
                  </a:lnTo>
                  <a:close/>
                  <a:moveTo>
                    <a:pt x="282" y="754"/>
                  </a:moveTo>
                  <a:lnTo>
                    <a:pt x="282" y="754"/>
                  </a:lnTo>
                  <a:lnTo>
                    <a:pt x="223" y="754"/>
                  </a:lnTo>
                  <a:lnTo>
                    <a:pt x="223" y="720"/>
                  </a:lnTo>
                  <a:lnTo>
                    <a:pt x="282" y="720"/>
                  </a:lnTo>
                  <a:lnTo>
                    <a:pt x="282" y="754"/>
                  </a:lnTo>
                  <a:close/>
                  <a:moveTo>
                    <a:pt x="223" y="556"/>
                  </a:moveTo>
                  <a:lnTo>
                    <a:pt x="223" y="556"/>
                  </a:lnTo>
                  <a:lnTo>
                    <a:pt x="282" y="556"/>
                  </a:lnTo>
                  <a:lnTo>
                    <a:pt x="282" y="589"/>
                  </a:lnTo>
                  <a:lnTo>
                    <a:pt x="223" y="589"/>
                  </a:lnTo>
                  <a:lnTo>
                    <a:pt x="223" y="556"/>
                  </a:lnTo>
                  <a:close/>
                  <a:moveTo>
                    <a:pt x="223" y="635"/>
                  </a:moveTo>
                  <a:lnTo>
                    <a:pt x="223" y="635"/>
                  </a:lnTo>
                  <a:lnTo>
                    <a:pt x="279" y="635"/>
                  </a:lnTo>
                  <a:lnTo>
                    <a:pt x="279" y="668"/>
                  </a:lnTo>
                  <a:lnTo>
                    <a:pt x="223" y="668"/>
                  </a:lnTo>
                  <a:lnTo>
                    <a:pt x="223" y="635"/>
                  </a:lnTo>
                  <a:close/>
                  <a:moveTo>
                    <a:pt x="76" y="636"/>
                  </a:moveTo>
                  <a:lnTo>
                    <a:pt x="76" y="636"/>
                  </a:lnTo>
                  <a:lnTo>
                    <a:pt x="81" y="636"/>
                  </a:lnTo>
                  <a:lnTo>
                    <a:pt x="85" y="635"/>
                  </a:lnTo>
                  <a:lnTo>
                    <a:pt x="89" y="633"/>
                  </a:lnTo>
                  <a:lnTo>
                    <a:pt x="92" y="631"/>
                  </a:lnTo>
                  <a:lnTo>
                    <a:pt x="95" y="628"/>
                  </a:lnTo>
                  <a:lnTo>
                    <a:pt x="97" y="623"/>
                  </a:lnTo>
                  <a:lnTo>
                    <a:pt x="97" y="618"/>
                  </a:lnTo>
                  <a:lnTo>
                    <a:pt x="98" y="613"/>
                  </a:lnTo>
                  <a:lnTo>
                    <a:pt x="97" y="608"/>
                  </a:lnTo>
                  <a:lnTo>
                    <a:pt x="97" y="602"/>
                  </a:lnTo>
                  <a:lnTo>
                    <a:pt x="95" y="599"/>
                  </a:lnTo>
                  <a:lnTo>
                    <a:pt x="92" y="595"/>
                  </a:lnTo>
                  <a:lnTo>
                    <a:pt x="89" y="593"/>
                  </a:lnTo>
                  <a:lnTo>
                    <a:pt x="85" y="590"/>
                  </a:lnTo>
                  <a:lnTo>
                    <a:pt x="81" y="590"/>
                  </a:lnTo>
                  <a:lnTo>
                    <a:pt x="76" y="589"/>
                  </a:lnTo>
                  <a:lnTo>
                    <a:pt x="61" y="589"/>
                  </a:lnTo>
                  <a:lnTo>
                    <a:pt x="61" y="556"/>
                  </a:lnTo>
                  <a:lnTo>
                    <a:pt x="75" y="556"/>
                  </a:lnTo>
                  <a:lnTo>
                    <a:pt x="91" y="557"/>
                  </a:lnTo>
                  <a:lnTo>
                    <a:pt x="105" y="560"/>
                  </a:lnTo>
                  <a:lnTo>
                    <a:pt x="117" y="563"/>
                  </a:lnTo>
                  <a:lnTo>
                    <a:pt x="127" y="569"/>
                  </a:lnTo>
                  <a:lnTo>
                    <a:pt x="134" y="577"/>
                  </a:lnTo>
                  <a:lnTo>
                    <a:pt x="140" y="586"/>
                  </a:lnTo>
                  <a:lnTo>
                    <a:pt x="143" y="596"/>
                  </a:lnTo>
                  <a:lnTo>
                    <a:pt x="144" y="609"/>
                  </a:lnTo>
                  <a:lnTo>
                    <a:pt x="144" y="618"/>
                  </a:lnTo>
                  <a:lnTo>
                    <a:pt x="143" y="626"/>
                  </a:lnTo>
                  <a:lnTo>
                    <a:pt x="141" y="633"/>
                  </a:lnTo>
                  <a:lnTo>
                    <a:pt x="138" y="639"/>
                  </a:lnTo>
                  <a:lnTo>
                    <a:pt x="134" y="645"/>
                  </a:lnTo>
                  <a:lnTo>
                    <a:pt x="130" y="648"/>
                  </a:lnTo>
                  <a:lnTo>
                    <a:pt x="124" y="651"/>
                  </a:lnTo>
                  <a:lnTo>
                    <a:pt x="118" y="654"/>
                  </a:lnTo>
                  <a:lnTo>
                    <a:pt x="124" y="655"/>
                  </a:lnTo>
                  <a:lnTo>
                    <a:pt x="130" y="659"/>
                  </a:lnTo>
                  <a:lnTo>
                    <a:pt x="135" y="664"/>
                  </a:lnTo>
                  <a:lnTo>
                    <a:pt x="140" y="668"/>
                  </a:lnTo>
                  <a:lnTo>
                    <a:pt x="143" y="675"/>
                  </a:lnTo>
                  <a:lnTo>
                    <a:pt x="145" y="682"/>
                  </a:lnTo>
                  <a:lnTo>
                    <a:pt x="147" y="691"/>
                  </a:lnTo>
                  <a:lnTo>
                    <a:pt x="147" y="701"/>
                  </a:lnTo>
                  <a:lnTo>
                    <a:pt x="147" y="712"/>
                  </a:lnTo>
                  <a:lnTo>
                    <a:pt x="143" y="724"/>
                  </a:lnTo>
                  <a:lnTo>
                    <a:pt x="137" y="734"/>
                  </a:lnTo>
                  <a:lnTo>
                    <a:pt x="130" y="741"/>
                  </a:lnTo>
                  <a:lnTo>
                    <a:pt x="120" y="747"/>
                  </a:lnTo>
                  <a:lnTo>
                    <a:pt x="108" y="751"/>
                  </a:lnTo>
                  <a:lnTo>
                    <a:pt x="94" y="754"/>
                  </a:lnTo>
                  <a:lnTo>
                    <a:pt x="78" y="754"/>
                  </a:lnTo>
                  <a:lnTo>
                    <a:pt x="61" y="754"/>
                  </a:lnTo>
                  <a:lnTo>
                    <a:pt x="61" y="721"/>
                  </a:lnTo>
                  <a:lnTo>
                    <a:pt x="78" y="721"/>
                  </a:lnTo>
                  <a:lnTo>
                    <a:pt x="82" y="721"/>
                  </a:lnTo>
                  <a:lnTo>
                    <a:pt x="88" y="720"/>
                  </a:lnTo>
                  <a:lnTo>
                    <a:pt x="91" y="718"/>
                  </a:lnTo>
                  <a:lnTo>
                    <a:pt x="95" y="715"/>
                  </a:lnTo>
                  <a:lnTo>
                    <a:pt x="98" y="712"/>
                  </a:lnTo>
                  <a:lnTo>
                    <a:pt x="99" y="708"/>
                  </a:lnTo>
                  <a:lnTo>
                    <a:pt x="101" y="702"/>
                  </a:lnTo>
                  <a:lnTo>
                    <a:pt x="101" y="697"/>
                  </a:lnTo>
                  <a:lnTo>
                    <a:pt x="101" y="690"/>
                  </a:lnTo>
                  <a:lnTo>
                    <a:pt x="99" y="685"/>
                  </a:lnTo>
                  <a:lnTo>
                    <a:pt x="97" y="681"/>
                  </a:lnTo>
                  <a:lnTo>
                    <a:pt x="95" y="677"/>
                  </a:lnTo>
                  <a:lnTo>
                    <a:pt x="91" y="674"/>
                  </a:lnTo>
                  <a:lnTo>
                    <a:pt x="86" y="671"/>
                  </a:lnTo>
                  <a:lnTo>
                    <a:pt x="82" y="671"/>
                  </a:lnTo>
                  <a:lnTo>
                    <a:pt x="76" y="669"/>
                  </a:lnTo>
                  <a:lnTo>
                    <a:pt x="61" y="669"/>
                  </a:lnTo>
                  <a:lnTo>
                    <a:pt x="61" y="636"/>
                  </a:lnTo>
                  <a:lnTo>
                    <a:pt x="76" y="636"/>
                  </a:lnTo>
                  <a:close/>
                  <a:moveTo>
                    <a:pt x="7" y="556"/>
                  </a:moveTo>
                  <a:lnTo>
                    <a:pt x="7" y="556"/>
                  </a:lnTo>
                  <a:lnTo>
                    <a:pt x="52" y="556"/>
                  </a:lnTo>
                  <a:lnTo>
                    <a:pt x="52" y="754"/>
                  </a:lnTo>
                  <a:lnTo>
                    <a:pt x="7" y="754"/>
                  </a:lnTo>
                  <a:lnTo>
                    <a:pt x="7" y="5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4" name="Freeform 29">
              <a:extLst>
                <a:ext uri="{FF2B5EF4-FFF2-40B4-BE49-F238E27FC236}">
                  <a16:creationId xmlns:a16="http://schemas.microsoft.com/office/drawing/2014/main" id="{27E21B7F-47E2-3E15-2280-8081C73CD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3200" y="785813"/>
              <a:ext cx="506413" cy="536575"/>
            </a:xfrm>
            <a:custGeom>
              <a:avLst/>
              <a:gdLst>
                <a:gd name="T0" fmla="*/ 799 w 958"/>
                <a:gd name="T1" fmla="*/ 809 h 1013"/>
                <a:gd name="T2" fmla="*/ 829 w 958"/>
                <a:gd name="T3" fmla="*/ 561 h 1013"/>
                <a:gd name="T4" fmla="*/ 952 w 958"/>
                <a:gd name="T5" fmla="*/ 261 h 1013"/>
                <a:gd name="T6" fmla="*/ 876 w 958"/>
                <a:gd name="T7" fmla="*/ 347 h 1013"/>
                <a:gd name="T8" fmla="*/ 854 w 958"/>
                <a:gd name="T9" fmla="*/ 438 h 1013"/>
                <a:gd name="T10" fmla="*/ 804 w 958"/>
                <a:gd name="T11" fmla="*/ 468 h 1013"/>
                <a:gd name="T12" fmla="*/ 769 w 958"/>
                <a:gd name="T13" fmla="*/ 541 h 1013"/>
                <a:gd name="T14" fmla="*/ 685 w 958"/>
                <a:gd name="T15" fmla="*/ 501 h 1013"/>
                <a:gd name="T16" fmla="*/ 647 w 958"/>
                <a:gd name="T17" fmla="*/ 489 h 1013"/>
                <a:gd name="T18" fmla="*/ 622 w 958"/>
                <a:gd name="T19" fmla="*/ 481 h 1013"/>
                <a:gd name="T20" fmla="*/ 541 w 958"/>
                <a:gd name="T21" fmla="*/ 494 h 1013"/>
                <a:gd name="T22" fmla="*/ 487 w 958"/>
                <a:gd name="T23" fmla="*/ 473 h 1013"/>
                <a:gd name="T24" fmla="*/ 354 w 958"/>
                <a:gd name="T25" fmla="*/ 317 h 1013"/>
                <a:gd name="T26" fmla="*/ 311 w 958"/>
                <a:gd name="T27" fmla="*/ 120 h 1013"/>
                <a:gd name="T28" fmla="*/ 255 w 958"/>
                <a:gd name="T29" fmla="*/ 165 h 1013"/>
                <a:gd name="T30" fmla="*/ 271 w 958"/>
                <a:gd name="T31" fmla="*/ 277 h 1013"/>
                <a:gd name="T32" fmla="*/ 300 w 958"/>
                <a:gd name="T33" fmla="*/ 359 h 1013"/>
                <a:gd name="T34" fmla="*/ 374 w 958"/>
                <a:gd name="T35" fmla="*/ 455 h 1013"/>
                <a:gd name="T36" fmla="*/ 395 w 958"/>
                <a:gd name="T37" fmla="*/ 517 h 1013"/>
                <a:gd name="T38" fmla="*/ 393 w 958"/>
                <a:gd name="T39" fmla="*/ 584 h 1013"/>
                <a:gd name="T40" fmla="*/ 419 w 958"/>
                <a:gd name="T41" fmla="*/ 639 h 1013"/>
                <a:gd name="T42" fmla="*/ 570 w 958"/>
                <a:gd name="T43" fmla="*/ 666 h 1013"/>
                <a:gd name="T44" fmla="*/ 543 w 958"/>
                <a:gd name="T45" fmla="*/ 741 h 1013"/>
                <a:gd name="T46" fmla="*/ 439 w 958"/>
                <a:gd name="T47" fmla="*/ 751 h 1013"/>
                <a:gd name="T48" fmla="*/ 408 w 958"/>
                <a:gd name="T49" fmla="*/ 735 h 1013"/>
                <a:gd name="T50" fmla="*/ 318 w 958"/>
                <a:gd name="T51" fmla="*/ 769 h 1013"/>
                <a:gd name="T52" fmla="*/ 239 w 958"/>
                <a:gd name="T53" fmla="*/ 812 h 1013"/>
                <a:gd name="T54" fmla="*/ 380 w 958"/>
                <a:gd name="T55" fmla="*/ 947 h 1013"/>
                <a:gd name="T56" fmla="*/ 527 w 958"/>
                <a:gd name="T57" fmla="*/ 1003 h 1013"/>
                <a:gd name="T58" fmla="*/ 605 w 958"/>
                <a:gd name="T59" fmla="*/ 805 h 1013"/>
                <a:gd name="T60" fmla="*/ 618 w 958"/>
                <a:gd name="T61" fmla="*/ 748 h 1013"/>
                <a:gd name="T62" fmla="*/ 531 w 958"/>
                <a:gd name="T63" fmla="*/ 802 h 1013"/>
                <a:gd name="T64" fmla="*/ 220 w 958"/>
                <a:gd name="T65" fmla="*/ 731 h 1013"/>
                <a:gd name="T66" fmla="*/ 141 w 958"/>
                <a:gd name="T67" fmla="*/ 649 h 1013"/>
                <a:gd name="T68" fmla="*/ 39 w 958"/>
                <a:gd name="T69" fmla="*/ 604 h 1013"/>
                <a:gd name="T70" fmla="*/ 82 w 958"/>
                <a:gd name="T71" fmla="*/ 703 h 1013"/>
                <a:gd name="T72" fmla="*/ 212 w 958"/>
                <a:gd name="T73" fmla="*/ 797 h 1013"/>
                <a:gd name="T74" fmla="*/ 400 w 958"/>
                <a:gd name="T75" fmla="*/ 739 h 1013"/>
                <a:gd name="T76" fmla="*/ 399 w 958"/>
                <a:gd name="T77" fmla="*/ 718 h 1013"/>
                <a:gd name="T78" fmla="*/ 452 w 958"/>
                <a:gd name="T79" fmla="*/ 735 h 1013"/>
                <a:gd name="T80" fmla="*/ 435 w 958"/>
                <a:gd name="T81" fmla="*/ 621 h 1013"/>
                <a:gd name="T82" fmla="*/ 42 w 958"/>
                <a:gd name="T83" fmla="*/ 616 h 1013"/>
                <a:gd name="T84" fmla="*/ 793 w 958"/>
                <a:gd name="T85" fmla="*/ 564 h 1013"/>
                <a:gd name="T86" fmla="*/ 694 w 958"/>
                <a:gd name="T87" fmla="*/ 430 h 1013"/>
                <a:gd name="T88" fmla="*/ 755 w 958"/>
                <a:gd name="T89" fmla="*/ 93 h 1013"/>
                <a:gd name="T90" fmla="*/ 680 w 958"/>
                <a:gd name="T91" fmla="*/ 149 h 1013"/>
                <a:gd name="T92" fmla="*/ 664 w 958"/>
                <a:gd name="T93" fmla="*/ 278 h 1013"/>
                <a:gd name="T94" fmla="*/ 638 w 958"/>
                <a:gd name="T95" fmla="*/ 387 h 1013"/>
                <a:gd name="T96" fmla="*/ 644 w 958"/>
                <a:gd name="T97" fmla="*/ 462 h 1013"/>
                <a:gd name="T98" fmla="*/ 559 w 958"/>
                <a:gd name="T99" fmla="*/ 453 h 1013"/>
                <a:gd name="T100" fmla="*/ 559 w 958"/>
                <a:gd name="T101" fmla="*/ 291 h 1013"/>
                <a:gd name="T102" fmla="*/ 550 w 958"/>
                <a:gd name="T103" fmla="*/ 145 h 1013"/>
                <a:gd name="T104" fmla="*/ 485 w 958"/>
                <a:gd name="T105" fmla="*/ 8 h 1013"/>
                <a:gd name="T106" fmla="*/ 475 w 958"/>
                <a:gd name="T107" fmla="*/ 189 h 1013"/>
                <a:gd name="T108" fmla="*/ 485 w 958"/>
                <a:gd name="T109" fmla="*/ 251 h 1013"/>
                <a:gd name="T110" fmla="*/ 478 w 958"/>
                <a:gd name="T111" fmla="*/ 351 h 1013"/>
                <a:gd name="T112" fmla="*/ 850 w 958"/>
                <a:gd name="T113" fmla="*/ 389 h 1013"/>
                <a:gd name="T114" fmla="*/ 677 w 958"/>
                <a:gd name="T115" fmla="*/ 321 h 1013"/>
                <a:gd name="T116" fmla="*/ 275 w 958"/>
                <a:gd name="T117" fmla="*/ 140 h 1013"/>
                <a:gd name="T118" fmla="*/ 713 w 958"/>
                <a:gd name="T119" fmla="*/ 116 h 1013"/>
                <a:gd name="T120" fmla="*/ 710 w 958"/>
                <a:gd name="T121" fmla="*/ 93 h 1013"/>
                <a:gd name="T122" fmla="*/ 498 w 958"/>
                <a:gd name="T123" fmla="*/ 47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8" h="1013">
                  <a:moveTo>
                    <a:pt x="628" y="1013"/>
                  </a:moveTo>
                  <a:lnTo>
                    <a:pt x="647" y="1013"/>
                  </a:lnTo>
                  <a:lnTo>
                    <a:pt x="662" y="1011"/>
                  </a:lnTo>
                  <a:lnTo>
                    <a:pt x="664" y="1008"/>
                  </a:lnTo>
                  <a:lnTo>
                    <a:pt x="665" y="1006"/>
                  </a:lnTo>
                  <a:lnTo>
                    <a:pt x="678" y="1003"/>
                  </a:lnTo>
                  <a:lnTo>
                    <a:pt x="691" y="999"/>
                  </a:lnTo>
                  <a:lnTo>
                    <a:pt x="697" y="996"/>
                  </a:lnTo>
                  <a:lnTo>
                    <a:pt x="703" y="992"/>
                  </a:lnTo>
                  <a:lnTo>
                    <a:pt x="708" y="989"/>
                  </a:lnTo>
                  <a:lnTo>
                    <a:pt x="711" y="983"/>
                  </a:lnTo>
                  <a:lnTo>
                    <a:pt x="719" y="979"/>
                  </a:lnTo>
                  <a:lnTo>
                    <a:pt x="724" y="976"/>
                  </a:lnTo>
                  <a:lnTo>
                    <a:pt x="733" y="967"/>
                  </a:lnTo>
                  <a:lnTo>
                    <a:pt x="740" y="956"/>
                  </a:lnTo>
                  <a:lnTo>
                    <a:pt x="747" y="946"/>
                  </a:lnTo>
                  <a:lnTo>
                    <a:pt x="753" y="933"/>
                  </a:lnTo>
                  <a:lnTo>
                    <a:pt x="765" y="917"/>
                  </a:lnTo>
                  <a:lnTo>
                    <a:pt x="775" y="899"/>
                  </a:lnTo>
                  <a:lnTo>
                    <a:pt x="782" y="881"/>
                  </a:lnTo>
                  <a:lnTo>
                    <a:pt x="791" y="863"/>
                  </a:lnTo>
                  <a:lnTo>
                    <a:pt x="792" y="850"/>
                  </a:lnTo>
                  <a:lnTo>
                    <a:pt x="795" y="837"/>
                  </a:lnTo>
                  <a:lnTo>
                    <a:pt x="796" y="824"/>
                  </a:lnTo>
                  <a:lnTo>
                    <a:pt x="799" y="809"/>
                  </a:lnTo>
                  <a:lnTo>
                    <a:pt x="802" y="797"/>
                  </a:lnTo>
                  <a:lnTo>
                    <a:pt x="802" y="782"/>
                  </a:lnTo>
                  <a:lnTo>
                    <a:pt x="806" y="761"/>
                  </a:lnTo>
                  <a:lnTo>
                    <a:pt x="809" y="738"/>
                  </a:lnTo>
                  <a:lnTo>
                    <a:pt x="811" y="715"/>
                  </a:lnTo>
                  <a:lnTo>
                    <a:pt x="812" y="692"/>
                  </a:lnTo>
                  <a:lnTo>
                    <a:pt x="814" y="689"/>
                  </a:lnTo>
                  <a:lnTo>
                    <a:pt x="815" y="683"/>
                  </a:lnTo>
                  <a:lnTo>
                    <a:pt x="816" y="667"/>
                  </a:lnTo>
                  <a:lnTo>
                    <a:pt x="816" y="653"/>
                  </a:lnTo>
                  <a:lnTo>
                    <a:pt x="818" y="637"/>
                  </a:lnTo>
                  <a:lnTo>
                    <a:pt x="818" y="621"/>
                  </a:lnTo>
                  <a:lnTo>
                    <a:pt x="818" y="619"/>
                  </a:lnTo>
                  <a:lnTo>
                    <a:pt x="819" y="616"/>
                  </a:lnTo>
                  <a:lnTo>
                    <a:pt x="819" y="607"/>
                  </a:lnTo>
                  <a:lnTo>
                    <a:pt x="819" y="598"/>
                  </a:lnTo>
                  <a:lnTo>
                    <a:pt x="814" y="588"/>
                  </a:lnTo>
                  <a:lnTo>
                    <a:pt x="808" y="577"/>
                  </a:lnTo>
                  <a:lnTo>
                    <a:pt x="811" y="575"/>
                  </a:lnTo>
                  <a:lnTo>
                    <a:pt x="812" y="575"/>
                  </a:lnTo>
                  <a:lnTo>
                    <a:pt x="812" y="573"/>
                  </a:lnTo>
                  <a:lnTo>
                    <a:pt x="811" y="571"/>
                  </a:lnTo>
                  <a:lnTo>
                    <a:pt x="818" y="570"/>
                  </a:lnTo>
                  <a:lnTo>
                    <a:pt x="824" y="565"/>
                  </a:lnTo>
                  <a:lnTo>
                    <a:pt x="829" y="561"/>
                  </a:lnTo>
                  <a:lnTo>
                    <a:pt x="835" y="557"/>
                  </a:lnTo>
                  <a:lnTo>
                    <a:pt x="835" y="555"/>
                  </a:lnTo>
                  <a:lnTo>
                    <a:pt x="838" y="551"/>
                  </a:lnTo>
                  <a:lnTo>
                    <a:pt x="844" y="545"/>
                  </a:lnTo>
                  <a:lnTo>
                    <a:pt x="850" y="537"/>
                  </a:lnTo>
                  <a:lnTo>
                    <a:pt x="855" y="527"/>
                  </a:lnTo>
                  <a:lnTo>
                    <a:pt x="867" y="505"/>
                  </a:lnTo>
                  <a:lnTo>
                    <a:pt x="876" y="489"/>
                  </a:lnTo>
                  <a:lnTo>
                    <a:pt x="878" y="482"/>
                  </a:lnTo>
                  <a:lnTo>
                    <a:pt x="880" y="475"/>
                  </a:lnTo>
                  <a:lnTo>
                    <a:pt x="886" y="468"/>
                  </a:lnTo>
                  <a:lnTo>
                    <a:pt x="894" y="458"/>
                  </a:lnTo>
                  <a:lnTo>
                    <a:pt x="904" y="438"/>
                  </a:lnTo>
                  <a:lnTo>
                    <a:pt x="913" y="417"/>
                  </a:lnTo>
                  <a:lnTo>
                    <a:pt x="922" y="396"/>
                  </a:lnTo>
                  <a:lnTo>
                    <a:pt x="927" y="374"/>
                  </a:lnTo>
                  <a:lnTo>
                    <a:pt x="936" y="361"/>
                  </a:lnTo>
                  <a:lnTo>
                    <a:pt x="940" y="347"/>
                  </a:lnTo>
                  <a:lnTo>
                    <a:pt x="942" y="341"/>
                  </a:lnTo>
                  <a:lnTo>
                    <a:pt x="943" y="340"/>
                  </a:lnTo>
                  <a:lnTo>
                    <a:pt x="949" y="323"/>
                  </a:lnTo>
                  <a:lnTo>
                    <a:pt x="953" y="305"/>
                  </a:lnTo>
                  <a:lnTo>
                    <a:pt x="958" y="290"/>
                  </a:lnTo>
                  <a:lnTo>
                    <a:pt x="958" y="271"/>
                  </a:lnTo>
                  <a:lnTo>
                    <a:pt x="952" y="261"/>
                  </a:lnTo>
                  <a:lnTo>
                    <a:pt x="945" y="252"/>
                  </a:lnTo>
                  <a:lnTo>
                    <a:pt x="936" y="247"/>
                  </a:lnTo>
                  <a:lnTo>
                    <a:pt x="924" y="241"/>
                  </a:lnTo>
                  <a:lnTo>
                    <a:pt x="917" y="242"/>
                  </a:lnTo>
                  <a:lnTo>
                    <a:pt x="912" y="242"/>
                  </a:lnTo>
                  <a:lnTo>
                    <a:pt x="903" y="248"/>
                  </a:lnTo>
                  <a:lnTo>
                    <a:pt x="896" y="252"/>
                  </a:lnTo>
                  <a:lnTo>
                    <a:pt x="890" y="264"/>
                  </a:lnTo>
                  <a:lnTo>
                    <a:pt x="884" y="274"/>
                  </a:lnTo>
                  <a:lnTo>
                    <a:pt x="881" y="285"/>
                  </a:lnTo>
                  <a:lnTo>
                    <a:pt x="880" y="298"/>
                  </a:lnTo>
                  <a:lnTo>
                    <a:pt x="877" y="305"/>
                  </a:lnTo>
                  <a:lnTo>
                    <a:pt x="876" y="311"/>
                  </a:lnTo>
                  <a:lnTo>
                    <a:pt x="874" y="317"/>
                  </a:lnTo>
                  <a:lnTo>
                    <a:pt x="874" y="321"/>
                  </a:lnTo>
                  <a:lnTo>
                    <a:pt x="873" y="327"/>
                  </a:lnTo>
                  <a:lnTo>
                    <a:pt x="871" y="333"/>
                  </a:lnTo>
                  <a:lnTo>
                    <a:pt x="873" y="336"/>
                  </a:lnTo>
                  <a:lnTo>
                    <a:pt x="874" y="338"/>
                  </a:lnTo>
                  <a:lnTo>
                    <a:pt x="873" y="340"/>
                  </a:lnTo>
                  <a:lnTo>
                    <a:pt x="870" y="340"/>
                  </a:lnTo>
                  <a:lnTo>
                    <a:pt x="871" y="343"/>
                  </a:lnTo>
                  <a:lnTo>
                    <a:pt x="873" y="346"/>
                  </a:lnTo>
                  <a:lnTo>
                    <a:pt x="874" y="346"/>
                  </a:lnTo>
                  <a:lnTo>
                    <a:pt x="876" y="347"/>
                  </a:lnTo>
                  <a:lnTo>
                    <a:pt x="876" y="350"/>
                  </a:lnTo>
                  <a:lnTo>
                    <a:pt x="873" y="350"/>
                  </a:lnTo>
                  <a:lnTo>
                    <a:pt x="870" y="351"/>
                  </a:lnTo>
                  <a:lnTo>
                    <a:pt x="877" y="357"/>
                  </a:lnTo>
                  <a:lnTo>
                    <a:pt x="884" y="363"/>
                  </a:lnTo>
                  <a:lnTo>
                    <a:pt x="884" y="364"/>
                  </a:lnTo>
                  <a:lnTo>
                    <a:pt x="877" y="363"/>
                  </a:lnTo>
                  <a:lnTo>
                    <a:pt x="871" y="364"/>
                  </a:lnTo>
                  <a:lnTo>
                    <a:pt x="867" y="366"/>
                  </a:lnTo>
                  <a:lnTo>
                    <a:pt x="863" y="372"/>
                  </a:lnTo>
                  <a:lnTo>
                    <a:pt x="858" y="374"/>
                  </a:lnTo>
                  <a:lnTo>
                    <a:pt x="857" y="377"/>
                  </a:lnTo>
                  <a:lnTo>
                    <a:pt x="854" y="380"/>
                  </a:lnTo>
                  <a:lnTo>
                    <a:pt x="854" y="384"/>
                  </a:lnTo>
                  <a:lnTo>
                    <a:pt x="851" y="392"/>
                  </a:lnTo>
                  <a:lnTo>
                    <a:pt x="848" y="399"/>
                  </a:lnTo>
                  <a:lnTo>
                    <a:pt x="845" y="400"/>
                  </a:lnTo>
                  <a:lnTo>
                    <a:pt x="847" y="403"/>
                  </a:lnTo>
                  <a:lnTo>
                    <a:pt x="847" y="405"/>
                  </a:lnTo>
                  <a:lnTo>
                    <a:pt x="841" y="412"/>
                  </a:lnTo>
                  <a:lnTo>
                    <a:pt x="838" y="420"/>
                  </a:lnTo>
                  <a:lnTo>
                    <a:pt x="840" y="423"/>
                  </a:lnTo>
                  <a:lnTo>
                    <a:pt x="841" y="426"/>
                  </a:lnTo>
                  <a:lnTo>
                    <a:pt x="848" y="430"/>
                  </a:lnTo>
                  <a:lnTo>
                    <a:pt x="854" y="438"/>
                  </a:lnTo>
                  <a:lnTo>
                    <a:pt x="848" y="436"/>
                  </a:lnTo>
                  <a:lnTo>
                    <a:pt x="844" y="436"/>
                  </a:lnTo>
                  <a:lnTo>
                    <a:pt x="844" y="438"/>
                  </a:lnTo>
                  <a:lnTo>
                    <a:pt x="834" y="440"/>
                  </a:lnTo>
                  <a:lnTo>
                    <a:pt x="825" y="443"/>
                  </a:lnTo>
                  <a:lnTo>
                    <a:pt x="825" y="448"/>
                  </a:lnTo>
                  <a:lnTo>
                    <a:pt x="827" y="450"/>
                  </a:lnTo>
                  <a:lnTo>
                    <a:pt x="829" y="450"/>
                  </a:lnTo>
                  <a:lnTo>
                    <a:pt x="831" y="449"/>
                  </a:lnTo>
                  <a:lnTo>
                    <a:pt x="832" y="452"/>
                  </a:lnTo>
                  <a:lnTo>
                    <a:pt x="832" y="453"/>
                  </a:lnTo>
                  <a:lnTo>
                    <a:pt x="835" y="455"/>
                  </a:lnTo>
                  <a:lnTo>
                    <a:pt x="838" y="456"/>
                  </a:lnTo>
                  <a:lnTo>
                    <a:pt x="838" y="458"/>
                  </a:lnTo>
                  <a:lnTo>
                    <a:pt x="831" y="456"/>
                  </a:lnTo>
                  <a:lnTo>
                    <a:pt x="827" y="453"/>
                  </a:lnTo>
                  <a:lnTo>
                    <a:pt x="821" y="453"/>
                  </a:lnTo>
                  <a:lnTo>
                    <a:pt x="815" y="456"/>
                  </a:lnTo>
                  <a:lnTo>
                    <a:pt x="811" y="459"/>
                  </a:lnTo>
                  <a:lnTo>
                    <a:pt x="808" y="462"/>
                  </a:lnTo>
                  <a:lnTo>
                    <a:pt x="805" y="462"/>
                  </a:lnTo>
                  <a:lnTo>
                    <a:pt x="805" y="465"/>
                  </a:lnTo>
                  <a:lnTo>
                    <a:pt x="802" y="465"/>
                  </a:lnTo>
                  <a:lnTo>
                    <a:pt x="802" y="468"/>
                  </a:lnTo>
                  <a:lnTo>
                    <a:pt x="804" y="468"/>
                  </a:lnTo>
                  <a:lnTo>
                    <a:pt x="802" y="471"/>
                  </a:lnTo>
                  <a:lnTo>
                    <a:pt x="801" y="475"/>
                  </a:lnTo>
                  <a:lnTo>
                    <a:pt x="799" y="475"/>
                  </a:lnTo>
                  <a:lnTo>
                    <a:pt x="799" y="472"/>
                  </a:lnTo>
                  <a:lnTo>
                    <a:pt x="791" y="482"/>
                  </a:lnTo>
                  <a:lnTo>
                    <a:pt x="782" y="492"/>
                  </a:lnTo>
                  <a:lnTo>
                    <a:pt x="779" y="504"/>
                  </a:lnTo>
                  <a:lnTo>
                    <a:pt x="775" y="515"/>
                  </a:lnTo>
                  <a:lnTo>
                    <a:pt x="773" y="517"/>
                  </a:lnTo>
                  <a:lnTo>
                    <a:pt x="770" y="518"/>
                  </a:lnTo>
                  <a:lnTo>
                    <a:pt x="770" y="519"/>
                  </a:lnTo>
                  <a:lnTo>
                    <a:pt x="770" y="522"/>
                  </a:lnTo>
                  <a:lnTo>
                    <a:pt x="773" y="522"/>
                  </a:lnTo>
                  <a:lnTo>
                    <a:pt x="775" y="527"/>
                  </a:lnTo>
                  <a:lnTo>
                    <a:pt x="773" y="527"/>
                  </a:lnTo>
                  <a:lnTo>
                    <a:pt x="770" y="527"/>
                  </a:lnTo>
                  <a:lnTo>
                    <a:pt x="770" y="529"/>
                  </a:lnTo>
                  <a:lnTo>
                    <a:pt x="770" y="532"/>
                  </a:lnTo>
                  <a:lnTo>
                    <a:pt x="768" y="532"/>
                  </a:lnTo>
                  <a:lnTo>
                    <a:pt x="763" y="531"/>
                  </a:lnTo>
                  <a:lnTo>
                    <a:pt x="757" y="531"/>
                  </a:lnTo>
                  <a:lnTo>
                    <a:pt x="757" y="532"/>
                  </a:lnTo>
                  <a:lnTo>
                    <a:pt x="762" y="535"/>
                  </a:lnTo>
                  <a:lnTo>
                    <a:pt x="765" y="540"/>
                  </a:lnTo>
                  <a:lnTo>
                    <a:pt x="769" y="541"/>
                  </a:lnTo>
                  <a:lnTo>
                    <a:pt x="770" y="544"/>
                  </a:lnTo>
                  <a:lnTo>
                    <a:pt x="769" y="544"/>
                  </a:lnTo>
                  <a:lnTo>
                    <a:pt x="766" y="544"/>
                  </a:lnTo>
                  <a:lnTo>
                    <a:pt x="768" y="547"/>
                  </a:lnTo>
                  <a:lnTo>
                    <a:pt x="769" y="550"/>
                  </a:lnTo>
                  <a:lnTo>
                    <a:pt x="763" y="547"/>
                  </a:lnTo>
                  <a:lnTo>
                    <a:pt x="759" y="544"/>
                  </a:lnTo>
                  <a:lnTo>
                    <a:pt x="755" y="544"/>
                  </a:lnTo>
                  <a:lnTo>
                    <a:pt x="750" y="544"/>
                  </a:lnTo>
                  <a:lnTo>
                    <a:pt x="749" y="540"/>
                  </a:lnTo>
                  <a:lnTo>
                    <a:pt x="749" y="535"/>
                  </a:lnTo>
                  <a:lnTo>
                    <a:pt x="732" y="525"/>
                  </a:lnTo>
                  <a:lnTo>
                    <a:pt x="713" y="517"/>
                  </a:lnTo>
                  <a:lnTo>
                    <a:pt x="708" y="517"/>
                  </a:lnTo>
                  <a:lnTo>
                    <a:pt x="706" y="517"/>
                  </a:lnTo>
                  <a:lnTo>
                    <a:pt x="701" y="514"/>
                  </a:lnTo>
                  <a:lnTo>
                    <a:pt x="697" y="514"/>
                  </a:lnTo>
                  <a:lnTo>
                    <a:pt x="697" y="512"/>
                  </a:lnTo>
                  <a:lnTo>
                    <a:pt x="697" y="509"/>
                  </a:lnTo>
                  <a:lnTo>
                    <a:pt x="694" y="509"/>
                  </a:lnTo>
                  <a:lnTo>
                    <a:pt x="694" y="508"/>
                  </a:lnTo>
                  <a:lnTo>
                    <a:pt x="694" y="505"/>
                  </a:lnTo>
                  <a:lnTo>
                    <a:pt x="690" y="504"/>
                  </a:lnTo>
                  <a:lnTo>
                    <a:pt x="685" y="502"/>
                  </a:lnTo>
                  <a:lnTo>
                    <a:pt x="685" y="501"/>
                  </a:lnTo>
                  <a:lnTo>
                    <a:pt x="678" y="502"/>
                  </a:lnTo>
                  <a:lnTo>
                    <a:pt x="674" y="504"/>
                  </a:lnTo>
                  <a:lnTo>
                    <a:pt x="674" y="501"/>
                  </a:lnTo>
                  <a:lnTo>
                    <a:pt x="672" y="498"/>
                  </a:lnTo>
                  <a:lnTo>
                    <a:pt x="677" y="496"/>
                  </a:lnTo>
                  <a:lnTo>
                    <a:pt x="678" y="496"/>
                  </a:lnTo>
                  <a:lnTo>
                    <a:pt x="675" y="495"/>
                  </a:lnTo>
                  <a:lnTo>
                    <a:pt x="672" y="495"/>
                  </a:lnTo>
                  <a:lnTo>
                    <a:pt x="674" y="492"/>
                  </a:lnTo>
                  <a:lnTo>
                    <a:pt x="674" y="489"/>
                  </a:lnTo>
                  <a:lnTo>
                    <a:pt x="672" y="486"/>
                  </a:lnTo>
                  <a:lnTo>
                    <a:pt x="671" y="484"/>
                  </a:lnTo>
                  <a:lnTo>
                    <a:pt x="670" y="481"/>
                  </a:lnTo>
                  <a:lnTo>
                    <a:pt x="667" y="479"/>
                  </a:lnTo>
                  <a:lnTo>
                    <a:pt x="664" y="478"/>
                  </a:lnTo>
                  <a:lnTo>
                    <a:pt x="661" y="479"/>
                  </a:lnTo>
                  <a:lnTo>
                    <a:pt x="661" y="486"/>
                  </a:lnTo>
                  <a:lnTo>
                    <a:pt x="661" y="495"/>
                  </a:lnTo>
                  <a:lnTo>
                    <a:pt x="660" y="496"/>
                  </a:lnTo>
                  <a:lnTo>
                    <a:pt x="657" y="498"/>
                  </a:lnTo>
                  <a:lnTo>
                    <a:pt x="658" y="496"/>
                  </a:lnTo>
                  <a:lnTo>
                    <a:pt x="658" y="494"/>
                  </a:lnTo>
                  <a:lnTo>
                    <a:pt x="652" y="494"/>
                  </a:lnTo>
                  <a:lnTo>
                    <a:pt x="647" y="494"/>
                  </a:lnTo>
                  <a:lnTo>
                    <a:pt x="647" y="489"/>
                  </a:lnTo>
                  <a:lnTo>
                    <a:pt x="649" y="486"/>
                  </a:lnTo>
                  <a:lnTo>
                    <a:pt x="647" y="486"/>
                  </a:lnTo>
                  <a:lnTo>
                    <a:pt x="647" y="485"/>
                  </a:lnTo>
                  <a:lnTo>
                    <a:pt x="647" y="484"/>
                  </a:lnTo>
                  <a:lnTo>
                    <a:pt x="642" y="482"/>
                  </a:lnTo>
                  <a:lnTo>
                    <a:pt x="635" y="482"/>
                  </a:lnTo>
                  <a:lnTo>
                    <a:pt x="635" y="479"/>
                  </a:lnTo>
                  <a:lnTo>
                    <a:pt x="635" y="478"/>
                  </a:lnTo>
                  <a:lnTo>
                    <a:pt x="636" y="478"/>
                  </a:lnTo>
                  <a:lnTo>
                    <a:pt x="639" y="478"/>
                  </a:lnTo>
                  <a:lnTo>
                    <a:pt x="642" y="473"/>
                  </a:lnTo>
                  <a:lnTo>
                    <a:pt x="647" y="472"/>
                  </a:lnTo>
                  <a:lnTo>
                    <a:pt x="647" y="469"/>
                  </a:lnTo>
                  <a:lnTo>
                    <a:pt x="638" y="469"/>
                  </a:lnTo>
                  <a:lnTo>
                    <a:pt x="631" y="471"/>
                  </a:lnTo>
                  <a:lnTo>
                    <a:pt x="631" y="473"/>
                  </a:lnTo>
                  <a:lnTo>
                    <a:pt x="632" y="475"/>
                  </a:lnTo>
                  <a:lnTo>
                    <a:pt x="634" y="475"/>
                  </a:lnTo>
                  <a:lnTo>
                    <a:pt x="635" y="478"/>
                  </a:lnTo>
                  <a:lnTo>
                    <a:pt x="631" y="479"/>
                  </a:lnTo>
                  <a:lnTo>
                    <a:pt x="625" y="481"/>
                  </a:lnTo>
                  <a:lnTo>
                    <a:pt x="625" y="482"/>
                  </a:lnTo>
                  <a:lnTo>
                    <a:pt x="624" y="485"/>
                  </a:lnTo>
                  <a:lnTo>
                    <a:pt x="622" y="485"/>
                  </a:lnTo>
                  <a:lnTo>
                    <a:pt x="622" y="481"/>
                  </a:lnTo>
                  <a:lnTo>
                    <a:pt x="621" y="478"/>
                  </a:lnTo>
                  <a:lnTo>
                    <a:pt x="618" y="478"/>
                  </a:lnTo>
                  <a:lnTo>
                    <a:pt x="615" y="478"/>
                  </a:lnTo>
                  <a:lnTo>
                    <a:pt x="615" y="479"/>
                  </a:lnTo>
                  <a:lnTo>
                    <a:pt x="615" y="482"/>
                  </a:lnTo>
                  <a:lnTo>
                    <a:pt x="611" y="482"/>
                  </a:lnTo>
                  <a:lnTo>
                    <a:pt x="603" y="481"/>
                  </a:lnTo>
                  <a:lnTo>
                    <a:pt x="598" y="478"/>
                  </a:lnTo>
                  <a:lnTo>
                    <a:pt x="595" y="473"/>
                  </a:lnTo>
                  <a:lnTo>
                    <a:pt x="592" y="475"/>
                  </a:lnTo>
                  <a:lnTo>
                    <a:pt x="593" y="476"/>
                  </a:lnTo>
                  <a:lnTo>
                    <a:pt x="583" y="478"/>
                  </a:lnTo>
                  <a:lnTo>
                    <a:pt x="573" y="478"/>
                  </a:lnTo>
                  <a:lnTo>
                    <a:pt x="572" y="481"/>
                  </a:lnTo>
                  <a:lnTo>
                    <a:pt x="570" y="485"/>
                  </a:lnTo>
                  <a:lnTo>
                    <a:pt x="567" y="488"/>
                  </a:lnTo>
                  <a:lnTo>
                    <a:pt x="564" y="489"/>
                  </a:lnTo>
                  <a:lnTo>
                    <a:pt x="564" y="486"/>
                  </a:lnTo>
                  <a:lnTo>
                    <a:pt x="562" y="486"/>
                  </a:lnTo>
                  <a:lnTo>
                    <a:pt x="560" y="488"/>
                  </a:lnTo>
                  <a:lnTo>
                    <a:pt x="557" y="492"/>
                  </a:lnTo>
                  <a:lnTo>
                    <a:pt x="553" y="494"/>
                  </a:lnTo>
                  <a:lnTo>
                    <a:pt x="547" y="495"/>
                  </a:lnTo>
                  <a:lnTo>
                    <a:pt x="541" y="496"/>
                  </a:lnTo>
                  <a:lnTo>
                    <a:pt x="541" y="494"/>
                  </a:lnTo>
                  <a:lnTo>
                    <a:pt x="540" y="495"/>
                  </a:lnTo>
                  <a:lnTo>
                    <a:pt x="539" y="496"/>
                  </a:lnTo>
                  <a:lnTo>
                    <a:pt x="537" y="499"/>
                  </a:lnTo>
                  <a:lnTo>
                    <a:pt x="528" y="498"/>
                  </a:lnTo>
                  <a:lnTo>
                    <a:pt x="520" y="498"/>
                  </a:lnTo>
                  <a:lnTo>
                    <a:pt x="520" y="494"/>
                  </a:lnTo>
                  <a:lnTo>
                    <a:pt x="518" y="491"/>
                  </a:lnTo>
                  <a:lnTo>
                    <a:pt x="526" y="494"/>
                  </a:lnTo>
                  <a:lnTo>
                    <a:pt x="527" y="494"/>
                  </a:lnTo>
                  <a:lnTo>
                    <a:pt x="527" y="491"/>
                  </a:lnTo>
                  <a:lnTo>
                    <a:pt x="524" y="491"/>
                  </a:lnTo>
                  <a:lnTo>
                    <a:pt x="524" y="489"/>
                  </a:lnTo>
                  <a:lnTo>
                    <a:pt x="521" y="488"/>
                  </a:lnTo>
                  <a:lnTo>
                    <a:pt x="518" y="488"/>
                  </a:lnTo>
                  <a:lnTo>
                    <a:pt x="518" y="489"/>
                  </a:lnTo>
                  <a:lnTo>
                    <a:pt x="517" y="492"/>
                  </a:lnTo>
                  <a:lnTo>
                    <a:pt x="514" y="488"/>
                  </a:lnTo>
                  <a:lnTo>
                    <a:pt x="514" y="481"/>
                  </a:lnTo>
                  <a:lnTo>
                    <a:pt x="511" y="481"/>
                  </a:lnTo>
                  <a:lnTo>
                    <a:pt x="510" y="481"/>
                  </a:lnTo>
                  <a:lnTo>
                    <a:pt x="508" y="484"/>
                  </a:lnTo>
                  <a:lnTo>
                    <a:pt x="505" y="484"/>
                  </a:lnTo>
                  <a:lnTo>
                    <a:pt x="498" y="479"/>
                  </a:lnTo>
                  <a:lnTo>
                    <a:pt x="492" y="475"/>
                  </a:lnTo>
                  <a:lnTo>
                    <a:pt x="487" y="473"/>
                  </a:lnTo>
                  <a:lnTo>
                    <a:pt x="478" y="472"/>
                  </a:lnTo>
                  <a:lnTo>
                    <a:pt x="475" y="469"/>
                  </a:lnTo>
                  <a:lnTo>
                    <a:pt x="472" y="469"/>
                  </a:lnTo>
                  <a:lnTo>
                    <a:pt x="471" y="465"/>
                  </a:lnTo>
                  <a:lnTo>
                    <a:pt x="467" y="462"/>
                  </a:lnTo>
                  <a:lnTo>
                    <a:pt x="461" y="462"/>
                  </a:lnTo>
                  <a:lnTo>
                    <a:pt x="455" y="461"/>
                  </a:lnTo>
                  <a:lnTo>
                    <a:pt x="449" y="458"/>
                  </a:lnTo>
                  <a:lnTo>
                    <a:pt x="444" y="455"/>
                  </a:lnTo>
                  <a:lnTo>
                    <a:pt x="438" y="450"/>
                  </a:lnTo>
                  <a:lnTo>
                    <a:pt x="432" y="446"/>
                  </a:lnTo>
                  <a:lnTo>
                    <a:pt x="429" y="442"/>
                  </a:lnTo>
                  <a:lnTo>
                    <a:pt x="425" y="436"/>
                  </a:lnTo>
                  <a:lnTo>
                    <a:pt x="420" y="432"/>
                  </a:lnTo>
                  <a:lnTo>
                    <a:pt x="418" y="426"/>
                  </a:lnTo>
                  <a:lnTo>
                    <a:pt x="412" y="417"/>
                  </a:lnTo>
                  <a:lnTo>
                    <a:pt x="405" y="405"/>
                  </a:lnTo>
                  <a:lnTo>
                    <a:pt x="397" y="386"/>
                  </a:lnTo>
                  <a:lnTo>
                    <a:pt x="390" y="367"/>
                  </a:lnTo>
                  <a:lnTo>
                    <a:pt x="383" y="349"/>
                  </a:lnTo>
                  <a:lnTo>
                    <a:pt x="376" y="330"/>
                  </a:lnTo>
                  <a:lnTo>
                    <a:pt x="370" y="323"/>
                  </a:lnTo>
                  <a:lnTo>
                    <a:pt x="366" y="320"/>
                  </a:lnTo>
                  <a:lnTo>
                    <a:pt x="361" y="320"/>
                  </a:lnTo>
                  <a:lnTo>
                    <a:pt x="354" y="317"/>
                  </a:lnTo>
                  <a:lnTo>
                    <a:pt x="354" y="316"/>
                  </a:lnTo>
                  <a:lnTo>
                    <a:pt x="354" y="313"/>
                  </a:lnTo>
                  <a:lnTo>
                    <a:pt x="351" y="311"/>
                  </a:lnTo>
                  <a:lnTo>
                    <a:pt x="351" y="310"/>
                  </a:lnTo>
                  <a:lnTo>
                    <a:pt x="357" y="307"/>
                  </a:lnTo>
                  <a:lnTo>
                    <a:pt x="360" y="303"/>
                  </a:lnTo>
                  <a:lnTo>
                    <a:pt x="360" y="298"/>
                  </a:lnTo>
                  <a:lnTo>
                    <a:pt x="360" y="293"/>
                  </a:lnTo>
                  <a:lnTo>
                    <a:pt x="354" y="277"/>
                  </a:lnTo>
                  <a:lnTo>
                    <a:pt x="347" y="261"/>
                  </a:lnTo>
                  <a:lnTo>
                    <a:pt x="341" y="244"/>
                  </a:lnTo>
                  <a:lnTo>
                    <a:pt x="337" y="228"/>
                  </a:lnTo>
                  <a:lnTo>
                    <a:pt x="334" y="221"/>
                  </a:lnTo>
                  <a:lnTo>
                    <a:pt x="331" y="212"/>
                  </a:lnTo>
                  <a:lnTo>
                    <a:pt x="327" y="205"/>
                  </a:lnTo>
                  <a:lnTo>
                    <a:pt x="323" y="199"/>
                  </a:lnTo>
                  <a:lnTo>
                    <a:pt x="323" y="198"/>
                  </a:lnTo>
                  <a:lnTo>
                    <a:pt x="323" y="195"/>
                  </a:lnTo>
                  <a:lnTo>
                    <a:pt x="325" y="191"/>
                  </a:lnTo>
                  <a:lnTo>
                    <a:pt x="325" y="183"/>
                  </a:lnTo>
                  <a:lnTo>
                    <a:pt x="325" y="176"/>
                  </a:lnTo>
                  <a:lnTo>
                    <a:pt x="324" y="168"/>
                  </a:lnTo>
                  <a:lnTo>
                    <a:pt x="321" y="150"/>
                  </a:lnTo>
                  <a:lnTo>
                    <a:pt x="318" y="137"/>
                  </a:lnTo>
                  <a:lnTo>
                    <a:pt x="311" y="120"/>
                  </a:lnTo>
                  <a:lnTo>
                    <a:pt x="304" y="107"/>
                  </a:lnTo>
                  <a:lnTo>
                    <a:pt x="300" y="102"/>
                  </a:lnTo>
                  <a:lnTo>
                    <a:pt x="294" y="97"/>
                  </a:lnTo>
                  <a:lnTo>
                    <a:pt x="287" y="93"/>
                  </a:lnTo>
                  <a:lnTo>
                    <a:pt x="276" y="90"/>
                  </a:lnTo>
                  <a:lnTo>
                    <a:pt x="272" y="91"/>
                  </a:lnTo>
                  <a:lnTo>
                    <a:pt x="265" y="94"/>
                  </a:lnTo>
                  <a:lnTo>
                    <a:pt x="258" y="99"/>
                  </a:lnTo>
                  <a:lnTo>
                    <a:pt x="255" y="103"/>
                  </a:lnTo>
                  <a:lnTo>
                    <a:pt x="253" y="103"/>
                  </a:lnTo>
                  <a:lnTo>
                    <a:pt x="253" y="110"/>
                  </a:lnTo>
                  <a:lnTo>
                    <a:pt x="253" y="117"/>
                  </a:lnTo>
                  <a:lnTo>
                    <a:pt x="252" y="117"/>
                  </a:lnTo>
                  <a:lnTo>
                    <a:pt x="249" y="116"/>
                  </a:lnTo>
                  <a:lnTo>
                    <a:pt x="248" y="119"/>
                  </a:lnTo>
                  <a:lnTo>
                    <a:pt x="246" y="120"/>
                  </a:lnTo>
                  <a:lnTo>
                    <a:pt x="246" y="125"/>
                  </a:lnTo>
                  <a:lnTo>
                    <a:pt x="248" y="129"/>
                  </a:lnTo>
                  <a:lnTo>
                    <a:pt x="251" y="133"/>
                  </a:lnTo>
                  <a:lnTo>
                    <a:pt x="253" y="135"/>
                  </a:lnTo>
                  <a:lnTo>
                    <a:pt x="253" y="137"/>
                  </a:lnTo>
                  <a:lnTo>
                    <a:pt x="251" y="142"/>
                  </a:lnTo>
                  <a:lnTo>
                    <a:pt x="252" y="152"/>
                  </a:lnTo>
                  <a:lnTo>
                    <a:pt x="252" y="160"/>
                  </a:lnTo>
                  <a:lnTo>
                    <a:pt x="255" y="165"/>
                  </a:lnTo>
                  <a:lnTo>
                    <a:pt x="256" y="169"/>
                  </a:lnTo>
                  <a:lnTo>
                    <a:pt x="255" y="169"/>
                  </a:lnTo>
                  <a:lnTo>
                    <a:pt x="255" y="168"/>
                  </a:lnTo>
                  <a:lnTo>
                    <a:pt x="253" y="168"/>
                  </a:lnTo>
                  <a:lnTo>
                    <a:pt x="251" y="168"/>
                  </a:lnTo>
                  <a:lnTo>
                    <a:pt x="252" y="170"/>
                  </a:lnTo>
                  <a:lnTo>
                    <a:pt x="253" y="173"/>
                  </a:lnTo>
                  <a:lnTo>
                    <a:pt x="252" y="178"/>
                  </a:lnTo>
                  <a:lnTo>
                    <a:pt x="251" y="183"/>
                  </a:lnTo>
                  <a:lnTo>
                    <a:pt x="252" y="188"/>
                  </a:lnTo>
                  <a:lnTo>
                    <a:pt x="255" y="192"/>
                  </a:lnTo>
                  <a:lnTo>
                    <a:pt x="256" y="202"/>
                  </a:lnTo>
                  <a:lnTo>
                    <a:pt x="259" y="214"/>
                  </a:lnTo>
                  <a:lnTo>
                    <a:pt x="264" y="215"/>
                  </a:lnTo>
                  <a:lnTo>
                    <a:pt x="269" y="218"/>
                  </a:lnTo>
                  <a:lnTo>
                    <a:pt x="269" y="228"/>
                  </a:lnTo>
                  <a:lnTo>
                    <a:pt x="272" y="238"/>
                  </a:lnTo>
                  <a:lnTo>
                    <a:pt x="271" y="238"/>
                  </a:lnTo>
                  <a:lnTo>
                    <a:pt x="271" y="241"/>
                  </a:lnTo>
                  <a:lnTo>
                    <a:pt x="271" y="244"/>
                  </a:lnTo>
                  <a:lnTo>
                    <a:pt x="269" y="244"/>
                  </a:lnTo>
                  <a:lnTo>
                    <a:pt x="269" y="252"/>
                  </a:lnTo>
                  <a:lnTo>
                    <a:pt x="268" y="261"/>
                  </a:lnTo>
                  <a:lnTo>
                    <a:pt x="268" y="270"/>
                  </a:lnTo>
                  <a:lnTo>
                    <a:pt x="271" y="277"/>
                  </a:lnTo>
                  <a:lnTo>
                    <a:pt x="271" y="288"/>
                  </a:lnTo>
                  <a:lnTo>
                    <a:pt x="274" y="300"/>
                  </a:lnTo>
                  <a:lnTo>
                    <a:pt x="275" y="300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76" y="304"/>
                  </a:lnTo>
                  <a:lnTo>
                    <a:pt x="278" y="311"/>
                  </a:lnTo>
                  <a:lnTo>
                    <a:pt x="281" y="320"/>
                  </a:lnTo>
                  <a:lnTo>
                    <a:pt x="284" y="320"/>
                  </a:lnTo>
                  <a:lnTo>
                    <a:pt x="287" y="321"/>
                  </a:lnTo>
                  <a:lnTo>
                    <a:pt x="285" y="324"/>
                  </a:lnTo>
                  <a:lnTo>
                    <a:pt x="282" y="327"/>
                  </a:lnTo>
                  <a:lnTo>
                    <a:pt x="282" y="330"/>
                  </a:lnTo>
                  <a:lnTo>
                    <a:pt x="284" y="333"/>
                  </a:lnTo>
                  <a:lnTo>
                    <a:pt x="285" y="336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41"/>
                  </a:lnTo>
                  <a:lnTo>
                    <a:pt x="292" y="343"/>
                  </a:lnTo>
                  <a:lnTo>
                    <a:pt x="295" y="343"/>
                  </a:lnTo>
                  <a:lnTo>
                    <a:pt x="295" y="346"/>
                  </a:lnTo>
                  <a:lnTo>
                    <a:pt x="295" y="349"/>
                  </a:lnTo>
                  <a:lnTo>
                    <a:pt x="297" y="351"/>
                  </a:lnTo>
                  <a:lnTo>
                    <a:pt x="300" y="353"/>
                  </a:lnTo>
                  <a:lnTo>
                    <a:pt x="300" y="359"/>
                  </a:lnTo>
                  <a:lnTo>
                    <a:pt x="300" y="363"/>
                  </a:lnTo>
                  <a:lnTo>
                    <a:pt x="301" y="369"/>
                  </a:lnTo>
                  <a:lnTo>
                    <a:pt x="305" y="373"/>
                  </a:lnTo>
                  <a:lnTo>
                    <a:pt x="308" y="377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2" y="382"/>
                  </a:lnTo>
                  <a:lnTo>
                    <a:pt x="311" y="383"/>
                  </a:lnTo>
                  <a:lnTo>
                    <a:pt x="311" y="386"/>
                  </a:lnTo>
                  <a:lnTo>
                    <a:pt x="314" y="386"/>
                  </a:lnTo>
                  <a:lnTo>
                    <a:pt x="315" y="386"/>
                  </a:lnTo>
                  <a:lnTo>
                    <a:pt x="314" y="390"/>
                  </a:lnTo>
                  <a:lnTo>
                    <a:pt x="312" y="394"/>
                  </a:lnTo>
                  <a:lnTo>
                    <a:pt x="312" y="400"/>
                  </a:lnTo>
                  <a:lnTo>
                    <a:pt x="314" y="406"/>
                  </a:lnTo>
                  <a:lnTo>
                    <a:pt x="317" y="412"/>
                  </a:lnTo>
                  <a:lnTo>
                    <a:pt x="325" y="422"/>
                  </a:lnTo>
                  <a:lnTo>
                    <a:pt x="333" y="430"/>
                  </a:lnTo>
                  <a:lnTo>
                    <a:pt x="337" y="433"/>
                  </a:lnTo>
                  <a:lnTo>
                    <a:pt x="340" y="436"/>
                  </a:lnTo>
                  <a:lnTo>
                    <a:pt x="344" y="438"/>
                  </a:lnTo>
                  <a:lnTo>
                    <a:pt x="348" y="438"/>
                  </a:lnTo>
                  <a:lnTo>
                    <a:pt x="354" y="445"/>
                  </a:lnTo>
                  <a:lnTo>
                    <a:pt x="360" y="452"/>
                  </a:lnTo>
                  <a:lnTo>
                    <a:pt x="374" y="455"/>
                  </a:lnTo>
                  <a:lnTo>
                    <a:pt x="389" y="458"/>
                  </a:lnTo>
                  <a:lnTo>
                    <a:pt x="396" y="458"/>
                  </a:lnTo>
                  <a:lnTo>
                    <a:pt x="402" y="458"/>
                  </a:lnTo>
                  <a:lnTo>
                    <a:pt x="403" y="458"/>
                  </a:lnTo>
                  <a:lnTo>
                    <a:pt x="406" y="461"/>
                  </a:lnTo>
                  <a:lnTo>
                    <a:pt x="408" y="462"/>
                  </a:lnTo>
                  <a:lnTo>
                    <a:pt x="408" y="466"/>
                  </a:lnTo>
                  <a:lnTo>
                    <a:pt x="415" y="466"/>
                  </a:lnTo>
                  <a:lnTo>
                    <a:pt x="419" y="469"/>
                  </a:lnTo>
                  <a:lnTo>
                    <a:pt x="420" y="471"/>
                  </a:lnTo>
                  <a:lnTo>
                    <a:pt x="422" y="472"/>
                  </a:lnTo>
                  <a:lnTo>
                    <a:pt x="422" y="475"/>
                  </a:lnTo>
                  <a:lnTo>
                    <a:pt x="422" y="479"/>
                  </a:lnTo>
                  <a:lnTo>
                    <a:pt x="423" y="479"/>
                  </a:lnTo>
                  <a:lnTo>
                    <a:pt x="423" y="481"/>
                  </a:lnTo>
                  <a:lnTo>
                    <a:pt x="418" y="482"/>
                  </a:lnTo>
                  <a:lnTo>
                    <a:pt x="413" y="485"/>
                  </a:lnTo>
                  <a:lnTo>
                    <a:pt x="412" y="489"/>
                  </a:lnTo>
                  <a:lnTo>
                    <a:pt x="409" y="495"/>
                  </a:lnTo>
                  <a:lnTo>
                    <a:pt x="406" y="496"/>
                  </a:lnTo>
                  <a:lnTo>
                    <a:pt x="402" y="499"/>
                  </a:lnTo>
                  <a:lnTo>
                    <a:pt x="402" y="504"/>
                  </a:lnTo>
                  <a:lnTo>
                    <a:pt x="400" y="508"/>
                  </a:lnTo>
                  <a:lnTo>
                    <a:pt x="397" y="512"/>
                  </a:lnTo>
                  <a:lnTo>
                    <a:pt x="395" y="517"/>
                  </a:lnTo>
                  <a:lnTo>
                    <a:pt x="395" y="524"/>
                  </a:lnTo>
                  <a:lnTo>
                    <a:pt x="396" y="532"/>
                  </a:lnTo>
                  <a:lnTo>
                    <a:pt x="399" y="532"/>
                  </a:lnTo>
                  <a:lnTo>
                    <a:pt x="400" y="534"/>
                  </a:lnTo>
                  <a:lnTo>
                    <a:pt x="403" y="538"/>
                  </a:lnTo>
                  <a:lnTo>
                    <a:pt x="406" y="542"/>
                  </a:lnTo>
                  <a:lnTo>
                    <a:pt x="408" y="552"/>
                  </a:lnTo>
                  <a:lnTo>
                    <a:pt x="408" y="560"/>
                  </a:lnTo>
                  <a:lnTo>
                    <a:pt x="415" y="564"/>
                  </a:lnTo>
                  <a:lnTo>
                    <a:pt x="422" y="567"/>
                  </a:lnTo>
                  <a:lnTo>
                    <a:pt x="423" y="568"/>
                  </a:lnTo>
                  <a:lnTo>
                    <a:pt x="425" y="571"/>
                  </a:lnTo>
                  <a:lnTo>
                    <a:pt x="432" y="573"/>
                  </a:lnTo>
                  <a:lnTo>
                    <a:pt x="438" y="573"/>
                  </a:lnTo>
                  <a:lnTo>
                    <a:pt x="438" y="574"/>
                  </a:lnTo>
                  <a:lnTo>
                    <a:pt x="438" y="575"/>
                  </a:lnTo>
                  <a:lnTo>
                    <a:pt x="444" y="575"/>
                  </a:lnTo>
                  <a:lnTo>
                    <a:pt x="449" y="574"/>
                  </a:lnTo>
                  <a:lnTo>
                    <a:pt x="451" y="577"/>
                  </a:lnTo>
                  <a:lnTo>
                    <a:pt x="452" y="580"/>
                  </a:lnTo>
                  <a:lnTo>
                    <a:pt x="438" y="580"/>
                  </a:lnTo>
                  <a:lnTo>
                    <a:pt x="423" y="581"/>
                  </a:lnTo>
                  <a:lnTo>
                    <a:pt x="409" y="581"/>
                  </a:lnTo>
                  <a:lnTo>
                    <a:pt x="393" y="583"/>
                  </a:lnTo>
                  <a:lnTo>
                    <a:pt x="393" y="584"/>
                  </a:lnTo>
                  <a:lnTo>
                    <a:pt x="393" y="587"/>
                  </a:lnTo>
                  <a:lnTo>
                    <a:pt x="397" y="587"/>
                  </a:lnTo>
                  <a:lnTo>
                    <a:pt x="400" y="587"/>
                  </a:lnTo>
                  <a:lnTo>
                    <a:pt x="402" y="591"/>
                  </a:lnTo>
                  <a:lnTo>
                    <a:pt x="403" y="596"/>
                  </a:lnTo>
                  <a:lnTo>
                    <a:pt x="405" y="598"/>
                  </a:lnTo>
                  <a:lnTo>
                    <a:pt x="408" y="600"/>
                  </a:lnTo>
                  <a:lnTo>
                    <a:pt x="415" y="603"/>
                  </a:lnTo>
                  <a:lnTo>
                    <a:pt x="425" y="603"/>
                  </a:lnTo>
                  <a:lnTo>
                    <a:pt x="425" y="607"/>
                  </a:lnTo>
                  <a:lnTo>
                    <a:pt x="422" y="611"/>
                  </a:lnTo>
                  <a:lnTo>
                    <a:pt x="422" y="616"/>
                  </a:lnTo>
                  <a:lnTo>
                    <a:pt x="419" y="617"/>
                  </a:lnTo>
                  <a:lnTo>
                    <a:pt x="416" y="619"/>
                  </a:lnTo>
                  <a:lnTo>
                    <a:pt x="416" y="621"/>
                  </a:lnTo>
                  <a:lnTo>
                    <a:pt x="420" y="620"/>
                  </a:lnTo>
                  <a:lnTo>
                    <a:pt x="425" y="620"/>
                  </a:lnTo>
                  <a:lnTo>
                    <a:pt x="426" y="623"/>
                  </a:lnTo>
                  <a:lnTo>
                    <a:pt x="419" y="624"/>
                  </a:lnTo>
                  <a:lnTo>
                    <a:pt x="415" y="629"/>
                  </a:lnTo>
                  <a:lnTo>
                    <a:pt x="413" y="630"/>
                  </a:lnTo>
                  <a:lnTo>
                    <a:pt x="413" y="633"/>
                  </a:lnTo>
                  <a:lnTo>
                    <a:pt x="413" y="636"/>
                  </a:lnTo>
                  <a:lnTo>
                    <a:pt x="413" y="640"/>
                  </a:lnTo>
                  <a:lnTo>
                    <a:pt x="419" y="639"/>
                  </a:lnTo>
                  <a:lnTo>
                    <a:pt x="425" y="637"/>
                  </a:lnTo>
                  <a:lnTo>
                    <a:pt x="423" y="644"/>
                  </a:lnTo>
                  <a:lnTo>
                    <a:pt x="420" y="650"/>
                  </a:lnTo>
                  <a:lnTo>
                    <a:pt x="423" y="653"/>
                  </a:lnTo>
                  <a:lnTo>
                    <a:pt x="426" y="656"/>
                  </a:lnTo>
                  <a:lnTo>
                    <a:pt x="432" y="653"/>
                  </a:lnTo>
                  <a:lnTo>
                    <a:pt x="438" y="649"/>
                  </a:lnTo>
                  <a:lnTo>
                    <a:pt x="444" y="643"/>
                  </a:lnTo>
                  <a:lnTo>
                    <a:pt x="445" y="637"/>
                  </a:lnTo>
                  <a:lnTo>
                    <a:pt x="442" y="636"/>
                  </a:lnTo>
                  <a:lnTo>
                    <a:pt x="439" y="633"/>
                  </a:lnTo>
                  <a:lnTo>
                    <a:pt x="439" y="630"/>
                  </a:lnTo>
                  <a:lnTo>
                    <a:pt x="439" y="626"/>
                  </a:lnTo>
                  <a:lnTo>
                    <a:pt x="448" y="624"/>
                  </a:lnTo>
                  <a:lnTo>
                    <a:pt x="458" y="623"/>
                  </a:lnTo>
                  <a:lnTo>
                    <a:pt x="468" y="623"/>
                  </a:lnTo>
                  <a:lnTo>
                    <a:pt x="477" y="626"/>
                  </a:lnTo>
                  <a:lnTo>
                    <a:pt x="491" y="629"/>
                  </a:lnTo>
                  <a:lnTo>
                    <a:pt x="504" y="634"/>
                  </a:lnTo>
                  <a:lnTo>
                    <a:pt x="517" y="640"/>
                  </a:lnTo>
                  <a:lnTo>
                    <a:pt x="530" y="646"/>
                  </a:lnTo>
                  <a:lnTo>
                    <a:pt x="546" y="653"/>
                  </a:lnTo>
                  <a:lnTo>
                    <a:pt x="563" y="659"/>
                  </a:lnTo>
                  <a:lnTo>
                    <a:pt x="567" y="663"/>
                  </a:lnTo>
                  <a:lnTo>
                    <a:pt x="570" y="666"/>
                  </a:lnTo>
                  <a:lnTo>
                    <a:pt x="575" y="669"/>
                  </a:lnTo>
                  <a:lnTo>
                    <a:pt x="579" y="672"/>
                  </a:lnTo>
                  <a:lnTo>
                    <a:pt x="582" y="675"/>
                  </a:lnTo>
                  <a:lnTo>
                    <a:pt x="583" y="683"/>
                  </a:lnTo>
                  <a:lnTo>
                    <a:pt x="588" y="686"/>
                  </a:lnTo>
                  <a:lnTo>
                    <a:pt x="593" y="690"/>
                  </a:lnTo>
                  <a:lnTo>
                    <a:pt x="598" y="696"/>
                  </a:lnTo>
                  <a:lnTo>
                    <a:pt x="599" y="700"/>
                  </a:lnTo>
                  <a:lnTo>
                    <a:pt x="592" y="703"/>
                  </a:lnTo>
                  <a:lnTo>
                    <a:pt x="586" y="708"/>
                  </a:lnTo>
                  <a:lnTo>
                    <a:pt x="580" y="708"/>
                  </a:lnTo>
                  <a:lnTo>
                    <a:pt x="577" y="710"/>
                  </a:lnTo>
                  <a:lnTo>
                    <a:pt x="573" y="713"/>
                  </a:lnTo>
                  <a:lnTo>
                    <a:pt x="572" y="719"/>
                  </a:lnTo>
                  <a:lnTo>
                    <a:pt x="564" y="719"/>
                  </a:lnTo>
                  <a:lnTo>
                    <a:pt x="560" y="722"/>
                  </a:lnTo>
                  <a:lnTo>
                    <a:pt x="554" y="726"/>
                  </a:lnTo>
                  <a:lnTo>
                    <a:pt x="550" y="731"/>
                  </a:lnTo>
                  <a:lnTo>
                    <a:pt x="550" y="732"/>
                  </a:lnTo>
                  <a:lnTo>
                    <a:pt x="553" y="733"/>
                  </a:lnTo>
                  <a:lnTo>
                    <a:pt x="557" y="733"/>
                  </a:lnTo>
                  <a:lnTo>
                    <a:pt x="554" y="736"/>
                  </a:lnTo>
                  <a:lnTo>
                    <a:pt x="552" y="739"/>
                  </a:lnTo>
                  <a:lnTo>
                    <a:pt x="547" y="739"/>
                  </a:lnTo>
                  <a:lnTo>
                    <a:pt x="543" y="741"/>
                  </a:lnTo>
                  <a:lnTo>
                    <a:pt x="543" y="743"/>
                  </a:lnTo>
                  <a:lnTo>
                    <a:pt x="544" y="746"/>
                  </a:lnTo>
                  <a:lnTo>
                    <a:pt x="540" y="751"/>
                  </a:lnTo>
                  <a:lnTo>
                    <a:pt x="534" y="755"/>
                  </a:lnTo>
                  <a:lnTo>
                    <a:pt x="531" y="759"/>
                  </a:lnTo>
                  <a:lnTo>
                    <a:pt x="531" y="765"/>
                  </a:lnTo>
                  <a:lnTo>
                    <a:pt x="528" y="765"/>
                  </a:lnTo>
                  <a:lnTo>
                    <a:pt x="527" y="766"/>
                  </a:lnTo>
                  <a:lnTo>
                    <a:pt x="526" y="764"/>
                  </a:lnTo>
                  <a:lnTo>
                    <a:pt x="524" y="761"/>
                  </a:lnTo>
                  <a:lnTo>
                    <a:pt x="521" y="761"/>
                  </a:lnTo>
                  <a:lnTo>
                    <a:pt x="518" y="761"/>
                  </a:lnTo>
                  <a:lnTo>
                    <a:pt x="518" y="764"/>
                  </a:lnTo>
                  <a:lnTo>
                    <a:pt x="518" y="768"/>
                  </a:lnTo>
                  <a:lnTo>
                    <a:pt x="513" y="765"/>
                  </a:lnTo>
                  <a:lnTo>
                    <a:pt x="507" y="758"/>
                  </a:lnTo>
                  <a:lnTo>
                    <a:pt x="500" y="755"/>
                  </a:lnTo>
                  <a:lnTo>
                    <a:pt x="491" y="755"/>
                  </a:lnTo>
                  <a:lnTo>
                    <a:pt x="484" y="755"/>
                  </a:lnTo>
                  <a:lnTo>
                    <a:pt x="475" y="756"/>
                  </a:lnTo>
                  <a:lnTo>
                    <a:pt x="467" y="755"/>
                  </a:lnTo>
                  <a:lnTo>
                    <a:pt x="456" y="753"/>
                  </a:lnTo>
                  <a:lnTo>
                    <a:pt x="452" y="752"/>
                  </a:lnTo>
                  <a:lnTo>
                    <a:pt x="446" y="751"/>
                  </a:lnTo>
                  <a:lnTo>
                    <a:pt x="439" y="751"/>
                  </a:lnTo>
                  <a:lnTo>
                    <a:pt x="435" y="751"/>
                  </a:lnTo>
                  <a:lnTo>
                    <a:pt x="429" y="755"/>
                  </a:lnTo>
                  <a:lnTo>
                    <a:pt x="422" y="755"/>
                  </a:lnTo>
                  <a:lnTo>
                    <a:pt x="415" y="755"/>
                  </a:lnTo>
                  <a:lnTo>
                    <a:pt x="409" y="755"/>
                  </a:lnTo>
                  <a:lnTo>
                    <a:pt x="409" y="752"/>
                  </a:lnTo>
                  <a:lnTo>
                    <a:pt x="419" y="751"/>
                  </a:lnTo>
                  <a:lnTo>
                    <a:pt x="429" y="746"/>
                  </a:lnTo>
                  <a:lnTo>
                    <a:pt x="428" y="745"/>
                  </a:lnTo>
                  <a:lnTo>
                    <a:pt x="410" y="749"/>
                  </a:lnTo>
                  <a:lnTo>
                    <a:pt x="393" y="752"/>
                  </a:lnTo>
                  <a:lnTo>
                    <a:pt x="393" y="751"/>
                  </a:lnTo>
                  <a:lnTo>
                    <a:pt x="400" y="748"/>
                  </a:lnTo>
                  <a:lnTo>
                    <a:pt x="408" y="745"/>
                  </a:lnTo>
                  <a:lnTo>
                    <a:pt x="425" y="742"/>
                  </a:lnTo>
                  <a:lnTo>
                    <a:pt x="441" y="736"/>
                  </a:lnTo>
                  <a:lnTo>
                    <a:pt x="431" y="738"/>
                  </a:lnTo>
                  <a:lnTo>
                    <a:pt x="419" y="738"/>
                  </a:lnTo>
                  <a:lnTo>
                    <a:pt x="423" y="735"/>
                  </a:lnTo>
                  <a:lnTo>
                    <a:pt x="428" y="733"/>
                  </a:lnTo>
                  <a:lnTo>
                    <a:pt x="428" y="732"/>
                  </a:lnTo>
                  <a:lnTo>
                    <a:pt x="420" y="731"/>
                  </a:lnTo>
                  <a:lnTo>
                    <a:pt x="413" y="732"/>
                  </a:lnTo>
                  <a:lnTo>
                    <a:pt x="413" y="733"/>
                  </a:lnTo>
                  <a:lnTo>
                    <a:pt x="408" y="735"/>
                  </a:lnTo>
                  <a:lnTo>
                    <a:pt x="403" y="736"/>
                  </a:lnTo>
                  <a:lnTo>
                    <a:pt x="412" y="732"/>
                  </a:lnTo>
                  <a:lnTo>
                    <a:pt x="419" y="728"/>
                  </a:lnTo>
                  <a:lnTo>
                    <a:pt x="418" y="726"/>
                  </a:lnTo>
                  <a:lnTo>
                    <a:pt x="415" y="726"/>
                  </a:lnTo>
                  <a:lnTo>
                    <a:pt x="410" y="728"/>
                  </a:lnTo>
                  <a:lnTo>
                    <a:pt x="406" y="729"/>
                  </a:lnTo>
                  <a:lnTo>
                    <a:pt x="405" y="732"/>
                  </a:lnTo>
                  <a:lnTo>
                    <a:pt x="392" y="733"/>
                  </a:lnTo>
                  <a:lnTo>
                    <a:pt x="380" y="735"/>
                  </a:lnTo>
                  <a:lnTo>
                    <a:pt x="372" y="736"/>
                  </a:lnTo>
                  <a:lnTo>
                    <a:pt x="357" y="739"/>
                  </a:lnTo>
                  <a:lnTo>
                    <a:pt x="344" y="743"/>
                  </a:lnTo>
                  <a:lnTo>
                    <a:pt x="334" y="748"/>
                  </a:lnTo>
                  <a:lnTo>
                    <a:pt x="336" y="751"/>
                  </a:lnTo>
                  <a:lnTo>
                    <a:pt x="333" y="751"/>
                  </a:lnTo>
                  <a:lnTo>
                    <a:pt x="331" y="752"/>
                  </a:lnTo>
                  <a:lnTo>
                    <a:pt x="331" y="755"/>
                  </a:lnTo>
                  <a:lnTo>
                    <a:pt x="331" y="758"/>
                  </a:lnTo>
                  <a:lnTo>
                    <a:pt x="327" y="758"/>
                  </a:lnTo>
                  <a:lnTo>
                    <a:pt x="323" y="759"/>
                  </a:lnTo>
                  <a:lnTo>
                    <a:pt x="318" y="762"/>
                  </a:lnTo>
                  <a:lnTo>
                    <a:pt x="315" y="765"/>
                  </a:lnTo>
                  <a:lnTo>
                    <a:pt x="317" y="766"/>
                  </a:lnTo>
                  <a:lnTo>
                    <a:pt x="318" y="769"/>
                  </a:lnTo>
                  <a:lnTo>
                    <a:pt x="311" y="772"/>
                  </a:lnTo>
                  <a:lnTo>
                    <a:pt x="304" y="775"/>
                  </a:lnTo>
                  <a:lnTo>
                    <a:pt x="298" y="787"/>
                  </a:lnTo>
                  <a:lnTo>
                    <a:pt x="292" y="798"/>
                  </a:lnTo>
                  <a:lnTo>
                    <a:pt x="289" y="799"/>
                  </a:lnTo>
                  <a:lnTo>
                    <a:pt x="289" y="797"/>
                  </a:lnTo>
                  <a:lnTo>
                    <a:pt x="289" y="794"/>
                  </a:lnTo>
                  <a:lnTo>
                    <a:pt x="284" y="797"/>
                  </a:lnTo>
                  <a:lnTo>
                    <a:pt x="282" y="801"/>
                  </a:lnTo>
                  <a:lnTo>
                    <a:pt x="278" y="799"/>
                  </a:lnTo>
                  <a:lnTo>
                    <a:pt x="275" y="799"/>
                  </a:lnTo>
                  <a:lnTo>
                    <a:pt x="276" y="795"/>
                  </a:lnTo>
                  <a:lnTo>
                    <a:pt x="276" y="789"/>
                  </a:lnTo>
                  <a:lnTo>
                    <a:pt x="274" y="791"/>
                  </a:lnTo>
                  <a:lnTo>
                    <a:pt x="272" y="794"/>
                  </a:lnTo>
                  <a:lnTo>
                    <a:pt x="271" y="797"/>
                  </a:lnTo>
                  <a:lnTo>
                    <a:pt x="268" y="799"/>
                  </a:lnTo>
                  <a:lnTo>
                    <a:pt x="265" y="799"/>
                  </a:lnTo>
                  <a:lnTo>
                    <a:pt x="259" y="802"/>
                  </a:lnTo>
                  <a:lnTo>
                    <a:pt x="256" y="805"/>
                  </a:lnTo>
                  <a:lnTo>
                    <a:pt x="252" y="805"/>
                  </a:lnTo>
                  <a:lnTo>
                    <a:pt x="248" y="805"/>
                  </a:lnTo>
                  <a:lnTo>
                    <a:pt x="245" y="807"/>
                  </a:lnTo>
                  <a:lnTo>
                    <a:pt x="242" y="811"/>
                  </a:lnTo>
                  <a:lnTo>
                    <a:pt x="239" y="812"/>
                  </a:lnTo>
                  <a:lnTo>
                    <a:pt x="238" y="814"/>
                  </a:lnTo>
                  <a:lnTo>
                    <a:pt x="238" y="817"/>
                  </a:lnTo>
                  <a:lnTo>
                    <a:pt x="238" y="820"/>
                  </a:lnTo>
                  <a:lnTo>
                    <a:pt x="242" y="825"/>
                  </a:lnTo>
                  <a:lnTo>
                    <a:pt x="248" y="831"/>
                  </a:lnTo>
                  <a:lnTo>
                    <a:pt x="255" y="838"/>
                  </a:lnTo>
                  <a:lnTo>
                    <a:pt x="264" y="843"/>
                  </a:lnTo>
                  <a:lnTo>
                    <a:pt x="268" y="844"/>
                  </a:lnTo>
                  <a:lnTo>
                    <a:pt x="272" y="844"/>
                  </a:lnTo>
                  <a:lnTo>
                    <a:pt x="275" y="844"/>
                  </a:lnTo>
                  <a:lnTo>
                    <a:pt x="279" y="843"/>
                  </a:lnTo>
                  <a:lnTo>
                    <a:pt x="276" y="848"/>
                  </a:lnTo>
                  <a:lnTo>
                    <a:pt x="276" y="855"/>
                  </a:lnTo>
                  <a:lnTo>
                    <a:pt x="278" y="861"/>
                  </a:lnTo>
                  <a:lnTo>
                    <a:pt x="279" y="867"/>
                  </a:lnTo>
                  <a:lnTo>
                    <a:pt x="285" y="878"/>
                  </a:lnTo>
                  <a:lnTo>
                    <a:pt x="292" y="888"/>
                  </a:lnTo>
                  <a:lnTo>
                    <a:pt x="302" y="894"/>
                  </a:lnTo>
                  <a:lnTo>
                    <a:pt x="311" y="900"/>
                  </a:lnTo>
                  <a:lnTo>
                    <a:pt x="324" y="911"/>
                  </a:lnTo>
                  <a:lnTo>
                    <a:pt x="338" y="922"/>
                  </a:lnTo>
                  <a:lnTo>
                    <a:pt x="353" y="933"/>
                  </a:lnTo>
                  <a:lnTo>
                    <a:pt x="369" y="940"/>
                  </a:lnTo>
                  <a:lnTo>
                    <a:pt x="373" y="944"/>
                  </a:lnTo>
                  <a:lnTo>
                    <a:pt x="380" y="947"/>
                  </a:lnTo>
                  <a:lnTo>
                    <a:pt x="387" y="949"/>
                  </a:lnTo>
                  <a:lnTo>
                    <a:pt x="393" y="949"/>
                  </a:lnTo>
                  <a:lnTo>
                    <a:pt x="400" y="955"/>
                  </a:lnTo>
                  <a:lnTo>
                    <a:pt x="410" y="956"/>
                  </a:lnTo>
                  <a:lnTo>
                    <a:pt x="419" y="957"/>
                  </a:lnTo>
                  <a:lnTo>
                    <a:pt x="429" y="959"/>
                  </a:lnTo>
                  <a:lnTo>
                    <a:pt x="433" y="965"/>
                  </a:lnTo>
                  <a:lnTo>
                    <a:pt x="441" y="967"/>
                  </a:lnTo>
                  <a:lnTo>
                    <a:pt x="442" y="970"/>
                  </a:lnTo>
                  <a:lnTo>
                    <a:pt x="442" y="972"/>
                  </a:lnTo>
                  <a:lnTo>
                    <a:pt x="454" y="972"/>
                  </a:lnTo>
                  <a:lnTo>
                    <a:pt x="465" y="969"/>
                  </a:lnTo>
                  <a:lnTo>
                    <a:pt x="472" y="975"/>
                  </a:lnTo>
                  <a:lnTo>
                    <a:pt x="481" y="978"/>
                  </a:lnTo>
                  <a:lnTo>
                    <a:pt x="490" y="982"/>
                  </a:lnTo>
                  <a:lnTo>
                    <a:pt x="495" y="986"/>
                  </a:lnTo>
                  <a:lnTo>
                    <a:pt x="503" y="988"/>
                  </a:lnTo>
                  <a:lnTo>
                    <a:pt x="513" y="988"/>
                  </a:lnTo>
                  <a:lnTo>
                    <a:pt x="511" y="990"/>
                  </a:lnTo>
                  <a:lnTo>
                    <a:pt x="511" y="993"/>
                  </a:lnTo>
                  <a:lnTo>
                    <a:pt x="511" y="995"/>
                  </a:lnTo>
                  <a:lnTo>
                    <a:pt x="513" y="996"/>
                  </a:lnTo>
                  <a:lnTo>
                    <a:pt x="517" y="998"/>
                  </a:lnTo>
                  <a:lnTo>
                    <a:pt x="523" y="999"/>
                  </a:lnTo>
                  <a:lnTo>
                    <a:pt x="527" y="1003"/>
                  </a:lnTo>
                  <a:lnTo>
                    <a:pt x="533" y="1006"/>
                  </a:lnTo>
                  <a:lnTo>
                    <a:pt x="549" y="1006"/>
                  </a:lnTo>
                  <a:lnTo>
                    <a:pt x="564" y="1008"/>
                  </a:lnTo>
                  <a:lnTo>
                    <a:pt x="580" y="1009"/>
                  </a:lnTo>
                  <a:lnTo>
                    <a:pt x="596" y="1009"/>
                  </a:lnTo>
                  <a:lnTo>
                    <a:pt x="603" y="1012"/>
                  </a:lnTo>
                  <a:lnTo>
                    <a:pt x="612" y="1013"/>
                  </a:lnTo>
                  <a:lnTo>
                    <a:pt x="619" y="1013"/>
                  </a:lnTo>
                  <a:lnTo>
                    <a:pt x="628" y="1013"/>
                  </a:lnTo>
                  <a:close/>
                  <a:moveTo>
                    <a:pt x="567" y="848"/>
                  </a:moveTo>
                  <a:lnTo>
                    <a:pt x="567" y="848"/>
                  </a:lnTo>
                  <a:lnTo>
                    <a:pt x="570" y="844"/>
                  </a:lnTo>
                  <a:lnTo>
                    <a:pt x="572" y="838"/>
                  </a:lnTo>
                  <a:lnTo>
                    <a:pt x="569" y="838"/>
                  </a:lnTo>
                  <a:lnTo>
                    <a:pt x="567" y="841"/>
                  </a:lnTo>
                  <a:lnTo>
                    <a:pt x="566" y="844"/>
                  </a:lnTo>
                  <a:lnTo>
                    <a:pt x="566" y="848"/>
                  </a:lnTo>
                  <a:lnTo>
                    <a:pt x="567" y="848"/>
                  </a:lnTo>
                  <a:close/>
                  <a:moveTo>
                    <a:pt x="575" y="834"/>
                  </a:moveTo>
                  <a:lnTo>
                    <a:pt x="575" y="834"/>
                  </a:lnTo>
                  <a:lnTo>
                    <a:pt x="575" y="831"/>
                  </a:lnTo>
                  <a:lnTo>
                    <a:pt x="585" y="825"/>
                  </a:lnTo>
                  <a:lnTo>
                    <a:pt x="596" y="815"/>
                  </a:lnTo>
                  <a:lnTo>
                    <a:pt x="600" y="809"/>
                  </a:lnTo>
                  <a:lnTo>
                    <a:pt x="605" y="805"/>
                  </a:lnTo>
                  <a:lnTo>
                    <a:pt x="605" y="802"/>
                  </a:lnTo>
                  <a:lnTo>
                    <a:pt x="605" y="799"/>
                  </a:lnTo>
                  <a:lnTo>
                    <a:pt x="605" y="797"/>
                  </a:lnTo>
                  <a:lnTo>
                    <a:pt x="603" y="794"/>
                  </a:lnTo>
                  <a:lnTo>
                    <a:pt x="606" y="791"/>
                  </a:lnTo>
                  <a:lnTo>
                    <a:pt x="611" y="789"/>
                  </a:lnTo>
                  <a:lnTo>
                    <a:pt x="618" y="775"/>
                  </a:lnTo>
                  <a:lnTo>
                    <a:pt x="626" y="761"/>
                  </a:lnTo>
                  <a:lnTo>
                    <a:pt x="631" y="755"/>
                  </a:lnTo>
                  <a:lnTo>
                    <a:pt x="636" y="748"/>
                  </a:lnTo>
                  <a:lnTo>
                    <a:pt x="642" y="743"/>
                  </a:lnTo>
                  <a:lnTo>
                    <a:pt x="649" y="738"/>
                  </a:lnTo>
                  <a:lnTo>
                    <a:pt x="652" y="726"/>
                  </a:lnTo>
                  <a:lnTo>
                    <a:pt x="655" y="715"/>
                  </a:lnTo>
                  <a:lnTo>
                    <a:pt x="661" y="705"/>
                  </a:lnTo>
                  <a:lnTo>
                    <a:pt x="668" y="695"/>
                  </a:lnTo>
                  <a:lnTo>
                    <a:pt x="670" y="690"/>
                  </a:lnTo>
                  <a:lnTo>
                    <a:pt x="670" y="689"/>
                  </a:lnTo>
                  <a:lnTo>
                    <a:pt x="655" y="706"/>
                  </a:lnTo>
                  <a:lnTo>
                    <a:pt x="644" y="722"/>
                  </a:lnTo>
                  <a:lnTo>
                    <a:pt x="636" y="723"/>
                  </a:lnTo>
                  <a:lnTo>
                    <a:pt x="632" y="726"/>
                  </a:lnTo>
                  <a:lnTo>
                    <a:pt x="629" y="731"/>
                  </a:lnTo>
                  <a:lnTo>
                    <a:pt x="626" y="739"/>
                  </a:lnTo>
                  <a:lnTo>
                    <a:pt x="618" y="748"/>
                  </a:lnTo>
                  <a:lnTo>
                    <a:pt x="611" y="758"/>
                  </a:lnTo>
                  <a:lnTo>
                    <a:pt x="606" y="766"/>
                  </a:lnTo>
                  <a:lnTo>
                    <a:pt x="599" y="772"/>
                  </a:lnTo>
                  <a:lnTo>
                    <a:pt x="598" y="776"/>
                  </a:lnTo>
                  <a:lnTo>
                    <a:pt x="596" y="779"/>
                  </a:lnTo>
                  <a:lnTo>
                    <a:pt x="593" y="781"/>
                  </a:lnTo>
                  <a:lnTo>
                    <a:pt x="589" y="782"/>
                  </a:lnTo>
                  <a:lnTo>
                    <a:pt x="589" y="785"/>
                  </a:lnTo>
                  <a:lnTo>
                    <a:pt x="592" y="788"/>
                  </a:lnTo>
                  <a:lnTo>
                    <a:pt x="593" y="792"/>
                  </a:lnTo>
                  <a:lnTo>
                    <a:pt x="592" y="797"/>
                  </a:lnTo>
                  <a:lnTo>
                    <a:pt x="590" y="802"/>
                  </a:lnTo>
                  <a:lnTo>
                    <a:pt x="585" y="808"/>
                  </a:lnTo>
                  <a:lnTo>
                    <a:pt x="579" y="818"/>
                  </a:lnTo>
                  <a:lnTo>
                    <a:pt x="573" y="827"/>
                  </a:lnTo>
                  <a:lnTo>
                    <a:pt x="572" y="834"/>
                  </a:lnTo>
                  <a:lnTo>
                    <a:pt x="575" y="834"/>
                  </a:lnTo>
                  <a:close/>
                  <a:moveTo>
                    <a:pt x="531" y="802"/>
                  </a:moveTo>
                  <a:lnTo>
                    <a:pt x="531" y="802"/>
                  </a:lnTo>
                  <a:lnTo>
                    <a:pt x="531" y="801"/>
                  </a:lnTo>
                  <a:lnTo>
                    <a:pt x="531" y="799"/>
                  </a:lnTo>
                  <a:lnTo>
                    <a:pt x="531" y="799"/>
                  </a:lnTo>
                  <a:lnTo>
                    <a:pt x="528" y="799"/>
                  </a:lnTo>
                  <a:lnTo>
                    <a:pt x="530" y="801"/>
                  </a:lnTo>
                  <a:lnTo>
                    <a:pt x="531" y="802"/>
                  </a:lnTo>
                  <a:close/>
                  <a:moveTo>
                    <a:pt x="229" y="808"/>
                  </a:moveTo>
                  <a:lnTo>
                    <a:pt x="229" y="808"/>
                  </a:lnTo>
                  <a:lnTo>
                    <a:pt x="233" y="804"/>
                  </a:lnTo>
                  <a:lnTo>
                    <a:pt x="233" y="797"/>
                  </a:lnTo>
                  <a:lnTo>
                    <a:pt x="236" y="795"/>
                  </a:lnTo>
                  <a:lnTo>
                    <a:pt x="236" y="788"/>
                  </a:lnTo>
                  <a:lnTo>
                    <a:pt x="235" y="782"/>
                  </a:lnTo>
                  <a:lnTo>
                    <a:pt x="238" y="779"/>
                  </a:lnTo>
                  <a:lnTo>
                    <a:pt x="239" y="775"/>
                  </a:lnTo>
                  <a:lnTo>
                    <a:pt x="238" y="772"/>
                  </a:lnTo>
                  <a:lnTo>
                    <a:pt x="238" y="768"/>
                  </a:lnTo>
                  <a:lnTo>
                    <a:pt x="240" y="764"/>
                  </a:lnTo>
                  <a:lnTo>
                    <a:pt x="240" y="759"/>
                  </a:lnTo>
                  <a:lnTo>
                    <a:pt x="235" y="756"/>
                  </a:lnTo>
                  <a:lnTo>
                    <a:pt x="230" y="753"/>
                  </a:lnTo>
                  <a:lnTo>
                    <a:pt x="233" y="752"/>
                  </a:lnTo>
                  <a:lnTo>
                    <a:pt x="230" y="749"/>
                  </a:lnTo>
                  <a:lnTo>
                    <a:pt x="220" y="743"/>
                  </a:lnTo>
                  <a:lnTo>
                    <a:pt x="220" y="742"/>
                  </a:lnTo>
                  <a:lnTo>
                    <a:pt x="219" y="739"/>
                  </a:lnTo>
                  <a:lnTo>
                    <a:pt x="222" y="738"/>
                  </a:lnTo>
                  <a:lnTo>
                    <a:pt x="223" y="736"/>
                  </a:lnTo>
                  <a:lnTo>
                    <a:pt x="223" y="735"/>
                  </a:lnTo>
                  <a:lnTo>
                    <a:pt x="220" y="732"/>
                  </a:lnTo>
                  <a:lnTo>
                    <a:pt x="220" y="731"/>
                  </a:lnTo>
                  <a:lnTo>
                    <a:pt x="219" y="729"/>
                  </a:lnTo>
                  <a:lnTo>
                    <a:pt x="222" y="728"/>
                  </a:lnTo>
                  <a:lnTo>
                    <a:pt x="222" y="725"/>
                  </a:lnTo>
                  <a:lnTo>
                    <a:pt x="219" y="722"/>
                  </a:lnTo>
                  <a:lnTo>
                    <a:pt x="217" y="719"/>
                  </a:lnTo>
                  <a:lnTo>
                    <a:pt x="212" y="715"/>
                  </a:lnTo>
                  <a:lnTo>
                    <a:pt x="207" y="710"/>
                  </a:lnTo>
                  <a:lnTo>
                    <a:pt x="207" y="706"/>
                  </a:lnTo>
                  <a:lnTo>
                    <a:pt x="206" y="702"/>
                  </a:lnTo>
                  <a:lnTo>
                    <a:pt x="203" y="699"/>
                  </a:lnTo>
                  <a:lnTo>
                    <a:pt x="199" y="697"/>
                  </a:lnTo>
                  <a:lnTo>
                    <a:pt x="194" y="693"/>
                  </a:lnTo>
                  <a:lnTo>
                    <a:pt x="181" y="683"/>
                  </a:lnTo>
                  <a:lnTo>
                    <a:pt x="179" y="683"/>
                  </a:lnTo>
                  <a:lnTo>
                    <a:pt x="174" y="685"/>
                  </a:lnTo>
                  <a:lnTo>
                    <a:pt x="164" y="680"/>
                  </a:lnTo>
                  <a:lnTo>
                    <a:pt x="156" y="676"/>
                  </a:lnTo>
                  <a:lnTo>
                    <a:pt x="153" y="675"/>
                  </a:lnTo>
                  <a:lnTo>
                    <a:pt x="150" y="676"/>
                  </a:lnTo>
                  <a:lnTo>
                    <a:pt x="150" y="669"/>
                  </a:lnTo>
                  <a:lnTo>
                    <a:pt x="151" y="660"/>
                  </a:lnTo>
                  <a:lnTo>
                    <a:pt x="145" y="660"/>
                  </a:lnTo>
                  <a:lnTo>
                    <a:pt x="141" y="657"/>
                  </a:lnTo>
                  <a:lnTo>
                    <a:pt x="141" y="653"/>
                  </a:lnTo>
                  <a:lnTo>
                    <a:pt x="141" y="649"/>
                  </a:lnTo>
                  <a:lnTo>
                    <a:pt x="132" y="640"/>
                  </a:lnTo>
                  <a:lnTo>
                    <a:pt x="130" y="637"/>
                  </a:lnTo>
                  <a:lnTo>
                    <a:pt x="120" y="637"/>
                  </a:lnTo>
                  <a:lnTo>
                    <a:pt x="111" y="636"/>
                  </a:lnTo>
                  <a:lnTo>
                    <a:pt x="111" y="633"/>
                  </a:lnTo>
                  <a:lnTo>
                    <a:pt x="111" y="630"/>
                  </a:lnTo>
                  <a:lnTo>
                    <a:pt x="109" y="630"/>
                  </a:lnTo>
                  <a:lnTo>
                    <a:pt x="107" y="630"/>
                  </a:lnTo>
                  <a:lnTo>
                    <a:pt x="107" y="633"/>
                  </a:lnTo>
                  <a:lnTo>
                    <a:pt x="104" y="633"/>
                  </a:lnTo>
                  <a:lnTo>
                    <a:pt x="104" y="630"/>
                  </a:lnTo>
                  <a:lnTo>
                    <a:pt x="104" y="629"/>
                  </a:lnTo>
                  <a:lnTo>
                    <a:pt x="94" y="624"/>
                  </a:lnTo>
                  <a:lnTo>
                    <a:pt x="82" y="621"/>
                  </a:lnTo>
                  <a:lnTo>
                    <a:pt x="81" y="623"/>
                  </a:lnTo>
                  <a:lnTo>
                    <a:pt x="76" y="616"/>
                  </a:lnTo>
                  <a:lnTo>
                    <a:pt x="73" y="610"/>
                  </a:lnTo>
                  <a:lnTo>
                    <a:pt x="71" y="610"/>
                  </a:lnTo>
                  <a:lnTo>
                    <a:pt x="68" y="607"/>
                  </a:lnTo>
                  <a:lnTo>
                    <a:pt x="65" y="606"/>
                  </a:lnTo>
                  <a:lnTo>
                    <a:pt x="62" y="604"/>
                  </a:lnTo>
                  <a:lnTo>
                    <a:pt x="58" y="603"/>
                  </a:lnTo>
                  <a:lnTo>
                    <a:pt x="50" y="601"/>
                  </a:lnTo>
                  <a:lnTo>
                    <a:pt x="43" y="601"/>
                  </a:lnTo>
                  <a:lnTo>
                    <a:pt x="39" y="604"/>
                  </a:lnTo>
                  <a:lnTo>
                    <a:pt x="33" y="604"/>
                  </a:lnTo>
                  <a:lnTo>
                    <a:pt x="27" y="604"/>
                  </a:lnTo>
                  <a:lnTo>
                    <a:pt x="23" y="604"/>
                  </a:lnTo>
                  <a:lnTo>
                    <a:pt x="22" y="608"/>
                  </a:lnTo>
                  <a:lnTo>
                    <a:pt x="20" y="613"/>
                  </a:lnTo>
                  <a:lnTo>
                    <a:pt x="17" y="611"/>
                  </a:lnTo>
                  <a:lnTo>
                    <a:pt x="14" y="611"/>
                  </a:lnTo>
                  <a:lnTo>
                    <a:pt x="16" y="614"/>
                  </a:lnTo>
                  <a:lnTo>
                    <a:pt x="17" y="616"/>
                  </a:lnTo>
                  <a:lnTo>
                    <a:pt x="14" y="617"/>
                  </a:lnTo>
                  <a:lnTo>
                    <a:pt x="14" y="619"/>
                  </a:lnTo>
                  <a:lnTo>
                    <a:pt x="14" y="621"/>
                  </a:lnTo>
                  <a:lnTo>
                    <a:pt x="7" y="621"/>
                  </a:lnTo>
                  <a:lnTo>
                    <a:pt x="0" y="621"/>
                  </a:lnTo>
                  <a:lnTo>
                    <a:pt x="0" y="624"/>
                  </a:lnTo>
                  <a:lnTo>
                    <a:pt x="0" y="627"/>
                  </a:lnTo>
                  <a:lnTo>
                    <a:pt x="1" y="630"/>
                  </a:lnTo>
                  <a:lnTo>
                    <a:pt x="4" y="634"/>
                  </a:lnTo>
                  <a:lnTo>
                    <a:pt x="9" y="640"/>
                  </a:lnTo>
                  <a:lnTo>
                    <a:pt x="16" y="647"/>
                  </a:lnTo>
                  <a:lnTo>
                    <a:pt x="32" y="660"/>
                  </a:lnTo>
                  <a:lnTo>
                    <a:pt x="40" y="670"/>
                  </a:lnTo>
                  <a:lnTo>
                    <a:pt x="55" y="680"/>
                  </a:lnTo>
                  <a:lnTo>
                    <a:pt x="68" y="692"/>
                  </a:lnTo>
                  <a:lnTo>
                    <a:pt x="82" y="703"/>
                  </a:lnTo>
                  <a:lnTo>
                    <a:pt x="95" y="715"/>
                  </a:lnTo>
                  <a:lnTo>
                    <a:pt x="99" y="715"/>
                  </a:lnTo>
                  <a:lnTo>
                    <a:pt x="104" y="718"/>
                  </a:lnTo>
                  <a:lnTo>
                    <a:pt x="107" y="719"/>
                  </a:lnTo>
                  <a:lnTo>
                    <a:pt x="109" y="723"/>
                  </a:lnTo>
                  <a:lnTo>
                    <a:pt x="122" y="732"/>
                  </a:lnTo>
                  <a:lnTo>
                    <a:pt x="134" y="741"/>
                  </a:lnTo>
                  <a:lnTo>
                    <a:pt x="153" y="751"/>
                  </a:lnTo>
                  <a:lnTo>
                    <a:pt x="171" y="762"/>
                  </a:lnTo>
                  <a:lnTo>
                    <a:pt x="180" y="768"/>
                  </a:lnTo>
                  <a:lnTo>
                    <a:pt x="189" y="774"/>
                  </a:lnTo>
                  <a:lnTo>
                    <a:pt x="193" y="774"/>
                  </a:lnTo>
                  <a:lnTo>
                    <a:pt x="197" y="774"/>
                  </a:lnTo>
                  <a:lnTo>
                    <a:pt x="199" y="776"/>
                  </a:lnTo>
                  <a:lnTo>
                    <a:pt x="202" y="781"/>
                  </a:lnTo>
                  <a:lnTo>
                    <a:pt x="206" y="782"/>
                  </a:lnTo>
                  <a:lnTo>
                    <a:pt x="210" y="785"/>
                  </a:lnTo>
                  <a:lnTo>
                    <a:pt x="209" y="787"/>
                  </a:lnTo>
                  <a:lnTo>
                    <a:pt x="207" y="785"/>
                  </a:lnTo>
                  <a:lnTo>
                    <a:pt x="203" y="785"/>
                  </a:lnTo>
                  <a:lnTo>
                    <a:pt x="203" y="788"/>
                  </a:lnTo>
                  <a:lnTo>
                    <a:pt x="206" y="788"/>
                  </a:lnTo>
                  <a:lnTo>
                    <a:pt x="207" y="789"/>
                  </a:lnTo>
                  <a:lnTo>
                    <a:pt x="210" y="789"/>
                  </a:lnTo>
                  <a:lnTo>
                    <a:pt x="212" y="797"/>
                  </a:lnTo>
                  <a:lnTo>
                    <a:pt x="217" y="801"/>
                  </a:lnTo>
                  <a:lnTo>
                    <a:pt x="223" y="805"/>
                  </a:lnTo>
                  <a:lnTo>
                    <a:pt x="229" y="808"/>
                  </a:lnTo>
                  <a:close/>
                  <a:moveTo>
                    <a:pt x="245" y="792"/>
                  </a:moveTo>
                  <a:lnTo>
                    <a:pt x="245" y="792"/>
                  </a:lnTo>
                  <a:lnTo>
                    <a:pt x="245" y="789"/>
                  </a:lnTo>
                  <a:lnTo>
                    <a:pt x="242" y="789"/>
                  </a:lnTo>
                  <a:lnTo>
                    <a:pt x="240" y="791"/>
                  </a:lnTo>
                  <a:lnTo>
                    <a:pt x="242" y="791"/>
                  </a:lnTo>
                  <a:lnTo>
                    <a:pt x="245" y="792"/>
                  </a:lnTo>
                  <a:close/>
                  <a:moveTo>
                    <a:pt x="276" y="788"/>
                  </a:moveTo>
                  <a:lnTo>
                    <a:pt x="276" y="788"/>
                  </a:lnTo>
                  <a:lnTo>
                    <a:pt x="276" y="787"/>
                  </a:lnTo>
                  <a:lnTo>
                    <a:pt x="276" y="785"/>
                  </a:lnTo>
                  <a:lnTo>
                    <a:pt x="272" y="784"/>
                  </a:lnTo>
                  <a:lnTo>
                    <a:pt x="269" y="784"/>
                  </a:lnTo>
                  <a:lnTo>
                    <a:pt x="269" y="785"/>
                  </a:lnTo>
                  <a:lnTo>
                    <a:pt x="272" y="787"/>
                  </a:lnTo>
                  <a:lnTo>
                    <a:pt x="276" y="788"/>
                  </a:lnTo>
                  <a:close/>
                  <a:moveTo>
                    <a:pt x="374" y="748"/>
                  </a:moveTo>
                  <a:lnTo>
                    <a:pt x="374" y="748"/>
                  </a:lnTo>
                  <a:lnTo>
                    <a:pt x="374" y="746"/>
                  </a:lnTo>
                  <a:lnTo>
                    <a:pt x="376" y="743"/>
                  </a:lnTo>
                  <a:lnTo>
                    <a:pt x="387" y="741"/>
                  </a:lnTo>
                  <a:lnTo>
                    <a:pt x="400" y="739"/>
                  </a:lnTo>
                  <a:lnTo>
                    <a:pt x="400" y="736"/>
                  </a:lnTo>
                  <a:lnTo>
                    <a:pt x="389" y="738"/>
                  </a:lnTo>
                  <a:lnTo>
                    <a:pt x="377" y="739"/>
                  </a:lnTo>
                  <a:lnTo>
                    <a:pt x="366" y="742"/>
                  </a:lnTo>
                  <a:lnTo>
                    <a:pt x="354" y="745"/>
                  </a:lnTo>
                  <a:lnTo>
                    <a:pt x="354" y="746"/>
                  </a:lnTo>
                  <a:lnTo>
                    <a:pt x="364" y="746"/>
                  </a:lnTo>
                  <a:lnTo>
                    <a:pt x="374" y="748"/>
                  </a:lnTo>
                  <a:close/>
                  <a:moveTo>
                    <a:pt x="405" y="742"/>
                  </a:moveTo>
                  <a:lnTo>
                    <a:pt x="405" y="742"/>
                  </a:lnTo>
                  <a:lnTo>
                    <a:pt x="405" y="741"/>
                  </a:lnTo>
                  <a:lnTo>
                    <a:pt x="402" y="739"/>
                  </a:lnTo>
                  <a:lnTo>
                    <a:pt x="402" y="742"/>
                  </a:lnTo>
                  <a:lnTo>
                    <a:pt x="405" y="742"/>
                  </a:lnTo>
                  <a:close/>
                  <a:moveTo>
                    <a:pt x="334" y="741"/>
                  </a:moveTo>
                  <a:lnTo>
                    <a:pt x="334" y="741"/>
                  </a:lnTo>
                  <a:lnTo>
                    <a:pt x="338" y="739"/>
                  </a:lnTo>
                  <a:lnTo>
                    <a:pt x="350" y="738"/>
                  </a:lnTo>
                  <a:lnTo>
                    <a:pt x="364" y="733"/>
                  </a:lnTo>
                  <a:lnTo>
                    <a:pt x="379" y="729"/>
                  </a:lnTo>
                  <a:lnTo>
                    <a:pt x="393" y="726"/>
                  </a:lnTo>
                  <a:lnTo>
                    <a:pt x="408" y="720"/>
                  </a:lnTo>
                  <a:lnTo>
                    <a:pt x="403" y="720"/>
                  </a:lnTo>
                  <a:lnTo>
                    <a:pt x="400" y="720"/>
                  </a:lnTo>
                  <a:lnTo>
                    <a:pt x="399" y="718"/>
                  </a:lnTo>
                  <a:lnTo>
                    <a:pt x="403" y="716"/>
                  </a:lnTo>
                  <a:lnTo>
                    <a:pt x="406" y="715"/>
                  </a:lnTo>
                  <a:lnTo>
                    <a:pt x="408" y="713"/>
                  </a:lnTo>
                  <a:lnTo>
                    <a:pt x="402" y="713"/>
                  </a:lnTo>
                  <a:lnTo>
                    <a:pt x="396" y="715"/>
                  </a:lnTo>
                  <a:lnTo>
                    <a:pt x="399" y="710"/>
                  </a:lnTo>
                  <a:lnTo>
                    <a:pt x="403" y="706"/>
                  </a:lnTo>
                  <a:lnTo>
                    <a:pt x="402" y="703"/>
                  </a:lnTo>
                  <a:lnTo>
                    <a:pt x="399" y="703"/>
                  </a:lnTo>
                  <a:lnTo>
                    <a:pt x="396" y="703"/>
                  </a:lnTo>
                  <a:lnTo>
                    <a:pt x="393" y="705"/>
                  </a:lnTo>
                  <a:lnTo>
                    <a:pt x="390" y="706"/>
                  </a:lnTo>
                  <a:lnTo>
                    <a:pt x="382" y="709"/>
                  </a:lnTo>
                  <a:lnTo>
                    <a:pt x="372" y="710"/>
                  </a:lnTo>
                  <a:lnTo>
                    <a:pt x="363" y="715"/>
                  </a:lnTo>
                  <a:lnTo>
                    <a:pt x="356" y="720"/>
                  </a:lnTo>
                  <a:lnTo>
                    <a:pt x="347" y="728"/>
                  </a:lnTo>
                  <a:lnTo>
                    <a:pt x="338" y="733"/>
                  </a:lnTo>
                  <a:lnTo>
                    <a:pt x="334" y="738"/>
                  </a:lnTo>
                  <a:lnTo>
                    <a:pt x="331" y="741"/>
                  </a:lnTo>
                  <a:lnTo>
                    <a:pt x="333" y="741"/>
                  </a:lnTo>
                  <a:lnTo>
                    <a:pt x="334" y="741"/>
                  </a:lnTo>
                  <a:close/>
                  <a:moveTo>
                    <a:pt x="449" y="735"/>
                  </a:moveTo>
                  <a:lnTo>
                    <a:pt x="449" y="735"/>
                  </a:lnTo>
                  <a:lnTo>
                    <a:pt x="452" y="735"/>
                  </a:lnTo>
                  <a:lnTo>
                    <a:pt x="455" y="735"/>
                  </a:lnTo>
                  <a:lnTo>
                    <a:pt x="454" y="733"/>
                  </a:lnTo>
                  <a:lnTo>
                    <a:pt x="451" y="733"/>
                  </a:lnTo>
                  <a:lnTo>
                    <a:pt x="446" y="733"/>
                  </a:lnTo>
                  <a:lnTo>
                    <a:pt x="446" y="735"/>
                  </a:lnTo>
                  <a:lnTo>
                    <a:pt x="449" y="735"/>
                  </a:lnTo>
                  <a:close/>
                  <a:moveTo>
                    <a:pt x="613" y="712"/>
                  </a:moveTo>
                  <a:lnTo>
                    <a:pt x="613" y="712"/>
                  </a:lnTo>
                  <a:lnTo>
                    <a:pt x="613" y="710"/>
                  </a:lnTo>
                  <a:lnTo>
                    <a:pt x="613" y="708"/>
                  </a:lnTo>
                  <a:lnTo>
                    <a:pt x="609" y="705"/>
                  </a:lnTo>
                  <a:lnTo>
                    <a:pt x="603" y="703"/>
                  </a:lnTo>
                  <a:lnTo>
                    <a:pt x="605" y="708"/>
                  </a:lnTo>
                  <a:lnTo>
                    <a:pt x="608" y="712"/>
                  </a:lnTo>
                  <a:lnTo>
                    <a:pt x="611" y="712"/>
                  </a:lnTo>
                  <a:lnTo>
                    <a:pt x="613" y="712"/>
                  </a:lnTo>
                  <a:close/>
                  <a:moveTo>
                    <a:pt x="425" y="660"/>
                  </a:moveTo>
                  <a:lnTo>
                    <a:pt x="425" y="660"/>
                  </a:lnTo>
                  <a:lnTo>
                    <a:pt x="423" y="657"/>
                  </a:lnTo>
                  <a:lnTo>
                    <a:pt x="422" y="657"/>
                  </a:lnTo>
                  <a:lnTo>
                    <a:pt x="420" y="660"/>
                  </a:lnTo>
                  <a:lnTo>
                    <a:pt x="423" y="660"/>
                  </a:lnTo>
                  <a:lnTo>
                    <a:pt x="425" y="660"/>
                  </a:lnTo>
                  <a:close/>
                  <a:moveTo>
                    <a:pt x="435" y="621"/>
                  </a:moveTo>
                  <a:lnTo>
                    <a:pt x="435" y="621"/>
                  </a:lnTo>
                  <a:lnTo>
                    <a:pt x="435" y="620"/>
                  </a:lnTo>
                  <a:lnTo>
                    <a:pt x="433" y="620"/>
                  </a:lnTo>
                  <a:lnTo>
                    <a:pt x="432" y="620"/>
                  </a:lnTo>
                  <a:lnTo>
                    <a:pt x="431" y="621"/>
                  </a:lnTo>
                  <a:lnTo>
                    <a:pt x="432" y="621"/>
                  </a:lnTo>
                  <a:lnTo>
                    <a:pt x="435" y="621"/>
                  </a:lnTo>
                  <a:close/>
                  <a:moveTo>
                    <a:pt x="62" y="621"/>
                  </a:moveTo>
                  <a:lnTo>
                    <a:pt x="62" y="621"/>
                  </a:lnTo>
                  <a:lnTo>
                    <a:pt x="65" y="619"/>
                  </a:lnTo>
                  <a:lnTo>
                    <a:pt x="68" y="617"/>
                  </a:lnTo>
                  <a:lnTo>
                    <a:pt x="66" y="614"/>
                  </a:lnTo>
                  <a:lnTo>
                    <a:pt x="62" y="614"/>
                  </a:lnTo>
                  <a:lnTo>
                    <a:pt x="58" y="616"/>
                  </a:lnTo>
                  <a:lnTo>
                    <a:pt x="58" y="617"/>
                  </a:lnTo>
                  <a:lnTo>
                    <a:pt x="59" y="620"/>
                  </a:lnTo>
                  <a:lnTo>
                    <a:pt x="60" y="620"/>
                  </a:lnTo>
                  <a:lnTo>
                    <a:pt x="62" y="621"/>
                  </a:lnTo>
                  <a:close/>
                  <a:moveTo>
                    <a:pt x="42" y="616"/>
                  </a:moveTo>
                  <a:lnTo>
                    <a:pt x="42" y="616"/>
                  </a:lnTo>
                  <a:lnTo>
                    <a:pt x="42" y="614"/>
                  </a:lnTo>
                  <a:lnTo>
                    <a:pt x="42" y="611"/>
                  </a:lnTo>
                  <a:lnTo>
                    <a:pt x="40" y="611"/>
                  </a:lnTo>
                  <a:lnTo>
                    <a:pt x="37" y="611"/>
                  </a:lnTo>
                  <a:lnTo>
                    <a:pt x="39" y="614"/>
                  </a:lnTo>
                  <a:lnTo>
                    <a:pt x="42" y="616"/>
                  </a:lnTo>
                  <a:close/>
                  <a:moveTo>
                    <a:pt x="53" y="611"/>
                  </a:moveTo>
                  <a:lnTo>
                    <a:pt x="53" y="611"/>
                  </a:lnTo>
                  <a:lnTo>
                    <a:pt x="56" y="610"/>
                  </a:lnTo>
                  <a:lnTo>
                    <a:pt x="56" y="608"/>
                  </a:lnTo>
                  <a:lnTo>
                    <a:pt x="55" y="607"/>
                  </a:lnTo>
                  <a:lnTo>
                    <a:pt x="53" y="606"/>
                  </a:lnTo>
                  <a:lnTo>
                    <a:pt x="50" y="607"/>
                  </a:lnTo>
                  <a:lnTo>
                    <a:pt x="50" y="610"/>
                  </a:lnTo>
                  <a:lnTo>
                    <a:pt x="50" y="611"/>
                  </a:lnTo>
                  <a:lnTo>
                    <a:pt x="52" y="611"/>
                  </a:lnTo>
                  <a:lnTo>
                    <a:pt x="53" y="611"/>
                  </a:lnTo>
                  <a:close/>
                  <a:moveTo>
                    <a:pt x="53" y="594"/>
                  </a:moveTo>
                  <a:lnTo>
                    <a:pt x="53" y="594"/>
                  </a:lnTo>
                  <a:lnTo>
                    <a:pt x="55" y="591"/>
                  </a:lnTo>
                  <a:lnTo>
                    <a:pt x="46" y="591"/>
                  </a:lnTo>
                  <a:lnTo>
                    <a:pt x="40" y="593"/>
                  </a:lnTo>
                  <a:lnTo>
                    <a:pt x="46" y="594"/>
                  </a:lnTo>
                  <a:lnTo>
                    <a:pt x="53" y="594"/>
                  </a:lnTo>
                  <a:close/>
                  <a:moveTo>
                    <a:pt x="793" y="564"/>
                  </a:moveTo>
                  <a:lnTo>
                    <a:pt x="793" y="564"/>
                  </a:lnTo>
                  <a:lnTo>
                    <a:pt x="793" y="563"/>
                  </a:lnTo>
                  <a:lnTo>
                    <a:pt x="789" y="563"/>
                  </a:lnTo>
                  <a:lnTo>
                    <a:pt x="789" y="564"/>
                  </a:lnTo>
                  <a:lnTo>
                    <a:pt x="791" y="564"/>
                  </a:lnTo>
                  <a:lnTo>
                    <a:pt x="793" y="564"/>
                  </a:lnTo>
                  <a:close/>
                  <a:moveTo>
                    <a:pt x="776" y="551"/>
                  </a:moveTo>
                  <a:lnTo>
                    <a:pt x="776" y="551"/>
                  </a:lnTo>
                  <a:lnTo>
                    <a:pt x="776" y="550"/>
                  </a:lnTo>
                  <a:lnTo>
                    <a:pt x="775" y="548"/>
                  </a:lnTo>
                  <a:lnTo>
                    <a:pt x="775" y="550"/>
                  </a:lnTo>
                  <a:lnTo>
                    <a:pt x="776" y="551"/>
                  </a:lnTo>
                  <a:close/>
                  <a:moveTo>
                    <a:pt x="670" y="473"/>
                  </a:moveTo>
                  <a:lnTo>
                    <a:pt x="670" y="473"/>
                  </a:lnTo>
                  <a:lnTo>
                    <a:pt x="670" y="471"/>
                  </a:lnTo>
                  <a:lnTo>
                    <a:pt x="668" y="471"/>
                  </a:lnTo>
                  <a:lnTo>
                    <a:pt x="665" y="471"/>
                  </a:lnTo>
                  <a:lnTo>
                    <a:pt x="665" y="472"/>
                  </a:lnTo>
                  <a:lnTo>
                    <a:pt x="668" y="472"/>
                  </a:lnTo>
                  <a:lnTo>
                    <a:pt x="670" y="473"/>
                  </a:lnTo>
                  <a:close/>
                  <a:moveTo>
                    <a:pt x="672" y="465"/>
                  </a:moveTo>
                  <a:lnTo>
                    <a:pt x="672" y="465"/>
                  </a:lnTo>
                  <a:lnTo>
                    <a:pt x="674" y="463"/>
                  </a:lnTo>
                  <a:lnTo>
                    <a:pt x="677" y="462"/>
                  </a:lnTo>
                  <a:lnTo>
                    <a:pt x="677" y="461"/>
                  </a:lnTo>
                  <a:lnTo>
                    <a:pt x="675" y="458"/>
                  </a:lnTo>
                  <a:lnTo>
                    <a:pt x="680" y="453"/>
                  </a:lnTo>
                  <a:lnTo>
                    <a:pt x="683" y="450"/>
                  </a:lnTo>
                  <a:lnTo>
                    <a:pt x="684" y="445"/>
                  </a:lnTo>
                  <a:lnTo>
                    <a:pt x="685" y="440"/>
                  </a:lnTo>
                  <a:lnTo>
                    <a:pt x="694" y="430"/>
                  </a:lnTo>
                  <a:lnTo>
                    <a:pt x="700" y="420"/>
                  </a:lnTo>
                  <a:lnTo>
                    <a:pt x="706" y="410"/>
                  </a:lnTo>
                  <a:lnTo>
                    <a:pt x="711" y="399"/>
                  </a:lnTo>
                  <a:lnTo>
                    <a:pt x="720" y="376"/>
                  </a:lnTo>
                  <a:lnTo>
                    <a:pt x="727" y="353"/>
                  </a:lnTo>
                  <a:lnTo>
                    <a:pt x="726" y="344"/>
                  </a:lnTo>
                  <a:lnTo>
                    <a:pt x="727" y="336"/>
                  </a:lnTo>
                  <a:lnTo>
                    <a:pt x="727" y="327"/>
                  </a:lnTo>
                  <a:lnTo>
                    <a:pt x="727" y="321"/>
                  </a:lnTo>
                  <a:lnTo>
                    <a:pt x="727" y="314"/>
                  </a:lnTo>
                  <a:lnTo>
                    <a:pt x="732" y="307"/>
                  </a:lnTo>
                  <a:lnTo>
                    <a:pt x="734" y="281"/>
                  </a:lnTo>
                  <a:lnTo>
                    <a:pt x="739" y="255"/>
                  </a:lnTo>
                  <a:lnTo>
                    <a:pt x="743" y="228"/>
                  </a:lnTo>
                  <a:lnTo>
                    <a:pt x="744" y="202"/>
                  </a:lnTo>
                  <a:lnTo>
                    <a:pt x="746" y="196"/>
                  </a:lnTo>
                  <a:lnTo>
                    <a:pt x="746" y="192"/>
                  </a:lnTo>
                  <a:lnTo>
                    <a:pt x="744" y="186"/>
                  </a:lnTo>
                  <a:lnTo>
                    <a:pt x="742" y="182"/>
                  </a:lnTo>
                  <a:lnTo>
                    <a:pt x="744" y="179"/>
                  </a:lnTo>
                  <a:lnTo>
                    <a:pt x="746" y="178"/>
                  </a:lnTo>
                  <a:lnTo>
                    <a:pt x="750" y="156"/>
                  </a:lnTo>
                  <a:lnTo>
                    <a:pt x="752" y="135"/>
                  </a:lnTo>
                  <a:lnTo>
                    <a:pt x="753" y="113"/>
                  </a:lnTo>
                  <a:lnTo>
                    <a:pt x="755" y="93"/>
                  </a:lnTo>
                  <a:lnTo>
                    <a:pt x="753" y="77"/>
                  </a:lnTo>
                  <a:lnTo>
                    <a:pt x="749" y="63"/>
                  </a:lnTo>
                  <a:lnTo>
                    <a:pt x="746" y="57"/>
                  </a:lnTo>
                  <a:lnTo>
                    <a:pt x="740" y="53"/>
                  </a:lnTo>
                  <a:lnTo>
                    <a:pt x="734" y="48"/>
                  </a:lnTo>
                  <a:lnTo>
                    <a:pt x="726" y="46"/>
                  </a:lnTo>
                  <a:lnTo>
                    <a:pt x="714" y="46"/>
                  </a:lnTo>
                  <a:lnTo>
                    <a:pt x="704" y="46"/>
                  </a:lnTo>
                  <a:lnTo>
                    <a:pt x="698" y="48"/>
                  </a:lnTo>
                  <a:lnTo>
                    <a:pt x="693" y="54"/>
                  </a:lnTo>
                  <a:lnTo>
                    <a:pt x="690" y="60"/>
                  </a:lnTo>
                  <a:lnTo>
                    <a:pt x="685" y="66"/>
                  </a:lnTo>
                  <a:lnTo>
                    <a:pt x="684" y="80"/>
                  </a:lnTo>
                  <a:lnTo>
                    <a:pt x="683" y="83"/>
                  </a:lnTo>
                  <a:lnTo>
                    <a:pt x="683" y="90"/>
                  </a:lnTo>
                  <a:lnTo>
                    <a:pt x="684" y="100"/>
                  </a:lnTo>
                  <a:lnTo>
                    <a:pt x="683" y="109"/>
                  </a:lnTo>
                  <a:lnTo>
                    <a:pt x="681" y="116"/>
                  </a:lnTo>
                  <a:lnTo>
                    <a:pt x="683" y="119"/>
                  </a:lnTo>
                  <a:lnTo>
                    <a:pt x="683" y="123"/>
                  </a:lnTo>
                  <a:lnTo>
                    <a:pt x="681" y="127"/>
                  </a:lnTo>
                  <a:lnTo>
                    <a:pt x="681" y="133"/>
                  </a:lnTo>
                  <a:lnTo>
                    <a:pt x="681" y="137"/>
                  </a:lnTo>
                  <a:lnTo>
                    <a:pt x="683" y="143"/>
                  </a:lnTo>
                  <a:lnTo>
                    <a:pt x="680" y="149"/>
                  </a:lnTo>
                  <a:lnTo>
                    <a:pt x="680" y="158"/>
                  </a:lnTo>
                  <a:lnTo>
                    <a:pt x="680" y="166"/>
                  </a:lnTo>
                  <a:lnTo>
                    <a:pt x="681" y="170"/>
                  </a:lnTo>
                  <a:lnTo>
                    <a:pt x="696" y="173"/>
                  </a:lnTo>
                  <a:lnTo>
                    <a:pt x="708" y="175"/>
                  </a:lnTo>
                  <a:lnTo>
                    <a:pt x="710" y="176"/>
                  </a:lnTo>
                  <a:lnTo>
                    <a:pt x="710" y="179"/>
                  </a:lnTo>
                  <a:lnTo>
                    <a:pt x="701" y="179"/>
                  </a:lnTo>
                  <a:lnTo>
                    <a:pt x="696" y="179"/>
                  </a:lnTo>
                  <a:lnTo>
                    <a:pt x="688" y="179"/>
                  </a:lnTo>
                  <a:lnTo>
                    <a:pt x="681" y="183"/>
                  </a:lnTo>
                  <a:lnTo>
                    <a:pt x="678" y="188"/>
                  </a:lnTo>
                  <a:lnTo>
                    <a:pt x="674" y="196"/>
                  </a:lnTo>
                  <a:lnTo>
                    <a:pt x="674" y="202"/>
                  </a:lnTo>
                  <a:lnTo>
                    <a:pt x="674" y="209"/>
                  </a:lnTo>
                  <a:lnTo>
                    <a:pt x="674" y="216"/>
                  </a:lnTo>
                  <a:lnTo>
                    <a:pt x="671" y="222"/>
                  </a:lnTo>
                  <a:lnTo>
                    <a:pt x="671" y="232"/>
                  </a:lnTo>
                  <a:lnTo>
                    <a:pt x="670" y="244"/>
                  </a:lnTo>
                  <a:lnTo>
                    <a:pt x="668" y="244"/>
                  </a:lnTo>
                  <a:lnTo>
                    <a:pt x="668" y="248"/>
                  </a:lnTo>
                  <a:lnTo>
                    <a:pt x="668" y="255"/>
                  </a:lnTo>
                  <a:lnTo>
                    <a:pt x="665" y="257"/>
                  </a:lnTo>
                  <a:lnTo>
                    <a:pt x="664" y="267"/>
                  </a:lnTo>
                  <a:lnTo>
                    <a:pt x="664" y="278"/>
                  </a:lnTo>
                  <a:lnTo>
                    <a:pt x="661" y="278"/>
                  </a:lnTo>
                  <a:lnTo>
                    <a:pt x="662" y="280"/>
                  </a:lnTo>
                  <a:lnTo>
                    <a:pt x="662" y="282"/>
                  </a:lnTo>
                  <a:lnTo>
                    <a:pt x="665" y="284"/>
                  </a:lnTo>
                  <a:lnTo>
                    <a:pt x="667" y="287"/>
                  </a:lnTo>
                  <a:lnTo>
                    <a:pt x="664" y="290"/>
                  </a:lnTo>
                  <a:lnTo>
                    <a:pt x="662" y="294"/>
                  </a:lnTo>
                  <a:lnTo>
                    <a:pt x="660" y="300"/>
                  </a:lnTo>
                  <a:lnTo>
                    <a:pt x="660" y="304"/>
                  </a:lnTo>
                  <a:lnTo>
                    <a:pt x="661" y="304"/>
                  </a:lnTo>
                  <a:lnTo>
                    <a:pt x="664" y="305"/>
                  </a:lnTo>
                  <a:lnTo>
                    <a:pt x="662" y="307"/>
                  </a:lnTo>
                  <a:lnTo>
                    <a:pt x="660" y="310"/>
                  </a:lnTo>
                  <a:lnTo>
                    <a:pt x="661" y="311"/>
                  </a:lnTo>
                  <a:lnTo>
                    <a:pt x="664" y="316"/>
                  </a:lnTo>
                  <a:lnTo>
                    <a:pt x="662" y="316"/>
                  </a:lnTo>
                  <a:lnTo>
                    <a:pt x="658" y="318"/>
                  </a:lnTo>
                  <a:lnTo>
                    <a:pt x="655" y="324"/>
                  </a:lnTo>
                  <a:lnTo>
                    <a:pt x="651" y="328"/>
                  </a:lnTo>
                  <a:lnTo>
                    <a:pt x="648" y="337"/>
                  </a:lnTo>
                  <a:lnTo>
                    <a:pt x="644" y="343"/>
                  </a:lnTo>
                  <a:lnTo>
                    <a:pt x="644" y="354"/>
                  </a:lnTo>
                  <a:lnTo>
                    <a:pt x="641" y="364"/>
                  </a:lnTo>
                  <a:lnTo>
                    <a:pt x="639" y="376"/>
                  </a:lnTo>
                  <a:lnTo>
                    <a:pt x="638" y="387"/>
                  </a:lnTo>
                  <a:lnTo>
                    <a:pt x="638" y="397"/>
                  </a:lnTo>
                  <a:lnTo>
                    <a:pt x="638" y="407"/>
                  </a:lnTo>
                  <a:lnTo>
                    <a:pt x="636" y="419"/>
                  </a:lnTo>
                  <a:lnTo>
                    <a:pt x="638" y="426"/>
                  </a:lnTo>
                  <a:lnTo>
                    <a:pt x="639" y="429"/>
                  </a:lnTo>
                  <a:lnTo>
                    <a:pt x="641" y="432"/>
                  </a:lnTo>
                  <a:lnTo>
                    <a:pt x="645" y="433"/>
                  </a:lnTo>
                  <a:lnTo>
                    <a:pt x="651" y="435"/>
                  </a:lnTo>
                  <a:lnTo>
                    <a:pt x="649" y="436"/>
                  </a:lnTo>
                  <a:lnTo>
                    <a:pt x="647" y="438"/>
                  </a:lnTo>
                  <a:lnTo>
                    <a:pt x="642" y="438"/>
                  </a:lnTo>
                  <a:lnTo>
                    <a:pt x="638" y="436"/>
                  </a:lnTo>
                  <a:lnTo>
                    <a:pt x="638" y="439"/>
                  </a:lnTo>
                  <a:lnTo>
                    <a:pt x="636" y="442"/>
                  </a:lnTo>
                  <a:lnTo>
                    <a:pt x="636" y="443"/>
                  </a:lnTo>
                  <a:lnTo>
                    <a:pt x="638" y="446"/>
                  </a:lnTo>
                  <a:lnTo>
                    <a:pt x="635" y="449"/>
                  </a:lnTo>
                  <a:lnTo>
                    <a:pt x="634" y="452"/>
                  </a:lnTo>
                  <a:lnTo>
                    <a:pt x="635" y="455"/>
                  </a:lnTo>
                  <a:lnTo>
                    <a:pt x="635" y="459"/>
                  </a:lnTo>
                  <a:lnTo>
                    <a:pt x="636" y="459"/>
                  </a:lnTo>
                  <a:lnTo>
                    <a:pt x="639" y="459"/>
                  </a:lnTo>
                  <a:lnTo>
                    <a:pt x="639" y="461"/>
                  </a:lnTo>
                  <a:lnTo>
                    <a:pt x="639" y="462"/>
                  </a:lnTo>
                  <a:lnTo>
                    <a:pt x="644" y="462"/>
                  </a:lnTo>
                  <a:lnTo>
                    <a:pt x="649" y="462"/>
                  </a:lnTo>
                  <a:lnTo>
                    <a:pt x="654" y="462"/>
                  </a:lnTo>
                  <a:lnTo>
                    <a:pt x="657" y="465"/>
                  </a:lnTo>
                  <a:lnTo>
                    <a:pt x="660" y="465"/>
                  </a:lnTo>
                  <a:lnTo>
                    <a:pt x="661" y="463"/>
                  </a:lnTo>
                  <a:lnTo>
                    <a:pt x="667" y="465"/>
                  </a:lnTo>
                  <a:lnTo>
                    <a:pt x="672" y="465"/>
                  </a:lnTo>
                  <a:close/>
                  <a:moveTo>
                    <a:pt x="661" y="462"/>
                  </a:moveTo>
                  <a:lnTo>
                    <a:pt x="661" y="462"/>
                  </a:lnTo>
                  <a:lnTo>
                    <a:pt x="665" y="461"/>
                  </a:lnTo>
                  <a:lnTo>
                    <a:pt x="667" y="459"/>
                  </a:lnTo>
                  <a:lnTo>
                    <a:pt x="662" y="458"/>
                  </a:lnTo>
                  <a:lnTo>
                    <a:pt x="657" y="459"/>
                  </a:lnTo>
                  <a:lnTo>
                    <a:pt x="660" y="461"/>
                  </a:lnTo>
                  <a:lnTo>
                    <a:pt x="661" y="462"/>
                  </a:lnTo>
                  <a:close/>
                  <a:moveTo>
                    <a:pt x="566" y="461"/>
                  </a:moveTo>
                  <a:lnTo>
                    <a:pt x="566" y="461"/>
                  </a:lnTo>
                  <a:lnTo>
                    <a:pt x="569" y="456"/>
                  </a:lnTo>
                  <a:lnTo>
                    <a:pt x="572" y="452"/>
                  </a:lnTo>
                  <a:lnTo>
                    <a:pt x="570" y="448"/>
                  </a:lnTo>
                  <a:lnTo>
                    <a:pt x="567" y="446"/>
                  </a:lnTo>
                  <a:lnTo>
                    <a:pt x="564" y="445"/>
                  </a:lnTo>
                  <a:lnTo>
                    <a:pt x="562" y="445"/>
                  </a:lnTo>
                  <a:lnTo>
                    <a:pt x="559" y="449"/>
                  </a:lnTo>
                  <a:lnTo>
                    <a:pt x="559" y="453"/>
                  </a:lnTo>
                  <a:lnTo>
                    <a:pt x="562" y="458"/>
                  </a:lnTo>
                  <a:lnTo>
                    <a:pt x="566" y="461"/>
                  </a:lnTo>
                  <a:close/>
                  <a:moveTo>
                    <a:pt x="559" y="430"/>
                  </a:moveTo>
                  <a:lnTo>
                    <a:pt x="559" y="430"/>
                  </a:lnTo>
                  <a:lnTo>
                    <a:pt x="559" y="428"/>
                  </a:lnTo>
                  <a:lnTo>
                    <a:pt x="550" y="428"/>
                  </a:lnTo>
                  <a:lnTo>
                    <a:pt x="550" y="430"/>
                  </a:lnTo>
                  <a:lnTo>
                    <a:pt x="554" y="430"/>
                  </a:lnTo>
                  <a:lnTo>
                    <a:pt x="559" y="430"/>
                  </a:lnTo>
                  <a:close/>
                  <a:moveTo>
                    <a:pt x="556" y="423"/>
                  </a:moveTo>
                  <a:lnTo>
                    <a:pt x="556" y="423"/>
                  </a:lnTo>
                  <a:lnTo>
                    <a:pt x="559" y="422"/>
                  </a:lnTo>
                  <a:lnTo>
                    <a:pt x="559" y="415"/>
                  </a:lnTo>
                  <a:lnTo>
                    <a:pt x="559" y="409"/>
                  </a:lnTo>
                  <a:lnTo>
                    <a:pt x="556" y="407"/>
                  </a:lnTo>
                  <a:lnTo>
                    <a:pt x="557" y="403"/>
                  </a:lnTo>
                  <a:lnTo>
                    <a:pt x="559" y="397"/>
                  </a:lnTo>
                  <a:lnTo>
                    <a:pt x="559" y="382"/>
                  </a:lnTo>
                  <a:lnTo>
                    <a:pt x="560" y="367"/>
                  </a:lnTo>
                  <a:lnTo>
                    <a:pt x="562" y="351"/>
                  </a:lnTo>
                  <a:lnTo>
                    <a:pt x="563" y="336"/>
                  </a:lnTo>
                  <a:lnTo>
                    <a:pt x="562" y="323"/>
                  </a:lnTo>
                  <a:lnTo>
                    <a:pt x="562" y="307"/>
                  </a:lnTo>
                  <a:lnTo>
                    <a:pt x="560" y="298"/>
                  </a:lnTo>
                  <a:lnTo>
                    <a:pt x="559" y="291"/>
                  </a:lnTo>
                  <a:lnTo>
                    <a:pt x="556" y="284"/>
                  </a:lnTo>
                  <a:lnTo>
                    <a:pt x="552" y="280"/>
                  </a:lnTo>
                  <a:lnTo>
                    <a:pt x="550" y="278"/>
                  </a:lnTo>
                  <a:lnTo>
                    <a:pt x="547" y="277"/>
                  </a:lnTo>
                  <a:lnTo>
                    <a:pt x="546" y="278"/>
                  </a:lnTo>
                  <a:lnTo>
                    <a:pt x="541" y="275"/>
                  </a:lnTo>
                  <a:lnTo>
                    <a:pt x="540" y="274"/>
                  </a:lnTo>
                  <a:lnTo>
                    <a:pt x="541" y="272"/>
                  </a:lnTo>
                  <a:lnTo>
                    <a:pt x="549" y="270"/>
                  </a:lnTo>
                  <a:lnTo>
                    <a:pt x="547" y="267"/>
                  </a:lnTo>
                  <a:lnTo>
                    <a:pt x="546" y="264"/>
                  </a:lnTo>
                  <a:lnTo>
                    <a:pt x="549" y="260"/>
                  </a:lnTo>
                  <a:lnTo>
                    <a:pt x="549" y="255"/>
                  </a:lnTo>
                  <a:lnTo>
                    <a:pt x="546" y="252"/>
                  </a:lnTo>
                  <a:lnTo>
                    <a:pt x="543" y="248"/>
                  </a:lnTo>
                  <a:lnTo>
                    <a:pt x="547" y="247"/>
                  </a:lnTo>
                  <a:lnTo>
                    <a:pt x="550" y="245"/>
                  </a:lnTo>
                  <a:lnTo>
                    <a:pt x="550" y="239"/>
                  </a:lnTo>
                  <a:lnTo>
                    <a:pt x="552" y="234"/>
                  </a:lnTo>
                  <a:lnTo>
                    <a:pt x="552" y="209"/>
                  </a:lnTo>
                  <a:lnTo>
                    <a:pt x="552" y="193"/>
                  </a:lnTo>
                  <a:lnTo>
                    <a:pt x="553" y="182"/>
                  </a:lnTo>
                  <a:lnTo>
                    <a:pt x="553" y="169"/>
                  </a:lnTo>
                  <a:lnTo>
                    <a:pt x="552" y="156"/>
                  </a:lnTo>
                  <a:lnTo>
                    <a:pt x="550" y="145"/>
                  </a:lnTo>
                  <a:lnTo>
                    <a:pt x="549" y="132"/>
                  </a:lnTo>
                  <a:lnTo>
                    <a:pt x="546" y="120"/>
                  </a:lnTo>
                  <a:lnTo>
                    <a:pt x="544" y="119"/>
                  </a:lnTo>
                  <a:lnTo>
                    <a:pt x="544" y="116"/>
                  </a:lnTo>
                  <a:lnTo>
                    <a:pt x="547" y="113"/>
                  </a:lnTo>
                  <a:lnTo>
                    <a:pt x="549" y="110"/>
                  </a:lnTo>
                  <a:lnTo>
                    <a:pt x="549" y="89"/>
                  </a:lnTo>
                  <a:lnTo>
                    <a:pt x="547" y="67"/>
                  </a:lnTo>
                  <a:lnTo>
                    <a:pt x="547" y="46"/>
                  </a:lnTo>
                  <a:lnTo>
                    <a:pt x="544" y="24"/>
                  </a:lnTo>
                  <a:lnTo>
                    <a:pt x="543" y="21"/>
                  </a:lnTo>
                  <a:lnTo>
                    <a:pt x="541" y="18"/>
                  </a:lnTo>
                  <a:lnTo>
                    <a:pt x="537" y="17"/>
                  </a:lnTo>
                  <a:lnTo>
                    <a:pt x="536" y="15"/>
                  </a:lnTo>
                  <a:lnTo>
                    <a:pt x="534" y="13"/>
                  </a:lnTo>
                  <a:lnTo>
                    <a:pt x="533" y="8"/>
                  </a:lnTo>
                  <a:lnTo>
                    <a:pt x="531" y="8"/>
                  </a:lnTo>
                  <a:lnTo>
                    <a:pt x="530" y="8"/>
                  </a:lnTo>
                  <a:lnTo>
                    <a:pt x="530" y="5"/>
                  </a:lnTo>
                  <a:lnTo>
                    <a:pt x="518" y="1"/>
                  </a:lnTo>
                  <a:lnTo>
                    <a:pt x="508" y="0"/>
                  </a:lnTo>
                  <a:lnTo>
                    <a:pt x="503" y="0"/>
                  </a:lnTo>
                  <a:lnTo>
                    <a:pt x="497" y="1"/>
                  </a:lnTo>
                  <a:lnTo>
                    <a:pt x="488" y="7"/>
                  </a:lnTo>
                  <a:lnTo>
                    <a:pt x="485" y="8"/>
                  </a:lnTo>
                  <a:lnTo>
                    <a:pt x="484" y="14"/>
                  </a:lnTo>
                  <a:lnTo>
                    <a:pt x="482" y="18"/>
                  </a:lnTo>
                  <a:lnTo>
                    <a:pt x="482" y="38"/>
                  </a:lnTo>
                  <a:lnTo>
                    <a:pt x="484" y="57"/>
                  </a:lnTo>
                  <a:lnTo>
                    <a:pt x="481" y="60"/>
                  </a:lnTo>
                  <a:lnTo>
                    <a:pt x="480" y="66"/>
                  </a:lnTo>
                  <a:lnTo>
                    <a:pt x="477" y="66"/>
                  </a:lnTo>
                  <a:lnTo>
                    <a:pt x="478" y="69"/>
                  </a:lnTo>
                  <a:lnTo>
                    <a:pt x="478" y="70"/>
                  </a:lnTo>
                  <a:lnTo>
                    <a:pt x="475" y="79"/>
                  </a:lnTo>
                  <a:lnTo>
                    <a:pt x="475" y="89"/>
                  </a:lnTo>
                  <a:lnTo>
                    <a:pt x="474" y="100"/>
                  </a:lnTo>
                  <a:lnTo>
                    <a:pt x="474" y="114"/>
                  </a:lnTo>
                  <a:lnTo>
                    <a:pt x="477" y="117"/>
                  </a:lnTo>
                  <a:lnTo>
                    <a:pt x="477" y="122"/>
                  </a:lnTo>
                  <a:lnTo>
                    <a:pt x="484" y="123"/>
                  </a:lnTo>
                  <a:lnTo>
                    <a:pt x="490" y="126"/>
                  </a:lnTo>
                  <a:lnTo>
                    <a:pt x="484" y="129"/>
                  </a:lnTo>
                  <a:lnTo>
                    <a:pt x="480" y="133"/>
                  </a:lnTo>
                  <a:lnTo>
                    <a:pt x="477" y="139"/>
                  </a:lnTo>
                  <a:lnTo>
                    <a:pt x="475" y="146"/>
                  </a:lnTo>
                  <a:lnTo>
                    <a:pt x="474" y="162"/>
                  </a:lnTo>
                  <a:lnTo>
                    <a:pt x="474" y="175"/>
                  </a:lnTo>
                  <a:lnTo>
                    <a:pt x="474" y="182"/>
                  </a:lnTo>
                  <a:lnTo>
                    <a:pt x="475" y="189"/>
                  </a:lnTo>
                  <a:lnTo>
                    <a:pt x="474" y="202"/>
                  </a:lnTo>
                  <a:lnTo>
                    <a:pt x="475" y="216"/>
                  </a:lnTo>
                  <a:lnTo>
                    <a:pt x="474" y="218"/>
                  </a:lnTo>
                  <a:lnTo>
                    <a:pt x="474" y="222"/>
                  </a:lnTo>
                  <a:lnTo>
                    <a:pt x="475" y="226"/>
                  </a:lnTo>
                  <a:lnTo>
                    <a:pt x="474" y="229"/>
                  </a:lnTo>
                  <a:lnTo>
                    <a:pt x="474" y="235"/>
                  </a:lnTo>
                  <a:lnTo>
                    <a:pt x="475" y="241"/>
                  </a:lnTo>
                  <a:lnTo>
                    <a:pt x="475" y="245"/>
                  </a:lnTo>
                  <a:lnTo>
                    <a:pt x="485" y="245"/>
                  </a:lnTo>
                  <a:lnTo>
                    <a:pt x="494" y="244"/>
                  </a:lnTo>
                  <a:lnTo>
                    <a:pt x="495" y="242"/>
                  </a:lnTo>
                  <a:lnTo>
                    <a:pt x="498" y="241"/>
                  </a:lnTo>
                  <a:lnTo>
                    <a:pt x="500" y="242"/>
                  </a:lnTo>
                  <a:lnTo>
                    <a:pt x="501" y="245"/>
                  </a:lnTo>
                  <a:lnTo>
                    <a:pt x="497" y="247"/>
                  </a:lnTo>
                  <a:lnTo>
                    <a:pt x="495" y="249"/>
                  </a:lnTo>
                  <a:lnTo>
                    <a:pt x="500" y="249"/>
                  </a:lnTo>
                  <a:lnTo>
                    <a:pt x="505" y="251"/>
                  </a:lnTo>
                  <a:lnTo>
                    <a:pt x="500" y="254"/>
                  </a:lnTo>
                  <a:lnTo>
                    <a:pt x="495" y="254"/>
                  </a:lnTo>
                  <a:lnTo>
                    <a:pt x="494" y="252"/>
                  </a:lnTo>
                  <a:lnTo>
                    <a:pt x="491" y="251"/>
                  </a:lnTo>
                  <a:lnTo>
                    <a:pt x="488" y="251"/>
                  </a:lnTo>
                  <a:lnTo>
                    <a:pt x="485" y="251"/>
                  </a:lnTo>
                  <a:lnTo>
                    <a:pt x="481" y="257"/>
                  </a:lnTo>
                  <a:lnTo>
                    <a:pt x="480" y="261"/>
                  </a:lnTo>
                  <a:lnTo>
                    <a:pt x="480" y="264"/>
                  </a:lnTo>
                  <a:lnTo>
                    <a:pt x="481" y="265"/>
                  </a:lnTo>
                  <a:lnTo>
                    <a:pt x="488" y="264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7" y="268"/>
                  </a:lnTo>
                  <a:lnTo>
                    <a:pt x="491" y="268"/>
                  </a:lnTo>
                  <a:lnTo>
                    <a:pt x="487" y="271"/>
                  </a:lnTo>
                  <a:lnTo>
                    <a:pt x="484" y="272"/>
                  </a:lnTo>
                  <a:lnTo>
                    <a:pt x="484" y="274"/>
                  </a:lnTo>
                  <a:lnTo>
                    <a:pt x="484" y="275"/>
                  </a:lnTo>
                  <a:lnTo>
                    <a:pt x="485" y="278"/>
                  </a:lnTo>
                  <a:lnTo>
                    <a:pt x="491" y="280"/>
                  </a:lnTo>
                  <a:lnTo>
                    <a:pt x="492" y="281"/>
                  </a:lnTo>
                  <a:lnTo>
                    <a:pt x="488" y="282"/>
                  </a:lnTo>
                  <a:lnTo>
                    <a:pt x="485" y="285"/>
                  </a:lnTo>
                  <a:lnTo>
                    <a:pt x="482" y="293"/>
                  </a:lnTo>
                  <a:lnTo>
                    <a:pt x="480" y="303"/>
                  </a:lnTo>
                  <a:lnTo>
                    <a:pt x="478" y="313"/>
                  </a:lnTo>
                  <a:lnTo>
                    <a:pt x="477" y="323"/>
                  </a:lnTo>
                  <a:lnTo>
                    <a:pt x="477" y="333"/>
                  </a:lnTo>
                  <a:lnTo>
                    <a:pt x="478" y="343"/>
                  </a:lnTo>
                  <a:lnTo>
                    <a:pt x="478" y="351"/>
                  </a:lnTo>
                  <a:lnTo>
                    <a:pt x="481" y="360"/>
                  </a:lnTo>
                  <a:lnTo>
                    <a:pt x="487" y="363"/>
                  </a:lnTo>
                  <a:lnTo>
                    <a:pt x="488" y="366"/>
                  </a:lnTo>
                  <a:lnTo>
                    <a:pt x="490" y="370"/>
                  </a:lnTo>
                  <a:lnTo>
                    <a:pt x="491" y="377"/>
                  </a:lnTo>
                  <a:lnTo>
                    <a:pt x="497" y="386"/>
                  </a:lnTo>
                  <a:lnTo>
                    <a:pt x="503" y="394"/>
                  </a:lnTo>
                  <a:lnTo>
                    <a:pt x="511" y="399"/>
                  </a:lnTo>
                  <a:lnTo>
                    <a:pt x="518" y="405"/>
                  </a:lnTo>
                  <a:lnTo>
                    <a:pt x="521" y="412"/>
                  </a:lnTo>
                  <a:lnTo>
                    <a:pt x="524" y="417"/>
                  </a:lnTo>
                  <a:lnTo>
                    <a:pt x="531" y="420"/>
                  </a:lnTo>
                  <a:lnTo>
                    <a:pt x="540" y="422"/>
                  </a:lnTo>
                  <a:lnTo>
                    <a:pt x="549" y="423"/>
                  </a:lnTo>
                  <a:lnTo>
                    <a:pt x="556" y="423"/>
                  </a:lnTo>
                  <a:close/>
                  <a:moveTo>
                    <a:pt x="865" y="394"/>
                  </a:moveTo>
                  <a:lnTo>
                    <a:pt x="865" y="394"/>
                  </a:lnTo>
                  <a:lnTo>
                    <a:pt x="867" y="393"/>
                  </a:lnTo>
                  <a:lnTo>
                    <a:pt x="868" y="390"/>
                  </a:lnTo>
                  <a:lnTo>
                    <a:pt x="865" y="392"/>
                  </a:lnTo>
                  <a:lnTo>
                    <a:pt x="865" y="393"/>
                  </a:lnTo>
                  <a:lnTo>
                    <a:pt x="865" y="394"/>
                  </a:lnTo>
                  <a:close/>
                  <a:moveTo>
                    <a:pt x="850" y="390"/>
                  </a:moveTo>
                  <a:lnTo>
                    <a:pt x="850" y="390"/>
                  </a:lnTo>
                  <a:lnTo>
                    <a:pt x="850" y="389"/>
                  </a:lnTo>
                  <a:lnTo>
                    <a:pt x="850" y="386"/>
                  </a:lnTo>
                  <a:lnTo>
                    <a:pt x="847" y="387"/>
                  </a:lnTo>
                  <a:lnTo>
                    <a:pt x="847" y="389"/>
                  </a:lnTo>
                  <a:lnTo>
                    <a:pt x="847" y="390"/>
                  </a:lnTo>
                  <a:lnTo>
                    <a:pt x="850" y="390"/>
                  </a:lnTo>
                  <a:close/>
                  <a:moveTo>
                    <a:pt x="687" y="323"/>
                  </a:moveTo>
                  <a:lnTo>
                    <a:pt x="687" y="323"/>
                  </a:lnTo>
                  <a:lnTo>
                    <a:pt x="688" y="320"/>
                  </a:lnTo>
                  <a:lnTo>
                    <a:pt x="688" y="318"/>
                  </a:lnTo>
                  <a:lnTo>
                    <a:pt x="687" y="316"/>
                  </a:lnTo>
                  <a:lnTo>
                    <a:pt x="685" y="313"/>
                  </a:lnTo>
                  <a:lnTo>
                    <a:pt x="687" y="313"/>
                  </a:lnTo>
                  <a:lnTo>
                    <a:pt x="690" y="311"/>
                  </a:lnTo>
                  <a:lnTo>
                    <a:pt x="690" y="310"/>
                  </a:lnTo>
                  <a:lnTo>
                    <a:pt x="694" y="308"/>
                  </a:lnTo>
                  <a:lnTo>
                    <a:pt x="694" y="305"/>
                  </a:lnTo>
                  <a:lnTo>
                    <a:pt x="690" y="303"/>
                  </a:lnTo>
                  <a:lnTo>
                    <a:pt x="685" y="301"/>
                  </a:lnTo>
                  <a:lnTo>
                    <a:pt x="683" y="303"/>
                  </a:lnTo>
                  <a:lnTo>
                    <a:pt x="678" y="304"/>
                  </a:lnTo>
                  <a:lnTo>
                    <a:pt x="680" y="308"/>
                  </a:lnTo>
                  <a:lnTo>
                    <a:pt x="680" y="311"/>
                  </a:lnTo>
                  <a:lnTo>
                    <a:pt x="675" y="316"/>
                  </a:lnTo>
                  <a:lnTo>
                    <a:pt x="670" y="317"/>
                  </a:lnTo>
                  <a:lnTo>
                    <a:pt x="677" y="321"/>
                  </a:lnTo>
                  <a:lnTo>
                    <a:pt x="687" y="323"/>
                  </a:lnTo>
                  <a:close/>
                  <a:moveTo>
                    <a:pt x="357" y="314"/>
                  </a:moveTo>
                  <a:lnTo>
                    <a:pt x="357" y="314"/>
                  </a:lnTo>
                  <a:lnTo>
                    <a:pt x="359" y="311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4"/>
                  </a:lnTo>
                  <a:lnTo>
                    <a:pt x="357" y="314"/>
                  </a:lnTo>
                  <a:close/>
                  <a:moveTo>
                    <a:pt x="537" y="284"/>
                  </a:moveTo>
                  <a:lnTo>
                    <a:pt x="537" y="284"/>
                  </a:lnTo>
                  <a:lnTo>
                    <a:pt x="539" y="281"/>
                  </a:lnTo>
                  <a:lnTo>
                    <a:pt x="539" y="280"/>
                  </a:lnTo>
                  <a:lnTo>
                    <a:pt x="536" y="277"/>
                  </a:lnTo>
                  <a:lnTo>
                    <a:pt x="531" y="277"/>
                  </a:lnTo>
                  <a:lnTo>
                    <a:pt x="533" y="280"/>
                  </a:lnTo>
                  <a:lnTo>
                    <a:pt x="536" y="284"/>
                  </a:lnTo>
                  <a:lnTo>
                    <a:pt x="537" y="284"/>
                  </a:lnTo>
                  <a:close/>
                  <a:moveTo>
                    <a:pt x="701" y="129"/>
                  </a:moveTo>
                  <a:lnTo>
                    <a:pt x="701" y="129"/>
                  </a:lnTo>
                  <a:lnTo>
                    <a:pt x="701" y="126"/>
                  </a:lnTo>
                  <a:lnTo>
                    <a:pt x="700" y="126"/>
                  </a:lnTo>
                  <a:lnTo>
                    <a:pt x="698" y="126"/>
                  </a:lnTo>
                  <a:lnTo>
                    <a:pt x="700" y="129"/>
                  </a:lnTo>
                  <a:lnTo>
                    <a:pt x="701" y="129"/>
                  </a:lnTo>
                  <a:close/>
                  <a:moveTo>
                    <a:pt x="275" y="140"/>
                  </a:moveTo>
                  <a:lnTo>
                    <a:pt x="275" y="140"/>
                  </a:lnTo>
                  <a:lnTo>
                    <a:pt x="276" y="139"/>
                  </a:lnTo>
                  <a:lnTo>
                    <a:pt x="281" y="137"/>
                  </a:lnTo>
                  <a:lnTo>
                    <a:pt x="281" y="136"/>
                  </a:lnTo>
                  <a:lnTo>
                    <a:pt x="278" y="136"/>
                  </a:lnTo>
                  <a:lnTo>
                    <a:pt x="275" y="133"/>
                  </a:lnTo>
                  <a:lnTo>
                    <a:pt x="274" y="130"/>
                  </a:lnTo>
                  <a:lnTo>
                    <a:pt x="275" y="126"/>
                  </a:lnTo>
                  <a:lnTo>
                    <a:pt x="275" y="122"/>
                  </a:lnTo>
                  <a:lnTo>
                    <a:pt x="272" y="119"/>
                  </a:lnTo>
                  <a:lnTo>
                    <a:pt x="268" y="119"/>
                  </a:lnTo>
                  <a:lnTo>
                    <a:pt x="268" y="122"/>
                  </a:lnTo>
                  <a:lnTo>
                    <a:pt x="271" y="123"/>
                  </a:lnTo>
                  <a:lnTo>
                    <a:pt x="269" y="125"/>
                  </a:lnTo>
                  <a:lnTo>
                    <a:pt x="266" y="126"/>
                  </a:lnTo>
                  <a:lnTo>
                    <a:pt x="264" y="123"/>
                  </a:lnTo>
                  <a:lnTo>
                    <a:pt x="261" y="122"/>
                  </a:lnTo>
                  <a:lnTo>
                    <a:pt x="261" y="125"/>
                  </a:lnTo>
                  <a:lnTo>
                    <a:pt x="262" y="130"/>
                  </a:lnTo>
                  <a:lnTo>
                    <a:pt x="268" y="136"/>
                  </a:lnTo>
                  <a:lnTo>
                    <a:pt x="275" y="140"/>
                  </a:lnTo>
                  <a:close/>
                  <a:moveTo>
                    <a:pt x="714" y="119"/>
                  </a:moveTo>
                  <a:lnTo>
                    <a:pt x="714" y="119"/>
                  </a:lnTo>
                  <a:lnTo>
                    <a:pt x="716" y="117"/>
                  </a:lnTo>
                  <a:lnTo>
                    <a:pt x="713" y="116"/>
                  </a:lnTo>
                  <a:lnTo>
                    <a:pt x="710" y="116"/>
                  </a:lnTo>
                  <a:lnTo>
                    <a:pt x="711" y="117"/>
                  </a:lnTo>
                  <a:lnTo>
                    <a:pt x="714" y="119"/>
                  </a:lnTo>
                  <a:close/>
                  <a:moveTo>
                    <a:pt x="719" y="106"/>
                  </a:moveTo>
                  <a:lnTo>
                    <a:pt x="719" y="106"/>
                  </a:lnTo>
                  <a:lnTo>
                    <a:pt x="719" y="104"/>
                  </a:lnTo>
                  <a:lnTo>
                    <a:pt x="719" y="102"/>
                  </a:lnTo>
                  <a:lnTo>
                    <a:pt x="713" y="99"/>
                  </a:lnTo>
                  <a:lnTo>
                    <a:pt x="710" y="99"/>
                  </a:lnTo>
                  <a:lnTo>
                    <a:pt x="711" y="103"/>
                  </a:lnTo>
                  <a:lnTo>
                    <a:pt x="713" y="104"/>
                  </a:lnTo>
                  <a:lnTo>
                    <a:pt x="716" y="106"/>
                  </a:lnTo>
                  <a:lnTo>
                    <a:pt x="719" y="106"/>
                  </a:lnTo>
                  <a:close/>
                  <a:moveTo>
                    <a:pt x="716" y="96"/>
                  </a:moveTo>
                  <a:lnTo>
                    <a:pt x="716" y="96"/>
                  </a:lnTo>
                  <a:lnTo>
                    <a:pt x="719" y="93"/>
                  </a:lnTo>
                  <a:lnTo>
                    <a:pt x="719" y="90"/>
                  </a:lnTo>
                  <a:lnTo>
                    <a:pt x="717" y="89"/>
                  </a:lnTo>
                  <a:lnTo>
                    <a:pt x="716" y="89"/>
                  </a:lnTo>
                  <a:lnTo>
                    <a:pt x="714" y="89"/>
                  </a:lnTo>
                  <a:lnTo>
                    <a:pt x="710" y="89"/>
                  </a:lnTo>
                  <a:lnTo>
                    <a:pt x="706" y="89"/>
                  </a:lnTo>
                  <a:lnTo>
                    <a:pt x="707" y="91"/>
                  </a:lnTo>
                  <a:lnTo>
                    <a:pt x="708" y="93"/>
                  </a:lnTo>
                  <a:lnTo>
                    <a:pt x="710" y="93"/>
                  </a:lnTo>
                  <a:lnTo>
                    <a:pt x="713" y="91"/>
                  </a:lnTo>
                  <a:lnTo>
                    <a:pt x="714" y="94"/>
                  </a:lnTo>
                  <a:lnTo>
                    <a:pt x="716" y="96"/>
                  </a:lnTo>
                  <a:close/>
                  <a:moveTo>
                    <a:pt x="732" y="93"/>
                  </a:moveTo>
                  <a:lnTo>
                    <a:pt x="732" y="93"/>
                  </a:lnTo>
                  <a:lnTo>
                    <a:pt x="733" y="91"/>
                  </a:lnTo>
                  <a:lnTo>
                    <a:pt x="730" y="89"/>
                  </a:lnTo>
                  <a:lnTo>
                    <a:pt x="730" y="86"/>
                  </a:lnTo>
                  <a:lnTo>
                    <a:pt x="733" y="83"/>
                  </a:lnTo>
                  <a:lnTo>
                    <a:pt x="733" y="81"/>
                  </a:lnTo>
                  <a:lnTo>
                    <a:pt x="733" y="79"/>
                  </a:lnTo>
                  <a:lnTo>
                    <a:pt x="730" y="79"/>
                  </a:lnTo>
                  <a:lnTo>
                    <a:pt x="727" y="81"/>
                  </a:lnTo>
                  <a:lnTo>
                    <a:pt x="727" y="84"/>
                  </a:lnTo>
                  <a:lnTo>
                    <a:pt x="727" y="87"/>
                  </a:lnTo>
                  <a:lnTo>
                    <a:pt x="727" y="91"/>
                  </a:lnTo>
                  <a:lnTo>
                    <a:pt x="729" y="93"/>
                  </a:lnTo>
                  <a:lnTo>
                    <a:pt x="732" y="93"/>
                  </a:lnTo>
                  <a:close/>
                  <a:moveTo>
                    <a:pt x="503" y="51"/>
                  </a:moveTo>
                  <a:lnTo>
                    <a:pt x="503" y="51"/>
                  </a:lnTo>
                  <a:lnTo>
                    <a:pt x="504" y="50"/>
                  </a:lnTo>
                  <a:lnTo>
                    <a:pt x="505" y="48"/>
                  </a:lnTo>
                  <a:lnTo>
                    <a:pt x="505" y="46"/>
                  </a:lnTo>
                  <a:lnTo>
                    <a:pt x="501" y="46"/>
                  </a:lnTo>
                  <a:lnTo>
                    <a:pt x="498" y="47"/>
                  </a:lnTo>
                  <a:lnTo>
                    <a:pt x="495" y="47"/>
                  </a:lnTo>
                  <a:lnTo>
                    <a:pt x="495" y="50"/>
                  </a:lnTo>
                  <a:lnTo>
                    <a:pt x="498" y="50"/>
                  </a:lnTo>
                  <a:lnTo>
                    <a:pt x="501" y="51"/>
                  </a:lnTo>
                  <a:lnTo>
                    <a:pt x="503" y="51"/>
                  </a:lnTo>
                  <a:close/>
                  <a:moveTo>
                    <a:pt x="514" y="37"/>
                  </a:moveTo>
                  <a:lnTo>
                    <a:pt x="514" y="37"/>
                  </a:lnTo>
                  <a:lnTo>
                    <a:pt x="517" y="31"/>
                  </a:lnTo>
                  <a:lnTo>
                    <a:pt x="520" y="24"/>
                  </a:lnTo>
                  <a:lnTo>
                    <a:pt x="516" y="25"/>
                  </a:lnTo>
                  <a:lnTo>
                    <a:pt x="511" y="27"/>
                  </a:lnTo>
                  <a:lnTo>
                    <a:pt x="508" y="28"/>
                  </a:lnTo>
                  <a:lnTo>
                    <a:pt x="505" y="33"/>
                  </a:lnTo>
                  <a:lnTo>
                    <a:pt x="508" y="33"/>
                  </a:lnTo>
                  <a:lnTo>
                    <a:pt x="508" y="31"/>
                  </a:lnTo>
                  <a:lnTo>
                    <a:pt x="510" y="34"/>
                  </a:lnTo>
                  <a:lnTo>
                    <a:pt x="510" y="35"/>
                  </a:lnTo>
                  <a:lnTo>
                    <a:pt x="511" y="35"/>
                  </a:lnTo>
                  <a:lnTo>
                    <a:pt x="514" y="37"/>
                  </a:lnTo>
                  <a:close/>
                </a:path>
              </a:pathLst>
            </a:custGeom>
            <a:solidFill>
              <a:srgbClr val="E20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3" name="Skupina 1062">
            <a:extLst>
              <a:ext uri="{FF2B5EF4-FFF2-40B4-BE49-F238E27FC236}">
                <a16:creationId xmlns:a16="http://schemas.microsoft.com/office/drawing/2014/main" id="{079B90BA-CFA5-A43D-6458-6EA70F80BE97}"/>
              </a:ext>
            </a:extLst>
          </p:cNvPr>
          <p:cNvGrpSpPr/>
          <p:nvPr/>
        </p:nvGrpSpPr>
        <p:grpSpPr>
          <a:xfrm>
            <a:off x="10287000" y="3894138"/>
            <a:ext cx="1524000" cy="495300"/>
            <a:chOff x="10287000" y="3894138"/>
            <a:chExt cx="1524000" cy="495300"/>
          </a:xfrm>
        </p:grpSpPr>
        <p:sp>
          <p:nvSpPr>
            <p:cNvPr id="1025" name="Freeform 30">
              <a:extLst>
                <a:ext uri="{FF2B5EF4-FFF2-40B4-BE49-F238E27FC236}">
                  <a16:creationId xmlns:a16="http://schemas.microsoft.com/office/drawing/2014/main" id="{CA5EF41B-5CD4-389F-71EA-B31CDBA49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2525" y="4003675"/>
              <a:ext cx="61913" cy="92075"/>
            </a:xfrm>
            <a:custGeom>
              <a:avLst/>
              <a:gdLst>
                <a:gd name="T0" fmla="*/ 115 w 117"/>
                <a:gd name="T1" fmla="*/ 133 h 173"/>
                <a:gd name="T2" fmla="*/ 107 w 117"/>
                <a:gd name="T3" fmla="*/ 153 h 173"/>
                <a:gd name="T4" fmla="*/ 92 w 117"/>
                <a:gd name="T5" fmla="*/ 166 h 173"/>
                <a:gd name="T6" fmla="*/ 72 w 117"/>
                <a:gd name="T7" fmla="*/ 173 h 173"/>
                <a:gd name="T8" fmla="*/ 46 w 117"/>
                <a:gd name="T9" fmla="*/ 172 h 173"/>
                <a:gd name="T10" fmla="*/ 29 w 117"/>
                <a:gd name="T11" fmla="*/ 166 h 173"/>
                <a:gd name="T12" fmla="*/ 19 w 117"/>
                <a:gd name="T13" fmla="*/ 159 h 173"/>
                <a:gd name="T14" fmla="*/ 9 w 117"/>
                <a:gd name="T15" fmla="*/ 145 h 173"/>
                <a:gd name="T16" fmla="*/ 2 w 117"/>
                <a:gd name="T17" fmla="*/ 119 h 173"/>
                <a:gd name="T18" fmla="*/ 2 w 117"/>
                <a:gd name="T19" fmla="*/ 89 h 173"/>
                <a:gd name="T20" fmla="*/ 10 w 117"/>
                <a:gd name="T21" fmla="*/ 63 h 173"/>
                <a:gd name="T22" fmla="*/ 26 w 117"/>
                <a:gd name="T23" fmla="*/ 46 h 173"/>
                <a:gd name="T24" fmla="*/ 48 w 117"/>
                <a:gd name="T25" fmla="*/ 36 h 173"/>
                <a:gd name="T26" fmla="*/ 72 w 117"/>
                <a:gd name="T27" fmla="*/ 36 h 173"/>
                <a:gd name="T28" fmla="*/ 92 w 117"/>
                <a:gd name="T29" fmla="*/ 41 h 173"/>
                <a:gd name="T30" fmla="*/ 107 w 117"/>
                <a:gd name="T31" fmla="*/ 54 h 173"/>
                <a:gd name="T32" fmla="*/ 115 w 117"/>
                <a:gd name="T33" fmla="*/ 74 h 173"/>
                <a:gd name="T34" fmla="*/ 81 w 117"/>
                <a:gd name="T35" fmla="*/ 87 h 173"/>
                <a:gd name="T36" fmla="*/ 75 w 117"/>
                <a:gd name="T37" fmla="*/ 67 h 173"/>
                <a:gd name="T38" fmla="*/ 69 w 117"/>
                <a:gd name="T39" fmla="*/ 63 h 173"/>
                <a:gd name="T40" fmla="*/ 61 w 117"/>
                <a:gd name="T41" fmla="*/ 60 h 173"/>
                <a:gd name="T42" fmla="*/ 51 w 117"/>
                <a:gd name="T43" fmla="*/ 64 h 173"/>
                <a:gd name="T44" fmla="*/ 43 w 117"/>
                <a:gd name="T45" fmla="*/ 73 h 173"/>
                <a:gd name="T46" fmla="*/ 39 w 117"/>
                <a:gd name="T47" fmla="*/ 87 h 173"/>
                <a:gd name="T48" fmla="*/ 38 w 117"/>
                <a:gd name="T49" fmla="*/ 104 h 173"/>
                <a:gd name="T50" fmla="*/ 39 w 117"/>
                <a:gd name="T51" fmla="*/ 122 h 173"/>
                <a:gd name="T52" fmla="*/ 43 w 117"/>
                <a:gd name="T53" fmla="*/ 135 h 173"/>
                <a:gd name="T54" fmla="*/ 51 w 117"/>
                <a:gd name="T55" fmla="*/ 143 h 173"/>
                <a:gd name="T56" fmla="*/ 61 w 117"/>
                <a:gd name="T57" fmla="*/ 148 h 173"/>
                <a:gd name="T58" fmla="*/ 69 w 117"/>
                <a:gd name="T59" fmla="*/ 146 h 173"/>
                <a:gd name="T60" fmla="*/ 75 w 117"/>
                <a:gd name="T61" fmla="*/ 140 h 173"/>
                <a:gd name="T62" fmla="*/ 81 w 117"/>
                <a:gd name="T63" fmla="*/ 122 h 173"/>
                <a:gd name="T64" fmla="*/ 77 w 117"/>
                <a:gd name="T65" fmla="*/ 27 h 173"/>
                <a:gd name="T66" fmla="*/ 42 w 117"/>
                <a:gd name="T67" fmla="*/ 27 h 173"/>
                <a:gd name="T68" fmla="*/ 43 w 117"/>
                <a:gd name="T69" fmla="*/ 0 h 173"/>
                <a:gd name="T70" fmla="*/ 75 w 117"/>
                <a:gd name="T71" fmla="*/ 0 h 173"/>
                <a:gd name="T72" fmla="*/ 77 w 117"/>
                <a:gd name="T73" fmla="*/ 2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7" h="173">
                  <a:moveTo>
                    <a:pt x="117" y="122"/>
                  </a:moveTo>
                  <a:lnTo>
                    <a:pt x="115" y="133"/>
                  </a:lnTo>
                  <a:lnTo>
                    <a:pt x="113" y="145"/>
                  </a:lnTo>
                  <a:lnTo>
                    <a:pt x="107" y="153"/>
                  </a:lnTo>
                  <a:lnTo>
                    <a:pt x="101" y="160"/>
                  </a:lnTo>
                  <a:lnTo>
                    <a:pt x="92" y="166"/>
                  </a:lnTo>
                  <a:lnTo>
                    <a:pt x="84" y="171"/>
                  </a:lnTo>
                  <a:lnTo>
                    <a:pt x="72" y="173"/>
                  </a:lnTo>
                  <a:lnTo>
                    <a:pt x="61" y="173"/>
                  </a:lnTo>
                  <a:lnTo>
                    <a:pt x="46" y="172"/>
                  </a:lnTo>
                  <a:lnTo>
                    <a:pt x="33" y="169"/>
                  </a:lnTo>
                  <a:lnTo>
                    <a:pt x="29" y="166"/>
                  </a:lnTo>
                  <a:lnTo>
                    <a:pt x="23" y="163"/>
                  </a:lnTo>
                  <a:lnTo>
                    <a:pt x="19" y="159"/>
                  </a:lnTo>
                  <a:lnTo>
                    <a:pt x="15" y="155"/>
                  </a:lnTo>
                  <a:lnTo>
                    <a:pt x="9" y="145"/>
                  </a:lnTo>
                  <a:lnTo>
                    <a:pt x="5" y="133"/>
                  </a:lnTo>
                  <a:lnTo>
                    <a:pt x="2" y="119"/>
                  </a:lnTo>
                  <a:lnTo>
                    <a:pt x="0" y="104"/>
                  </a:lnTo>
                  <a:lnTo>
                    <a:pt x="2" y="89"/>
                  </a:lnTo>
                  <a:lnTo>
                    <a:pt x="5" y="76"/>
                  </a:lnTo>
                  <a:lnTo>
                    <a:pt x="10" y="63"/>
                  </a:lnTo>
                  <a:lnTo>
                    <a:pt x="18" y="53"/>
                  </a:lnTo>
                  <a:lnTo>
                    <a:pt x="26" y="46"/>
                  </a:lnTo>
                  <a:lnTo>
                    <a:pt x="36" y="38"/>
                  </a:lnTo>
                  <a:lnTo>
                    <a:pt x="48" y="36"/>
                  </a:lnTo>
                  <a:lnTo>
                    <a:pt x="61" y="34"/>
                  </a:lnTo>
                  <a:lnTo>
                    <a:pt x="72" y="36"/>
                  </a:lnTo>
                  <a:lnTo>
                    <a:pt x="84" y="37"/>
                  </a:lnTo>
                  <a:lnTo>
                    <a:pt x="92" y="41"/>
                  </a:lnTo>
                  <a:lnTo>
                    <a:pt x="101" y="47"/>
                  </a:lnTo>
                  <a:lnTo>
                    <a:pt x="107" y="54"/>
                  </a:lnTo>
                  <a:lnTo>
                    <a:pt x="113" y="63"/>
                  </a:lnTo>
                  <a:lnTo>
                    <a:pt x="115" y="74"/>
                  </a:lnTo>
                  <a:lnTo>
                    <a:pt x="117" y="87"/>
                  </a:lnTo>
                  <a:lnTo>
                    <a:pt x="81" y="87"/>
                  </a:lnTo>
                  <a:lnTo>
                    <a:pt x="79" y="76"/>
                  </a:lnTo>
                  <a:lnTo>
                    <a:pt x="75" y="67"/>
                  </a:lnTo>
                  <a:lnTo>
                    <a:pt x="74" y="64"/>
                  </a:lnTo>
                  <a:lnTo>
                    <a:pt x="69" y="63"/>
                  </a:lnTo>
                  <a:lnTo>
                    <a:pt x="65" y="61"/>
                  </a:lnTo>
                  <a:lnTo>
                    <a:pt x="61" y="60"/>
                  </a:lnTo>
                  <a:lnTo>
                    <a:pt x="55" y="61"/>
                  </a:lnTo>
                  <a:lnTo>
                    <a:pt x="51" y="64"/>
                  </a:lnTo>
                  <a:lnTo>
                    <a:pt x="46" y="67"/>
                  </a:lnTo>
                  <a:lnTo>
                    <a:pt x="43" y="73"/>
                  </a:lnTo>
                  <a:lnTo>
                    <a:pt x="41" y="80"/>
                  </a:lnTo>
                  <a:lnTo>
                    <a:pt x="39" y="87"/>
                  </a:lnTo>
                  <a:lnTo>
                    <a:pt x="39" y="94"/>
                  </a:lnTo>
                  <a:lnTo>
                    <a:pt x="38" y="104"/>
                  </a:lnTo>
                  <a:lnTo>
                    <a:pt x="39" y="113"/>
                  </a:lnTo>
                  <a:lnTo>
                    <a:pt x="39" y="122"/>
                  </a:lnTo>
                  <a:lnTo>
                    <a:pt x="41" y="129"/>
                  </a:lnTo>
                  <a:lnTo>
                    <a:pt x="43" y="135"/>
                  </a:lnTo>
                  <a:lnTo>
                    <a:pt x="46" y="140"/>
                  </a:lnTo>
                  <a:lnTo>
                    <a:pt x="51" y="143"/>
                  </a:lnTo>
                  <a:lnTo>
                    <a:pt x="55" y="146"/>
                  </a:lnTo>
                  <a:lnTo>
                    <a:pt x="61" y="148"/>
                  </a:lnTo>
                  <a:lnTo>
                    <a:pt x="65" y="146"/>
                  </a:lnTo>
                  <a:lnTo>
                    <a:pt x="69" y="146"/>
                  </a:lnTo>
                  <a:lnTo>
                    <a:pt x="74" y="143"/>
                  </a:lnTo>
                  <a:lnTo>
                    <a:pt x="75" y="140"/>
                  </a:lnTo>
                  <a:lnTo>
                    <a:pt x="79" y="132"/>
                  </a:lnTo>
                  <a:lnTo>
                    <a:pt x="81" y="122"/>
                  </a:lnTo>
                  <a:lnTo>
                    <a:pt x="117" y="122"/>
                  </a:lnTo>
                  <a:close/>
                  <a:moveTo>
                    <a:pt x="77" y="27"/>
                  </a:moveTo>
                  <a:lnTo>
                    <a:pt x="77" y="27"/>
                  </a:lnTo>
                  <a:lnTo>
                    <a:pt x="42" y="27"/>
                  </a:lnTo>
                  <a:lnTo>
                    <a:pt x="13" y="0"/>
                  </a:lnTo>
                  <a:lnTo>
                    <a:pt x="43" y="0"/>
                  </a:lnTo>
                  <a:lnTo>
                    <a:pt x="59" y="10"/>
                  </a:lnTo>
                  <a:lnTo>
                    <a:pt x="75" y="0"/>
                  </a:lnTo>
                  <a:lnTo>
                    <a:pt x="105" y="0"/>
                  </a:lnTo>
                  <a:lnTo>
                    <a:pt x="77" y="2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6" name="Freeform 31">
              <a:extLst>
                <a:ext uri="{FF2B5EF4-FFF2-40B4-BE49-F238E27FC236}">
                  <a16:creationId xmlns:a16="http://schemas.microsoft.com/office/drawing/2014/main" id="{B40120F3-4B08-96B3-F8C8-643C9C473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82375" y="4038600"/>
              <a:ext cx="49213" cy="57150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5 w 95"/>
                <a:gd name="T13" fmla="*/ 105 h 106"/>
                <a:gd name="T14" fmla="*/ 58 w 95"/>
                <a:gd name="T15" fmla="*/ 106 h 106"/>
                <a:gd name="T16" fmla="*/ 48 w 95"/>
                <a:gd name="T17" fmla="*/ 106 h 106"/>
                <a:gd name="T18" fmla="*/ 36 w 95"/>
                <a:gd name="T19" fmla="*/ 106 h 106"/>
                <a:gd name="T20" fmla="*/ 28 w 95"/>
                <a:gd name="T21" fmla="*/ 104 h 106"/>
                <a:gd name="T22" fmla="*/ 19 w 95"/>
                <a:gd name="T23" fmla="*/ 99 h 106"/>
                <a:gd name="T24" fmla="*/ 12 w 95"/>
                <a:gd name="T25" fmla="*/ 92 h 106"/>
                <a:gd name="T26" fmla="*/ 6 w 95"/>
                <a:gd name="T27" fmla="*/ 85 h 106"/>
                <a:gd name="T28" fmla="*/ 3 w 95"/>
                <a:gd name="T29" fmla="*/ 76 h 106"/>
                <a:gd name="T30" fmla="*/ 0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2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3 h 106"/>
                <a:gd name="T54" fmla="*/ 77 w 95"/>
                <a:gd name="T55" fmla="*/ 7 h 106"/>
                <a:gd name="T56" fmla="*/ 84 w 95"/>
                <a:gd name="T57" fmla="*/ 14 h 106"/>
                <a:gd name="T58" fmla="*/ 88 w 95"/>
                <a:gd name="T59" fmla="*/ 22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0 h 106"/>
                <a:gd name="T66" fmla="*/ 33 w 95"/>
                <a:gd name="T67" fmla="*/ 60 h 106"/>
                <a:gd name="T68" fmla="*/ 35 w 95"/>
                <a:gd name="T69" fmla="*/ 72 h 106"/>
                <a:gd name="T70" fmla="*/ 38 w 95"/>
                <a:gd name="T71" fmla="*/ 79 h 106"/>
                <a:gd name="T72" fmla="*/ 39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8 w 95"/>
                <a:gd name="T79" fmla="*/ 85 h 106"/>
                <a:gd name="T80" fmla="*/ 54 w 95"/>
                <a:gd name="T81" fmla="*/ 83 h 106"/>
                <a:gd name="T82" fmla="*/ 56 w 95"/>
                <a:gd name="T83" fmla="*/ 82 h 106"/>
                <a:gd name="T84" fmla="*/ 59 w 95"/>
                <a:gd name="T85" fmla="*/ 78 h 106"/>
                <a:gd name="T86" fmla="*/ 61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2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6"/>
                  </a:lnTo>
                  <a:lnTo>
                    <a:pt x="36" y="106"/>
                  </a:lnTo>
                  <a:lnTo>
                    <a:pt x="28" y="104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2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3"/>
                  </a:lnTo>
                  <a:lnTo>
                    <a:pt x="77" y="7"/>
                  </a:lnTo>
                  <a:lnTo>
                    <a:pt x="84" y="14"/>
                  </a:lnTo>
                  <a:lnTo>
                    <a:pt x="88" y="22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0"/>
                  </a:lnTo>
                  <a:lnTo>
                    <a:pt x="33" y="60"/>
                  </a:lnTo>
                  <a:lnTo>
                    <a:pt x="35" y="72"/>
                  </a:lnTo>
                  <a:lnTo>
                    <a:pt x="38" y="79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4" y="83"/>
                  </a:lnTo>
                  <a:lnTo>
                    <a:pt x="56" y="82"/>
                  </a:lnTo>
                  <a:lnTo>
                    <a:pt x="59" y="78"/>
                  </a:lnTo>
                  <a:lnTo>
                    <a:pt x="61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2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7" name="Freeform 32">
              <a:extLst>
                <a:ext uri="{FF2B5EF4-FFF2-40B4-BE49-F238E27FC236}">
                  <a16:creationId xmlns:a16="http://schemas.microsoft.com/office/drawing/2014/main" id="{43E86E30-0A21-D53E-137F-5A21380D0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525" y="4038600"/>
              <a:ext cx="47625" cy="57150"/>
            </a:xfrm>
            <a:custGeom>
              <a:avLst/>
              <a:gdLst>
                <a:gd name="T0" fmla="*/ 54 w 90"/>
                <a:gd name="T1" fmla="*/ 27 h 106"/>
                <a:gd name="T2" fmla="*/ 48 w 90"/>
                <a:gd name="T3" fmla="*/ 22 h 106"/>
                <a:gd name="T4" fmla="*/ 38 w 90"/>
                <a:gd name="T5" fmla="*/ 22 h 106"/>
                <a:gd name="T6" fmla="*/ 32 w 90"/>
                <a:gd name="T7" fmla="*/ 26 h 106"/>
                <a:gd name="T8" fmla="*/ 32 w 90"/>
                <a:gd name="T9" fmla="*/ 32 h 106"/>
                <a:gd name="T10" fmla="*/ 33 w 90"/>
                <a:gd name="T11" fmla="*/ 36 h 106"/>
                <a:gd name="T12" fmla="*/ 43 w 90"/>
                <a:gd name="T13" fmla="*/ 39 h 106"/>
                <a:gd name="T14" fmla="*/ 67 w 90"/>
                <a:gd name="T15" fmla="*/ 43 h 106"/>
                <a:gd name="T16" fmla="*/ 82 w 90"/>
                <a:gd name="T17" fmla="*/ 52 h 106"/>
                <a:gd name="T18" fmla="*/ 90 w 90"/>
                <a:gd name="T19" fmla="*/ 63 h 106"/>
                <a:gd name="T20" fmla="*/ 90 w 90"/>
                <a:gd name="T21" fmla="*/ 79 h 106"/>
                <a:gd name="T22" fmla="*/ 82 w 90"/>
                <a:gd name="T23" fmla="*/ 92 h 106"/>
                <a:gd name="T24" fmla="*/ 71 w 90"/>
                <a:gd name="T25" fmla="*/ 102 h 106"/>
                <a:gd name="T26" fmla="*/ 55 w 90"/>
                <a:gd name="T27" fmla="*/ 106 h 106"/>
                <a:gd name="T28" fmla="*/ 36 w 90"/>
                <a:gd name="T29" fmla="*/ 106 h 106"/>
                <a:gd name="T30" fmla="*/ 20 w 90"/>
                <a:gd name="T31" fmla="*/ 102 h 106"/>
                <a:gd name="T32" fmla="*/ 9 w 90"/>
                <a:gd name="T33" fmla="*/ 93 h 106"/>
                <a:gd name="T34" fmla="*/ 2 w 90"/>
                <a:gd name="T35" fmla="*/ 81 h 106"/>
                <a:gd name="T36" fmla="*/ 33 w 90"/>
                <a:gd name="T37" fmla="*/ 72 h 106"/>
                <a:gd name="T38" fmla="*/ 38 w 90"/>
                <a:gd name="T39" fmla="*/ 83 h 106"/>
                <a:gd name="T40" fmla="*/ 46 w 90"/>
                <a:gd name="T41" fmla="*/ 86 h 106"/>
                <a:gd name="T42" fmla="*/ 56 w 90"/>
                <a:gd name="T43" fmla="*/ 85 h 106"/>
                <a:gd name="T44" fmla="*/ 59 w 90"/>
                <a:gd name="T45" fmla="*/ 76 h 106"/>
                <a:gd name="T46" fmla="*/ 58 w 90"/>
                <a:gd name="T47" fmla="*/ 72 h 106"/>
                <a:gd name="T48" fmla="*/ 54 w 90"/>
                <a:gd name="T49" fmla="*/ 69 h 106"/>
                <a:gd name="T50" fmla="*/ 38 w 90"/>
                <a:gd name="T51" fmla="*/ 66 h 106"/>
                <a:gd name="T52" fmla="*/ 13 w 90"/>
                <a:gd name="T53" fmla="*/ 58 h 106"/>
                <a:gd name="T54" fmla="*/ 5 w 90"/>
                <a:gd name="T55" fmla="*/ 49 h 106"/>
                <a:gd name="T56" fmla="*/ 2 w 90"/>
                <a:gd name="T57" fmla="*/ 33 h 106"/>
                <a:gd name="T58" fmla="*/ 5 w 90"/>
                <a:gd name="T59" fmla="*/ 19 h 106"/>
                <a:gd name="T60" fmla="*/ 13 w 90"/>
                <a:gd name="T61" fmla="*/ 9 h 106"/>
                <a:gd name="T62" fmla="*/ 26 w 90"/>
                <a:gd name="T63" fmla="*/ 3 h 106"/>
                <a:gd name="T64" fmla="*/ 42 w 90"/>
                <a:gd name="T65" fmla="*/ 0 h 106"/>
                <a:gd name="T66" fmla="*/ 62 w 90"/>
                <a:gd name="T67" fmla="*/ 2 h 106"/>
                <a:gd name="T68" fmla="*/ 75 w 90"/>
                <a:gd name="T69" fmla="*/ 9 h 106"/>
                <a:gd name="T70" fmla="*/ 84 w 90"/>
                <a:gd name="T71" fmla="*/ 19 h 106"/>
                <a:gd name="T72" fmla="*/ 87 w 90"/>
                <a:gd name="T73" fmla="*/ 3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6">
                  <a:moveTo>
                    <a:pt x="55" y="32"/>
                  </a:moveTo>
                  <a:lnTo>
                    <a:pt x="54" y="27"/>
                  </a:lnTo>
                  <a:lnTo>
                    <a:pt x="51" y="23"/>
                  </a:lnTo>
                  <a:lnTo>
                    <a:pt x="48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5" y="23"/>
                  </a:lnTo>
                  <a:lnTo>
                    <a:pt x="32" y="26"/>
                  </a:lnTo>
                  <a:lnTo>
                    <a:pt x="31" y="29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3" y="39"/>
                  </a:lnTo>
                  <a:lnTo>
                    <a:pt x="52" y="40"/>
                  </a:lnTo>
                  <a:lnTo>
                    <a:pt x="67" y="43"/>
                  </a:lnTo>
                  <a:lnTo>
                    <a:pt x="78" y="47"/>
                  </a:lnTo>
                  <a:lnTo>
                    <a:pt x="82" y="52"/>
                  </a:lnTo>
                  <a:lnTo>
                    <a:pt x="87" y="58"/>
                  </a:lnTo>
                  <a:lnTo>
                    <a:pt x="90" y="63"/>
                  </a:lnTo>
                  <a:lnTo>
                    <a:pt x="90" y="72"/>
                  </a:lnTo>
                  <a:lnTo>
                    <a:pt x="90" y="79"/>
                  </a:lnTo>
                  <a:lnTo>
                    <a:pt x="87" y="86"/>
                  </a:lnTo>
                  <a:lnTo>
                    <a:pt x="82" y="92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6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20" y="102"/>
                  </a:lnTo>
                  <a:lnTo>
                    <a:pt x="13" y="98"/>
                  </a:lnTo>
                  <a:lnTo>
                    <a:pt x="9" y="93"/>
                  </a:lnTo>
                  <a:lnTo>
                    <a:pt x="5" y="88"/>
                  </a:lnTo>
                  <a:lnTo>
                    <a:pt x="2" y="81"/>
                  </a:lnTo>
                  <a:lnTo>
                    <a:pt x="0" y="72"/>
                  </a:lnTo>
                  <a:lnTo>
                    <a:pt x="33" y="72"/>
                  </a:lnTo>
                  <a:lnTo>
                    <a:pt x="35" y="79"/>
                  </a:lnTo>
                  <a:lnTo>
                    <a:pt x="38" y="83"/>
                  </a:lnTo>
                  <a:lnTo>
                    <a:pt x="42" y="85"/>
                  </a:lnTo>
                  <a:lnTo>
                    <a:pt x="46" y="86"/>
                  </a:lnTo>
                  <a:lnTo>
                    <a:pt x="52" y="86"/>
                  </a:lnTo>
                  <a:lnTo>
                    <a:pt x="56" y="85"/>
                  </a:lnTo>
                  <a:lnTo>
                    <a:pt x="59" y="82"/>
                  </a:lnTo>
                  <a:lnTo>
                    <a:pt x="59" y="76"/>
                  </a:lnTo>
                  <a:lnTo>
                    <a:pt x="59" y="75"/>
                  </a:lnTo>
                  <a:lnTo>
                    <a:pt x="58" y="72"/>
                  </a:lnTo>
                  <a:lnTo>
                    <a:pt x="56" y="70"/>
                  </a:lnTo>
                  <a:lnTo>
                    <a:pt x="54" y="69"/>
                  </a:lnTo>
                  <a:lnTo>
                    <a:pt x="46" y="68"/>
                  </a:lnTo>
                  <a:lnTo>
                    <a:pt x="38" y="66"/>
                  </a:lnTo>
                  <a:lnTo>
                    <a:pt x="25" y="63"/>
                  </a:lnTo>
                  <a:lnTo>
                    <a:pt x="13" y="58"/>
                  </a:lnTo>
                  <a:lnTo>
                    <a:pt x="7" y="53"/>
                  </a:lnTo>
                  <a:lnTo>
                    <a:pt x="5" y="49"/>
                  </a:lnTo>
                  <a:lnTo>
                    <a:pt x="2" y="42"/>
                  </a:lnTo>
                  <a:lnTo>
                    <a:pt x="2" y="33"/>
                  </a:lnTo>
                  <a:lnTo>
                    <a:pt x="2" y="26"/>
                  </a:lnTo>
                  <a:lnTo>
                    <a:pt x="5" y="19"/>
                  </a:lnTo>
                  <a:lnTo>
                    <a:pt x="9" y="13"/>
                  </a:lnTo>
                  <a:lnTo>
                    <a:pt x="13" y="9"/>
                  </a:lnTo>
                  <a:lnTo>
                    <a:pt x="19" y="4"/>
                  </a:lnTo>
                  <a:lnTo>
                    <a:pt x="26" y="3"/>
                  </a:lnTo>
                  <a:lnTo>
                    <a:pt x="35" y="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2" y="2"/>
                  </a:lnTo>
                  <a:lnTo>
                    <a:pt x="69" y="4"/>
                  </a:lnTo>
                  <a:lnTo>
                    <a:pt x="75" y="9"/>
                  </a:lnTo>
                  <a:lnTo>
                    <a:pt x="81" y="13"/>
                  </a:lnTo>
                  <a:lnTo>
                    <a:pt x="84" y="19"/>
                  </a:lnTo>
                  <a:lnTo>
                    <a:pt x="87" y="25"/>
                  </a:lnTo>
                  <a:lnTo>
                    <a:pt x="87" y="32"/>
                  </a:lnTo>
                  <a:lnTo>
                    <a:pt x="55" y="3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8" name="Freeform 33">
              <a:extLst>
                <a:ext uri="{FF2B5EF4-FFF2-40B4-BE49-F238E27FC236}">
                  <a16:creationId xmlns:a16="http://schemas.microsoft.com/office/drawing/2014/main" id="{68722D6A-4945-F661-E9EF-59BAD5C74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017963"/>
              <a:ext cx="50800" cy="76200"/>
            </a:xfrm>
            <a:custGeom>
              <a:avLst/>
              <a:gdLst>
                <a:gd name="T0" fmla="*/ 0 w 98"/>
                <a:gd name="T1" fmla="*/ 143 h 143"/>
                <a:gd name="T2" fmla="*/ 0 w 98"/>
                <a:gd name="T3" fmla="*/ 0 h 143"/>
                <a:gd name="T4" fmla="*/ 35 w 98"/>
                <a:gd name="T5" fmla="*/ 0 h 143"/>
                <a:gd name="T6" fmla="*/ 35 w 98"/>
                <a:gd name="T7" fmla="*/ 85 h 143"/>
                <a:gd name="T8" fmla="*/ 64 w 98"/>
                <a:gd name="T9" fmla="*/ 42 h 143"/>
                <a:gd name="T10" fmla="*/ 97 w 98"/>
                <a:gd name="T11" fmla="*/ 42 h 143"/>
                <a:gd name="T12" fmla="*/ 65 w 98"/>
                <a:gd name="T13" fmla="*/ 85 h 143"/>
                <a:gd name="T14" fmla="*/ 98 w 98"/>
                <a:gd name="T15" fmla="*/ 143 h 143"/>
                <a:gd name="T16" fmla="*/ 59 w 98"/>
                <a:gd name="T17" fmla="*/ 143 h 143"/>
                <a:gd name="T18" fmla="*/ 35 w 98"/>
                <a:gd name="T19" fmla="*/ 97 h 143"/>
                <a:gd name="T20" fmla="*/ 35 w 98"/>
                <a:gd name="T21" fmla="*/ 143 h 143"/>
                <a:gd name="T22" fmla="*/ 0 w 98"/>
                <a:gd name="T2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43">
                  <a:moveTo>
                    <a:pt x="0" y="143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35" y="85"/>
                  </a:lnTo>
                  <a:lnTo>
                    <a:pt x="64" y="42"/>
                  </a:lnTo>
                  <a:lnTo>
                    <a:pt x="97" y="42"/>
                  </a:lnTo>
                  <a:lnTo>
                    <a:pt x="65" y="85"/>
                  </a:lnTo>
                  <a:lnTo>
                    <a:pt x="98" y="143"/>
                  </a:lnTo>
                  <a:lnTo>
                    <a:pt x="59" y="143"/>
                  </a:lnTo>
                  <a:lnTo>
                    <a:pt x="35" y="97"/>
                  </a:lnTo>
                  <a:lnTo>
                    <a:pt x="35" y="143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9" name="Freeform 34">
              <a:extLst>
                <a:ext uri="{FF2B5EF4-FFF2-40B4-BE49-F238E27FC236}">
                  <a16:creationId xmlns:a16="http://schemas.microsoft.com/office/drawing/2014/main" id="{FC7F992F-BC20-D979-3CE0-30F57C50AC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2238" y="4017963"/>
              <a:ext cx="50800" cy="77788"/>
            </a:xfrm>
            <a:custGeom>
              <a:avLst/>
              <a:gdLst>
                <a:gd name="T0" fmla="*/ 60 w 95"/>
                <a:gd name="T1" fmla="*/ 135 h 146"/>
                <a:gd name="T2" fmla="*/ 46 w 95"/>
                <a:gd name="T3" fmla="*/ 144 h 146"/>
                <a:gd name="T4" fmla="*/ 30 w 95"/>
                <a:gd name="T5" fmla="*/ 146 h 146"/>
                <a:gd name="T6" fmla="*/ 17 w 95"/>
                <a:gd name="T7" fmla="*/ 145 h 146"/>
                <a:gd name="T8" fmla="*/ 7 w 95"/>
                <a:gd name="T9" fmla="*/ 139 h 146"/>
                <a:gd name="T10" fmla="*/ 3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1 w 95"/>
                <a:gd name="T17" fmla="*/ 95 h 146"/>
                <a:gd name="T18" fmla="*/ 27 w 95"/>
                <a:gd name="T19" fmla="*/ 89 h 146"/>
                <a:gd name="T20" fmla="*/ 49 w 95"/>
                <a:gd name="T21" fmla="*/ 86 h 146"/>
                <a:gd name="T22" fmla="*/ 60 w 95"/>
                <a:gd name="T23" fmla="*/ 86 h 146"/>
                <a:gd name="T24" fmla="*/ 60 w 95"/>
                <a:gd name="T25" fmla="*/ 70 h 146"/>
                <a:gd name="T26" fmla="*/ 53 w 95"/>
                <a:gd name="T27" fmla="*/ 63 h 146"/>
                <a:gd name="T28" fmla="*/ 43 w 95"/>
                <a:gd name="T29" fmla="*/ 63 h 146"/>
                <a:gd name="T30" fmla="*/ 36 w 95"/>
                <a:gd name="T31" fmla="*/ 70 h 146"/>
                <a:gd name="T32" fmla="*/ 3 w 95"/>
                <a:gd name="T33" fmla="*/ 77 h 146"/>
                <a:gd name="T34" fmla="*/ 7 w 95"/>
                <a:gd name="T35" fmla="*/ 60 h 146"/>
                <a:gd name="T36" fmla="*/ 16 w 95"/>
                <a:gd name="T37" fmla="*/ 49 h 146"/>
                <a:gd name="T38" fmla="*/ 30 w 95"/>
                <a:gd name="T39" fmla="*/ 43 h 146"/>
                <a:gd name="T40" fmla="*/ 49 w 95"/>
                <a:gd name="T41" fmla="*/ 40 h 146"/>
                <a:gd name="T42" fmla="*/ 63 w 95"/>
                <a:gd name="T43" fmla="*/ 42 h 146"/>
                <a:gd name="T44" fmla="*/ 79 w 95"/>
                <a:gd name="T45" fmla="*/ 46 h 146"/>
                <a:gd name="T46" fmla="*/ 91 w 95"/>
                <a:gd name="T47" fmla="*/ 56 h 146"/>
                <a:gd name="T48" fmla="*/ 95 w 95"/>
                <a:gd name="T49" fmla="*/ 73 h 146"/>
                <a:gd name="T50" fmla="*/ 60 w 95"/>
                <a:gd name="T51" fmla="*/ 144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0 w 95"/>
                <a:gd name="T59" fmla="*/ 103 h 146"/>
                <a:gd name="T60" fmla="*/ 50 w 95"/>
                <a:gd name="T61" fmla="*/ 103 h 146"/>
                <a:gd name="T62" fmla="*/ 40 w 95"/>
                <a:gd name="T63" fmla="*/ 105 h 146"/>
                <a:gd name="T64" fmla="*/ 36 w 95"/>
                <a:gd name="T65" fmla="*/ 109 h 146"/>
                <a:gd name="T66" fmla="*/ 34 w 95"/>
                <a:gd name="T67" fmla="*/ 115 h 146"/>
                <a:gd name="T68" fmla="*/ 37 w 95"/>
                <a:gd name="T69" fmla="*/ 122 h 146"/>
                <a:gd name="T70" fmla="*/ 46 w 95"/>
                <a:gd name="T71" fmla="*/ 123 h 146"/>
                <a:gd name="T72" fmla="*/ 60 w 95"/>
                <a:gd name="T73" fmla="*/ 11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0" y="144"/>
                  </a:moveTo>
                  <a:lnTo>
                    <a:pt x="60" y="135"/>
                  </a:lnTo>
                  <a:lnTo>
                    <a:pt x="53" y="141"/>
                  </a:lnTo>
                  <a:lnTo>
                    <a:pt x="46" y="144"/>
                  </a:lnTo>
                  <a:lnTo>
                    <a:pt x="39" y="146"/>
                  </a:lnTo>
                  <a:lnTo>
                    <a:pt x="30" y="146"/>
                  </a:lnTo>
                  <a:lnTo>
                    <a:pt x="23" y="146"/>
                  </a:lnTo>
                  <a:lnTo>
                    <a:pt x="17" y="145"/>
                  </a:lnTo>
                  <a:lnTo>
                    <a:pt x="11" y="142"/>
                  </a:lnTo>
                  <a:lnTo>
                    <a:pt x="7" y="139"/>
                  </a:lnTo>
                  <a:lnTo>
                    <a:pt x="4" y="135"/>
                  </a:lnTo>
                  <a:lnTo>
                    <a:pt x="3" y="131"/>
                  </a:lnTo>
                  <a:lnTo>
                    <a:pt x="1" y="125"/>
                  </a:lnTo>
                  <a:lnTo>
                    <a:pt x="0" y="119"/>
                  </a:lnTo>
                  <a:lnTo>
                    <a:pt x="1" y="112"/>
                  </a:lnTo>
                  <a:lnTo>
                    <a:pt x="3" y="106"/>
                  </a:lnTo>
                  <a:lnTo>
                    <a:pt x="7" y="100"/>
                  </a:lnTo>
                  <a:lnTo>
                    <a:pt x="11" y="95"/>
                  </a:lnTo>
                  <a:lnTo>
                    <a:pt x="19" y="92"/>
                  </a:lnTo>
                  <a:lnTo>
                    <a:pt x="27" y="89"/>
                  </a:lnTo>
                  <a:lnTo>
                    <a:pt x="37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0" y="86"/>
                  </a:lnTo>
                  <a:lnTo>
                    <a:pt x="60" y="77"/>
                  </a:lnTo>
                  <a:lnTo>
                    <a:pt x="60" y="70"/>
                  </a:lnTo>
                  <a:lnTo>
                    <a:pt x="57" y="66"/>
                  </a:lnTo>
                  <a:lnTo>
                    <a:pt x="53" y="63"/>
                  </a:lnTo>
                  <a:lnTo>
                    <a:pt x="49" y="62"/>
                  </a:lnTo>
                  <a:lnTo>
                    <a:pt x="43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4" y="77"/>
                  </a:lnTo>
                  <a:lnTo>
                    <a:pt x="3" y="77"/>
                  </a:lnTo>
                  <a:lnTo>
                    <a:pt x="4" y="69"/>
                  </a:lnTo>
                  <a:lnTo>
                    <a:pt x="7" y="60"/>
                  </a:lnTo>
                  <a:lnTo>
                    <a:pt x="11" y="54"/>
                  </a:lnTo>
                  <a:lnTo>
                    <a:pt x="16" y="49"/>
                  </a:lnTo>
                  <a:lnTo>
                    <a:pt x="23" y="44"/>
                  </a:lnTo>
                  <a:lnTo>
                    <a:pt x="30" y="43"/>
                  </a:lnTo>
                  <a:lnTo>
                    <a:pt x="39" y="40"/>
                  </a:lnTo>
                  <a:lnTo>
                    <a:pt x="49" y="40"/>
                  </a:lnTo>
                  <a:lnTo>
                    <a:pt x="56" y="40"/>
                  </a:lnTo>
                  <a:lnTo>
                    <a:pt x="63" y="42"/>
                  </a:lnTo>
                  <a:lnTo>
                    <a:pt x="72" y="43"/>
                  </a:lnTo>
                  <a:lnTo>
                    <a:pt x="79" y="46"/>
                  </a:lnTo>
                  <a:lnTo>
                    <a:pt x="85" y="50"/>
                  </a:lnTo>
                  <a:lnTo>
                    <a:pt x="91" y="56"/>
                  </a:lnTo>
                  <a:lnTo>
                    <a:pt x="93" y="65"/>
                  </a:lnTo>
                  <a:lnTo>
                    <a:pt x="95" y="73"/>
                  </a:lnTo>
                  <a:lnTo>
                    <a:pt x="95" y="144"/>
                  </a:lnTo>
                  <a:lnTo>
                    <a:pt x="60" y="144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6" y="0"/>
                  </a:lnTo>
                  <a:lnTo>
                    <a:pt x="85" y="0"/>
                  </a:lnTo>
                  <a:lnTo>
                    <a:pt x="53" y="31"/>
                  </a:lnTo>
                  <a:lnTo>
                    <a:pt x="26" y="31"/>
                  </a:lnTo>
                  <a:close/>
                  <a:moveTo>
                    <a:pt x="60" y="103"/>
                  </a:moveTo>
                  <a:lnTo>
                    <a:pt x="60" y="103"/>
                  </a:lnTo>
                  <a:lnTo>
                    <a:pt x="56" y="103"/>
                  </a:lnTo>
                  <a:lnTo>
                    <a:pt x="50" y="103"/>
                  </a:lnTo>
                  <a:lnTo>
                    <a:pt x="44" y="103"/>
                  </a:lnTo>
                  <a:lnTo>
                    <a:pt x="40" y="105"/>
                  </a:lnTo>
                  <a:lnTo>
                    <a:pt x="37" y="106"/>
                  </a:lnTo>
                  <a:lnTo>
                    <a:pt x="36" y="109"/>
                  </a:lnTo>
                  <a:lnTo>
                    <a:pt x="34" y="110"/>
                  </a:lnTo>
                  <a:lnTo>
                    <a:pt x="34" y="115"/>
                  </a:lnTo>
                  <a:lnTo>
                    <a:pt x="34" y="119"/>
                  </a:lnTo>
                  <a:lnTo>
                    <a:pt x="37" y="122"/>
                  </a:lnTo>
                  <a:lnTo>
                    <a:pt x="42" y="123"/>
                  </a:lnTo>
                  <a:lnTo>
                    <a:pt x="46" y="123"/>
                  </a:lnTo>
                  <a:lnTo>
                    <a:pt x="53" y="122"/>
                  </a:lnTo>
                  <a:lnTo>
                    <a:pt x="60" y="118"/>
                  </a:lnTo>
                  <a:lnTo>
                    <a:pt x="6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0" name="Freeform 35">
              <a:extLst>
                <a:ext uri="{FF2B5EF4-FFF2-40B4-BE49-F238E27FC236}">
                  <a16:creationId xmlns:a16="http://schemas.microsoft.com/office/drawing/2014/main" id="{B6C383B2-2B01-1A7E-F2FA-E673E8BD9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5700" y="4119563"/>
              <a:ext cx="52388" cy="74613"/>
            </a:xfrm>
            <a:custGeom>
              <a:avLst/>
              <a:gdLst>
                <a:gd name="T0" fmla="*/ 0 w 99"/>
                <a:gd name="T1" fmla="*/ 142 h 142"/>
                <a:gd name="T2" fmla="*/ 0 w 99"/>
                <a:gd name="T3" fmla="*/ 0 h 142"/>
                <a:gd name="T4" fmla="*/ 34 w 99"/>
                <a:gd name="T5" fmla="*/ 0 h 142"/>
                <a:gd name="T6" fmla="*/ 34 w 99"/>
                <a:gd name="T7" fmla="*/ 85 h 142"/>
                <a:gd name="T8" fmla="*/ 63 w 99"/>
                <a:gd name="T9" fmla="*/ 42 h 142"/>
                <a:gd name="T10" fmla="*/ 96 w 99"/>
                <a:gd name="T11" fmla="*/ 42 h 142"/>
                <a:gd name="T12" fmla="*/ 64 w 99"/>
                <a:gd name="T13" fmla="*/ 86 h 142"/>
                <a:gd name="T14" fmla="*/ 99 w 99"/>
                <a:gd name="T15" fmla="*/ 142 h 142"/>
                <a:gd name="T16" fmla="*/ 60 w 99"/>
                <a:gd name="T17" fmla="*/ 142 h 142"/>
                <a:gd name="T18" fmla="*/ 34 w 99"/>
                <a:gd name="T19" fmla="*/ 98 h 142"/>
                <a:gd name="T20" fmla="*/ 34 w 99"/>
                <a:gd name="T21" fmla="*/ 142 h 142"/>
                <a:gd name="T22" fmla="*/ 0 w 9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42">
                  <a:moveTo>
                    <a:pt x="0" y="142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34" y="85"/>
                  </a:lnTo>
                  <a:lnTo>
                    <a:pt x="63" y="42"/>
                  </a:lnTo>
                  <a:lnTo>
                    <a:pt x="96" y="42"/>
                  </a:lnTo>
                  <a:lnTo>
                    <a:pt x="64" y="86"/>
                  </a:lnTo>
                  <a:lnTo>
                    <a:pt x="99" y="142"/>
                  </a:lnTo>
                  <a:lnTo>
                    <a:pt x="60" y="142"/>
                  </a:lnTo>
                  <a:lnTo>
                    <a:pt x="34" y="98"/>
                  </a:lnTo>
                  <a:lnTo>
                    <a:pt x="34" y="14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2" name="Freeform 36">
              <a:extLst>
                <a:ext uri="{FF2B5EF4-FFF2-40B4-BE49-F238E27FC236}">
                  <a16:creationId xmlns:a16="http://schemas.microsoft.com/office/drawing/2014/main" id="{CC3F183E-6B61-E44A-DBDC-8BBFADA71E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2850" y="4140200"/>
              <a:ext cx="49213" cy="55563"/>
            </a:xfrm>
            <a:custGeom>
              <a:avLst/>
              <a:gdLst>
                <a:gd name="T0" fmla="*/ 59 w 93"/>
                <a:gd name="T1" fmla="*/ 95 h 106"/>
                <a:gd name="T2" fmla="*/ 44 w 93"/>
                <a:gd name="T3" fmla="*/ 103 h 106"/>
                <a:gd name="T4" fmla="*/ 30 w 93"/>
                <a:gd name="T5" fmla="*/ 106 h 106"/>
                <a:gd name="T6" fmla="*/ 15 w 93"/>
                <a:gd name="T7" fmla="*/ 105 h 106"/>
                <a:gd name="T8" fmla="*/ 7 w 93"/>
                <a:gd name="T9" fmla="*/ 99 h 106"/>
                <a:gd name="T10" fmla="*/ 1 w 93"/>
                <a:gd name="T11" fmla="*/ 91 h 106"/>
                <a:gd name="T12" fmla="*/ 0 w 93"/>
                <a:gd name="T13" fmla="*/ 79 h 106"/>
                <a:gd name="T14" fmla="*/ 1 w 93"/>
                <a:gd name="T15" fmla="*/ 66 h 106"/>
                <a:gd name="T16" fmla="*/ 10 w 93"/>
                <a:gd name="T17" fmla="*/ 56 h 106"/>
                <a:gd name="T18" fmla="*/ 25 w 93"/>
                <a:gd name="T19" fmla="*/ 49 h 106"/>
                <a:gd name="T20" fmla="*/ 47 w 93"/>
                <a:gd name="T21" fmla="*/ 46 h 106"/>
                <a:gd name="T22" fmla="*/ 59 w 93"/>
                <a:gd name="T23" fmla="*/ 46 h 106"/>
                <a:gd name="T24" fmla="*/ 59 w 93"/>
                <a:gd name="T25" fmla="*/ 30 h 106"/>
                <a:gd name="T26" fmla="*/ 53 w 93"/>
                <a:gd name="T27" fmla="*/ 23 h 106"/>
                <a:gd name="T28" fmla="*/ 41 w 93"/>
                <a:gd name="T29" fmla="*/ 23 h 106"/>
                <a:gd name="T30" fmla="*/ 34 w 93"/>
                <a:gd name="T31" fmla="*/ 30 h 106"/>
                <a:gd name="T32" fmla="*/ 1 w 93"/>
                <a:gd name="T33" fmla="*/ 37 h 106"/>
                <a:gd name="T34" fmla="*/ 5 w 93"/>
                <a:gd name="T35" fmla="*/ 20 h 106"/>
                <a:gd name="T36" fmla="*/ 15 w 93"/>
                <a:gd name="T37" fmla="*/ 9 h 106"/>
                <a:gd name="T38" fmla="*/ 30 w 93"/>
                <a:gd name="T39" fmla="*/ 3 h 106"/>
                <a:gd name="T40" fmla="*/ 47 w 93"/>
                <a:gd name="T41" fmla="*/ 0 h 106"/>
                <a:gd name="T42" fmla="*/ 63 w 93"/>
                <a:gd name="T43" fmla="*/ 2 h 106"/>
                <a:gd name="T44" fmla="*/ 77 w 93"/>
                <a:gd name="T45" fmla="*/ 7 h 106"/>
                <a:gd name="T46" fmla="*/ 89 w 93"/>
                <a:gd name="T47" fmla="*/ 17 h 106"/>
                <a:gd name="T48" fmla="*/ 93 w 93"/>
                <a:gd name="T49" fmla="*/ 33 h 106"/>
                <a:gd name="T50" fmla="*/ 59 w 93"/>
                <a:gd name="T51" fmla="*/ 103 h 106"/>
                <a:gd name="T52" fmla="*/ 59 w 93"/>
                <a:gd name="T53" fmla="*/ 63 h 106"/>
                <a:gd name="T54" fmla="*/ 50 w 93"/>
                <a:gd name="T55" fmla="*/ 63 h 106"/>
                <a:gd name="T56" fmla="*/ 38 w 93"/>
                <a:gd name="T57" fmla="*/ 65 h 106"/>
                <a:gd name="T58" fmla="*/ 34 w 93"/>
                <a:gd name="T59" fmla="*/ 69 h 106"/>
                <a:gd name="T60" fmla="*/ 33 w 93"/>
                <a:gd name="T61" fmla="*/ 75 h 106"/>
                <a:gd name="T62" fmla="*/ 37 w 93"/>
                <a:gd name="T63" fmla="*/ 82 h 106"/>
                <a:gd name="T64" fmla="*/ 44 w 93"/>
                <a:gd name="T65" fmla="*/ 85 h 106"/>
                <a:gd name="T66" fmla="*/ 59 w 93"/>
                <a:gd name="T67" fmla="*/ 7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3" h="106">
                  <a:moveTo>
                    <a:pt x="59" y="103"/>
                  </a:moveTo>
                  <a:lnTo>
                    <a:pt x="59" y="95"/>
                  </a:lnTo>
                  <a:lnTo>
                    <a:pt x="53" y="101"/>
                  </a:lnTo>
                  <a:lnTo>
                    <a:pt x="44" y="103"/>
                  </a:lnTo>
                  <a:lnTo>
                    <a:pt x="37" y="106"/>
                  </a:lnTo>
                  <a:lnTo>
                    <a:pt x="30" y="106"/>
                  </a:lnTo>
                  <a:lnTo>
                    <a:pt x="23" y="106"/>
                  </a:lnTo>
                  <a:lnTo>
                    <a:pt x="15" y="105"/>
                  </a:lnTo>
                  <a:lnTo>
                    <a:pt x="11" y="102"/>
                  </a:lnTo>
                  <a:lnTo>
                    <a:pt x="7" y="99"/>
                  </a:lnTo>
                  <a:lnTo>
                    <a:pt x="2" y="95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1" y="66"/>
                  </a:lnTo>
                  <a:lnTo>
                    <a:pt x="5" y="60"/>
                  </a:lnTo>
                  <a:lnTo>
                    <a:pt x="10" y="56"/>
                  </a:lnTo>
                  <a:lnTo>
                    <a:pt x="17" y="52"/>
                  </a:lnTo>
                  <a:lnTo>
                    <a:pt x="25" y="49"/>
                  </a:lnTo>
                  <a:lnTo>
                    <a:pt x="36" y="46"/>
                  </a:lnTo>
                  <a:lnTo>
                    <a:pt x="47" y="46"/>
                  </a:lnTo>
                  <a:lnTo>
                    <a:pt x="53" y="46"/>
                  </a:lnTo>
                  <a:lnTo>
                    <a:pt x="59" y="46"/>
                  </a:lnTo>
                  <a:lnTo>
                    <a:pt x="59" y="37"/>
                  </a:lnTo>
                  <a:lnTo>
                    <a:pt x="59" y="30"/>
                  </a:lnTo>
                  <a:lnTo>
                    <a:pt x="56" y="26"/>
                  </a:lnTo>
                  <a:lnTo>
                    <a:pt x="53" y="23"/>
                  </a:lnTo>
                  <a:lnTo>
                    <a:pt x="47" y="23"/>
                  </a:lnTo>
                  <a:lnTo>
                    <a:pt x="41" y="23"/>
                  </a:lnTo>
                  <a:lnTo>
                    <a:pt x="37" y="26"/>
                  </a:lnTo>
                  <a:lnTo>
                    <a:pt x="34" y="30"/>
                  </a:lnTo>
                  <a:lnTo>
                    <a:pt x="34" y="37"/>
                  </a:lnTo>
                  <a:lnTo>
                    <a:pt x="1" y="37"/>
                  </a:lnTo>
                  <a:lnTo>
                    <a:pt x="2" y="29"/>
                  </a:lnTo>
                  <a:lnTo>
                    <a:pt x="5" y="20"/>
                  </a:lnTo>
                  <a:lnTo>
                    <a:pt x="10" y="14"/>
                  </a:lnTo>
                  <a:lnTo>
                    <a:pt x="15" y="9"/>
                  </a:lnTo>
                  <a:lnTo>
                    <a:pt x="21" y="6"/>
                  </a:lnTo>
                  <a:lnTo>
                    <a:pt x="30" y="3"/>
                  </a:lnTo>
                  <a:lnTo>
                    <a:pt x="37" y="2"/>
                  </a:lnTo>
                  <a:lnTo>
                    <a:pt x="47" y="0"/>
                  </a:lnTo>
                  <a:lnTo>
                    <a:pt x="54" y="2"/>
                  </a:lnTo>
                  <a:lnTo>
                    <a:pt x="63" y="2"/>
                  </a:lnTo>
                  <a:lnTo>
                    <a:pt x="70" y="4"/>
                  </a:lnTo>
                  <a:lnTo>
                    <a:pt x="77" y="7"/>
                  </a:lnTo>
                  <a:lnTo>
                    <a:pt x="85" y="12"/>
                  </a:lnTo>
                  <a:lnTo>
                    <a:pt x="89" y="17"/>
                  </a:lnTo>
                  <a:lnTo>
                    <a:pt x="92" y="25"/>
                  </a:lnTo>
                  <a:lnTo>
                    <a:pt x="93" y="33"/>
                  </a:lnTo>
                  <a:lnTo>
                    <a:pt x="93" y="103"/>
                  </a:lnTo>
                  <a:lnTo>
                    <a:pt x="59" y="103"/>
                  </a:lnTo>
                  <a:close/>
                  <a:moveTo>
                    <a:pt x="59" y="63"/>
                  </a:moveTo>
                  <a:lnTo>
                    <a:pt x="59" y="63"/>
                  </a:lnTo>
                  <a:lnTo>
                    <a:pt x="54" y="63"/>
                  </a:lnTo>
                  <a:lnTo>
                    <a:pt x="50" y="63"/>
                  </a:lnTo>
                  <a:lnTo>
                    <a:pt x="44" y="63"/>
                  </a:lnTo>
                  <a:lnTo>
                    <a:pt x="38" y="65"/>
                  </a:lnTo>
                  <a:lnTo>
                    <a:pt x="36" y="68"/>
                  </a:lnTo>
                  <a:lnTo>
                    <a:pt x="34" y="69"/>
                  </a:lnTo>
                  <a:lnTo>
                    <a:pt x="33" y="72"/>
                  </a:lnTo>
                  <a:lnTo>
                    <a:pt x="33" y="75"/>
                  </a:lnTo>
                  <a:lnTo>
                    <a:pt x="34" y="79"/>
                  </a:lnTo>
                  <a:lnTo>
                    <a:pt x="37" y="82"/>
                  </a:lnTo>
                  <a:lnTo>
                    <a:pt x="40" y="83"/>
                  </a:lnTo>
                  <a:lnTo>
                    <a:pt x="44" y="85"/>
                  </a:lnTo>
                  <a:lnTo>
                    <a:pt x="51" y="83"/>
                  </a:lnTo>
                  <a:lnTo>
                    <a:pt x="59" y="79"/>
                  </a:lnTo>
                  <a:lnTo>
                    <a:pt x="59" y="6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3" name="Freeform 37">
              <a:extLst>
                <a:ext uri="{FF2B5EF4-FFF2-40B4-BE49-F238E27FC236}">
                  <a16:creationId xmlns:a16="http://schemas.microsoft.com/office/drawing/2014/main" id="{505F472A-5D5D-B6DC-3598-776C6E47E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3175" y="4140200"/>
              <a:ext cx="52388" cy="53975"/>
            </a:xfrm>
            <a:custGeom>
              <a:avLst/>
              <a:gdLst>
                <a:gd name="T0" fmla="*/ 0 w 98"/>
                <a:gd name="T1" fmla="*/ 103 h 103"/>
                <a:gd name="T2" fmla="*/ 0 w 98"/>
                <a:gd name="T3" fmla="*/ 3 h 103"/>
                <a:gd name="T4" fmla="*/ 35 w 98"/>
                <a:gd name="T5" fmla="*/ 3 h 103"/>
                <a:gd name="T6" fmla="*/ 35 w 98"/>
                <a:gd name="T7" fmla="*/ 17 h 103"/>
                <a:gd name="T8" fmla="*/ 43 w 98"/>
                <a:gd name="T9" fmla="*/ 10 h 103"/>
                <a:gd name="T10" fmla="*/ 52 w 98"/>
                <a:gd name="T11" fmla="*/ 4 h 103"/>
                <a:gd name="T12" fmla="*/ 61 w 98"/>
                <a:gd name="T13" fmla="*/ 2 h 103"/>
                <a:gd name="T14" fmla="*/ 71 w 98"/>
                <a:gd name="T15" fmla="*/ 0 h 103"/>
                <a:gd name="T16" fmla="*/ 75 w 98"/>
                <a:gd name="T17" fmla="*/ 2 h 103"/>
                <a:gd name="T18" fmla="*/ 81 w 98"/>
                <a:gd name="T19" fmla="*/ 2 h 103"/>
                <a:gd name="T20" fmla="*/ 85 w 98"/>
                <a:gd name="T21" fmla="*/ 4 h 103"/>
                <a:gd name="T22" fmla="*/ 89 w 98"/>
                <a:gd name="T23" fmla="*/ 7 h 103"/>
                <a:gd name="T24" fmla="*/ 94 w 98"/>
                <a:gd name="T25" fmla="*/ 12 h 103"/>
                <a:gd name="T26" fmla="*/ 95 w 98"/>
                <a:gd name="T27" fmla="*/ 17 h 103"/>
                <a:gd name="T28" fmla="*/ 98 w 98"/>
                <a:gd name="T29" fmla="*/ 25 h 103"/>
                <a:gd name="T30" fmla="*/ 98 w 98"/>
                <a:gd name="T31" fmla="*/ 35 h 103"/>
                <a:gd name="T32" fmla="*/ 98 w 98"/>
                <a:gd name="T33" fmla="*/ 103 h 103"/>
                <a:gd name="T34" fmla="*/ 64 w 98"/>
                <a:gd name="T35" fmla="*/ 103 h 103"/>
                <a:gd name="T36" fmla="*/ 64 w 98"/>
                <a:gd name="T37" fmla="*/ 40 h 103"/>
                <a:gd name="T38" fmla="*/ 64 w 98"/>
                <a:gd name="T39" fmla="*/ 35 h 103"/>
                <a:gd name="T40" fmla="*/ 61 w 98"/>
                <a:gd name="T41" fmla="*/ 30 h 103"/>
                <a:gd name="T42" fmla="*/ 56 w 98"/>
                <a:gd name="T43" fmla="*/ 29 h 103"/>
                <a:gd name="T44" fmla="*/ 51 w 98"/>
                <a:gd name="T45" fmla="*/ 27 h 103"/>
                <a:gd name="T46" fmla="*/ 43 w 98"/>
                <a:gd name="T47" fmla="*/ 29 h 103"/>
                <a:gd name="T48" fmla="*/ 35 w 98"/>
                <a:gd name="T49" fmla="*/ 35 h 103"/>
                <a:gd name="T50" fmla="*/ 35 w 98"/>
                <a:gd name="T51" fmla="*/ 103 h 103"/>
                <a:gd name="T52" fmla="*/ 0 w 98"/>
                <a:gd name="T5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" h="103">
                  <a:moveTo>
                    <a:pt x="0" y="103"/>
                  </a:moveTo>
                  <a:lnTo>
                    <a:pt x="0" y="3"/>
                  </a:lnTo>
                  <a:lnTo>
                    <a:pt x="35" y="3"/>
                  </a:lnTo>
                  <a:lnTo>
                    <a:pt x="35" y="17"/>
                  </a:lnTo>
                  <a:lnTo>
                    <a:pt x="43" y="10"/>
                  </a:lnTo>
                  <a:lnTo>
                    <a:pt x="52" y="4"/>
                  </a:lnTo>
                  <a:lnTo>
                    <a:pt x="61" y="2"/>
                  </a:lnTo>
                  <a:lnTo>
                    <a:pt x="71" y="0"/>
                  </a:lnTo>
                  <a:lnTo>
                    <a:pt x="75" y="2"/>
                  </a:lnTo>
                  <a:lnTo>
                    <a:pt x="81" y="2"/>
                  </a:lnTo>
                  <a:lnTo>
                    <a:pt x="85" y="4"/>
                  </a:lnTo>
                  <a:lnTo>
                    <a:pt x="89" y="7"/>
                  </a:lnTo>
                  <a:lnTo>
                    <a:pt x="94" y="12"/>
                  </a:lnTo>
                  <a:lnTo>
                    <a:pt x="95" y="17"/>
                  </a:lnTo>
                  <a:lnTo>
                    <a:pt x="98" y="25"/>
                  </a:lnTo>
                  <a:lnTo>
                    <a:pt x="98" y="35"/>
                  </a:lnTo>
                  <a:lnTo>
                    <a:pt x="98" y="103"/>
                  </a:lnTo>
                  <a:lnTo>
                    <a:pt x="64" y="103"/>
                  </a:lnTo>
                  <a:lnTo>
                    <a:pt x="64" y="40"/>
                  </a:lnTo>
                  <a:lnTo>
                    <a:pt x="64" y="35"/>
                  </a:lnTo>
                  <a:lnTo>
                    <a:pt x="61" y="30"/>
                  </a:lnTo>
                  <a:lnTo>
                    <a:pt x="56" y="29"/>
                  </a:lnTo>
                  <a:lnTo>
                    <a:pt x="51" y="27"/>
                  </a:lnTo>
                  <a:lnTo>
                    <a:pt x="43" y="29"/>
                  </a:lnTo>
                  <a:lnTo>
                    <a:pt x="35" y="35"/>
                  </a:lnTo>
                  <a:lnTo>
                    <a:pt x="35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4" name="Freeform 38">
              <a:extLst>
                <a:ext uri="{FF2B5EF4-FFF2-40B4-BE49-F238E27FC236}">
                  <a16:creationId xmlns:a16="http://schemas.microsoft.com/office/drawing/2014/main" id="{D7785973-2BD0-A55A-49BB-49177D5B3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5088" y="4140200"/>
              <a:ext cx="50800" cy="55563"/>
            </a:xfrm>
            <a:custGeom>
              <a:avLst/>
              <a:gdLst>
                <a:gd name="T0" fmla="*/ 95 w 96"/>
                <a:gd name="T1" fmla="*/ 68 h 106"/>
                <a:gd name="T2" fmla="*/ 93 w 96"/>
                <a:gd name="T3" fmla="*/ 76 h 106"/>
                <a:gd name="T4" fmla="*/ 91 w 96"/>
                <a:gd name="T5" fmla="*/ 85 h 106"/>
                <a:gd name="T6" fmla="*/ 86 w 96"/>
                <a:gd name="T7" fmla="*/ 91 h 106"/>
                <a:gd name="T8" fmla="*/ 80 w 96"/>
                <a:gd name="T9" fmla="*/ 96 h 106"/>
                <a:gd name="T10" fmla="*/ 75 w 96"/>
                <a:gd name="T11" fmla="*/ 101 h 106"/>
                <a:gd name="T12" fmla="*/ 68 w 96"/>
                <a:gd name="T13" fmla="*/ 105 h 106"/>
                <a:gd name="T14" fmla="*/ 59 w 96"/>
                <a:gd name="T15" fmla="*/ 106 h 106"/>
                <a:gd name="T16" fmla="*/ 49 w 96"/>
                <a:gd name="T17" fmla="*/ 106 h 106"/>
                <a:gd name="T18" fmla="*/ 39 w 96"/>
                <a:gd name="T19" fmla="*/ 106 h 106"/>
                <a:gd name="T20" fmla="*/ 29 w 96"/>
                <a:gd name="T21" fmla="*/ 103 h 106"/>
                <a:gd name="T22" fmla="*/ 20 w 96"/>
                <a:gd name="T23" fmla="*/ 99 h 106"/>
                <a:gd name="T24" fmla="*/ 13 w 96"/>
                <a:gd name="T25" fmla="*/ 92 h 106"/>
                <a:gd name="T26" fmla="*/ 7 w 96"/>
                <a:gd name="T27" fmla="*/ 85 h 106"/>
                <a:gd name="T28" fmla="*/ 4 w 96"/>
                <a:gd name="T29" fmla="*/ 76 h 106"/>
                <a:gd name="T30" fmla="*/ 1 w 96"/>
                <a:gd name="T31" fmla="*/ 65 h 106"/>
                <a:gd name="T32" fmla="*/ 0 w 96"/>
                <a:gd name="T33" fmla="*/ 53 h 106"/>
                <a:gd name="T34" fmla="*/ 1 w 96"/>
                <a:gd name="T35" fmla="*/ 42 h 106"/>
                <a:gd name="T36" fmla="*/ 4 w 96"/>
                <a:gd name="T37" fmla="*/ 32 h 106"/>
                <a:gd name="T38" fmla="*/ 8 w 96"/>
                <a:gd name="T39" fmla="*/ 23 h 106"/>
                <a:gd name="T40" fmla="*/ 14 w 96"/>
                <a:gd name="T41" fmla="*/ 14 h 106"/>
                <a:gd name="T42" fmla="*/ 20 w 96"/>
                <a:gd name="T43" fmla="*/ 9 h 106"/>
                <a:gd name="T44" fmla="*/ 29 w 96"/>
                <a:gd name="T45" fmla="*/ 4 h 106"/>
                <a:gd name="T46" fmla="*/ 39 w 96"/>
                <a:gd name="T47" fmla="*/ 2 h 106"/>
                <a:gd name="T48" fmla="*/ 49 w 96"/>
                <a:gd name="T49" fmla="*/ 0 h 106"/>
                <a:gd name="T50" fmla="*/ 59 w 96"/>
                <a:gd name="T51" fmla="*/ 2 h 106"/>
                <a:gd name="T52" fmla="*/ 68 w 96"/>
                <a:gd name="T53" fmla="*/ 3 h 106"/>
                <a:gd name="T54" fmla="*/ 76 w 96"/>
                <a:gd name="T55" fmla="*/ 6 h 106"/>
                <a:gd name="T56" fmla="*/ 82 w 96"/>
                <a:gd name="T57" fmla="*/ 12 h 106"/>
                <a:gd name="T58" fmla="*/ 88 w 96"/>
                <a:gd name="T59" fmla="*/ 17 h 106"/>
                <a:gd name="T60" fmla="*/ 92 w 96"/>
                <a:gd name="T61" fmla="*/ 25 h 106"/>
                <a:gd name="T62" fmla="*/ 95 w 96"/>
                <a:gd name="T63" fmla="*/ 32 h 106"/>
                <a:gd name="T64" fmla="*/ 96 w 96"/>
                <a:gd name="T65" fmla="*/ 42 h 106"/>
                <a:gd name="T66" fmla="*/ 63 w 96"/>
                <a:gd name="T67" fmla="*/ 42 h 106"/>
                <a:gd name="T68" fmla="*/ 62 w 96"/>
                <a:gd name="T69" fmla="*/ 33 h 106"/>
                <a:gd name="T70" fmla="*/ 59 w 96"/>
                <a:gd name="T71" fmla="*/ 27 h 106"/>
                <a:gd name="T72" fmla="*/ 55 w 96"/>
                <a:gd name="T73" fmla="*/ 23 h 106"/>
                <a:gd name="T74" fmla="*/ 49 w 96"/>
                <a:gd name="T75" fmla="*/ 23 h 106"/>
                <a:gd name="T76" fmla="*/ 46 w 96"/>
                <a:gd name="T77" fmla="*/ 23 h 106"/>
                <a:gd name="T78" fmla="*/ 43 w 96"/>
                <a:gd name="T79" fmla="*/ 25 h 106"/>
                <a:gd name="T80" fmla="*/ 40 w 96"/>
                <a:gd name="T81" fmla="*/ 27 h 106"/>
                <a:gd name="T82" fmla="*/ 39 w 96"/>
                <a:gd name="T83" fmla="*/ 30 h 106"/>
                <a:gd name="T84" fmla="*/ 36 w 96"/>
                <a:gd name="T85" fmla="*/ 40 h 106"/>
                <a:gd name="T86" fmla="*/ 34 w 96"/>
                <a:gd name="T87" fmla="*/ 53 h 106"/>
                <a:gd name="T88" fmla="*/ 36 w 96"/>
                <a:gd name="T89" fmla="*/ 68 h 106"/>
                <a:gd name="T90" fmla="*/ 39 w 96"/>
                <a:gd name="T91" fmla="*/ 78 h 106"/>
                <a:gd name="T92" fmla="*/ 42 w 96"/>
                <a:gd name="T93" fmla="*/ 81 h 106"/>
                <a:gd name="T94" fmla="*/ 43 w 96"/>
                <a:gd name="T95" fmla="*/ 83 h 106"/>
                <a:gd name="T96" fmla="*/ 46 w 96"/>
                <a:gd name="T97" fmla="*/ 85 h 106"/>
                <a:gd name="T98" fmla="*/ 49 w 96"/>
                <a:gd name="T99" fmla="*/ 85 h 106"/>
                <a:gd name="T100" fmla="*/ 55 w 96"/>
                <a:gd name="T101" fmla="*/ 83 h 106"/>
                <a:gd name="T102" fmla="*/ 57 w 96"/>
                <a:gd name="T103" fmla="*/ 81 h 106"/>
                <a:gd name="T104" fmla="*/ 60 w 96"/>
                <a:gd name="T105" fmla="*/ 75 h 106"/>
                <a:gd name="T106" fmla="*/ 62 w 96"/>
                <a:gd name="T107" fmla="*/ 68 h 106"/>
                <a:gd name="T108" fmla="*/ 95 w 96"/>
                <a:gd name="T109" fmla="*/ 6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106">
                  <a:moveTo>
                    <a:pt x="95" y="68"/>
                  </a:moveTo>
                  <a:lnTo>
                    <a:pt x="93" y="76"/>
                  </a:lnTo>
                  <a:lnTo>
                    <a:pt x="91" y="85"/>
                  </a:lnTo>
                  <a:lnTo>
                    <a:pt x="86" y="91"/>
                  </a:lnTo>
                  <a:lnTo>
                    <a:pt x="80" y="96"/>
                  </a:lnTo>
                  <a:lnTo>
                    <a:pt x="75" y="101"/>
                  </a:lnTo>
                  <a:lnTo>
                    <a:pt x="68" y="105"/>
                  </a:lnTo>
                  <a:lnTo>
                    <a:pt x="59" y="106"/>
                  </a:lnTo>
                  <a:lnTo>
                    <a:pt x="49" y="106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2"/>
                  </a:lnTo>
                  <a:lnTo>
                    <a:pt x="7" y="85"/>
                  </a:lnTo>
                  <a:lnTo>
                    <a:pt x="4" y="76"/>
                  </a:lnTo>
                  <a:lnTo>
                    <a:pt x="1" y="65"/>
                  </a:lnTo>
                  <a:lnTo>
                    <a:pt x="0" y="53"/>
                  </a:lnTo>
                  <a:lnTo>
                    <a:pt x="1" y="42"/>
                  </a:lnTo>
                  <a:lnTo>
                    <a:pt x="4" y="32"/>
                  </a:lnTo>
                  <a:lnTo>
                    <a:pt x="8" y="23"/>
                  </a:lnTo>
                  <a:lnTo>
                    <a:pt x="14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49" y="0"/>
                  </a:lnTo>
                  <a:lnTo>
                    <a:pt x="59" y="2"/>
                  </a:lnTo>
                  <a:lnTo>
                    <a:pt x="68" y="3"/>
                  </a:lnTo>
                  <a:lnTo>
                    <a:pt x="76" y="6"/>
                  </a:lnTo>
                  <a:lnTo>
                    <a:pt x="82" y="12"/>
                  </a:lnTo>
                  <a:lnTo>
                    <a:pt x="88" y="17"/>
                  </a:lnTo>
                  <a:lnTo>
                    <a:pt x="92" y="25"/>
                  </a:lnTo>
                  <a:lnTo>
                    <a:pt x="95" y="32"/>
                  </a:lnTo>
                  <a:lnTo>
                    <a:pt x="96" y="42"/>
                  </a:lnTo>
                  <a:lnTo>
                    <a:pt x="63" y="42"/>
                  </a:lnTo>
                  <a:lnTo>
                    <a:pt x="62" y="33"/>
                  </a:lnTo>
                  <a:lnTo>
                    <a:pt x="59" y="27"/>
                  </a:lnTo>
                  <a:lnTo>
                    <a:pt x="55" y="23"/>
                  </a:lnTo>
                  <a:lnTo>
                    <a:pt x="49" y="23"/>
                  </a:lnTo>
                  <a:lnTo>
                    <a:pt x="46" y="23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9" y="30"/>
                  </a:lnTo>
                  <a:lnTo>
                    <a:pt x="36" y="40"/>
                  </a:lnTo>
                  <a:lnTo>
                    <a:pt x="34" y="53"/>
                  </a:lnTo>
                  <a:lnTo>
                    <a:pt x="36" y="68"/>
                  </a:lnTo>
                  <a:lnTo>
                    <a:pt x="39" y="78"/>
                  </a:lnTo>
                  <a:lnTo>
                    <a:pt x="42" y="81"/>
                  </a:lnTo>
                  <a:lnTo>
                    <a:pt x="43" y="83"/>
                  </a:lnTo>
                  <a:lnTo>
                    <a:pt x="46" y="85"/>
                  </a:lnTo>
                  <a:lnTo>
                    <a:pt x="49" y="85"/>
                  </a:lnTo>
                  <a:lnTo>
                    <a:pt x="55" y="83"/>
                  </a:lnTo>
                  <a:lnTo>
                    <a:pt x="57" y="81"/>
                  </a:lnTo>
                  <a:lnTo>
                    <a:pt x="60" y="75"/>
                  </a:lnTo>
                  <a:lnTo>
                    <a:pt x="62" y="68"/>
                  </a:lnTo>
                  <a:lnTo>
                    <a:pt x="95" y="68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5" name="Freeform 39">
              <a:extLst>
                <a:ext uri="{FF2B5EF4-FFF2-40B4-BE49-F238E27FC236}">
                  <a16:creationId xmlns:a16="http://schemas.microsoft.com/office/drawing/2014/main" id="{04B8DF3A-1E53-EDD6-C56C-320013E88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3825" y="4140200"/>
              <a:ext cx="49213" cy="55563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7 w 95"/>
                <a:gd name="T13" fmla="*/ 105 h 106"/>
                <a:gd name="T14" fmla="*/ 58 w 95"/>
                <a:gd name="T15" fmla="*/ 106 h 106"/>
                <a:gd name="T16" fmla="*/ 49 w 95"/>
                <a:gd name="T17" fmla="*/ 106 h 106"/>
                <a:gd name="T18" fmla="*/ 38 w 95"/>
                <a:gd name="T19" fmla="*/ 106 h 106"/>
                <a:gd name="T20" fmla="*/ 28 w 95"/>
                <a:gd name="T21" fmla="*/ 103 h 106"/>
                <a:gd name="T22" fmla="*/ 19 w 95"/>
                <a:gd name="T23" fmla="*/ 99 h 106"/>
                <a:gd name="T24" fmla="*/ 12 w 95"/>
                <a:gd name="T25" fmla="*/ 92 h 106"/>
                <a:gd name="T26" fmla="*/ 7 w 95"/>
                <a:gd name="T27" fmla="*/ 85 h 106"/>
                <a:gd name="T28" fmla="*/ 3 w 95"/>
                <a:gd name="T29" fmla="*/ 76 h 106"/>
                <a:gd name="T30" fmla="*/ 2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3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4 h 106"/>
                <a:gd name="T54" fmla="*/ 77 w 95"/>
                <a:gd name="T55" fmla="*/ 9 h 106"/>
                <a:gd name="T56" fmla="*/ 84 w 95"/>
                <a:gd name="T57" fmla="*/ 14 h 106"/>
                <a:gd name="T58" fmla="*/ 90 w 95"/>
                <a:gd name="T59" fmla="*/ 23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2 h 106"/>
                <a:gd name="T66" fmla="*/ 33 w 95"/>
                <a:gd name="T67" fmla="*/ 62 h 106"/>
                <a:gd name="T68" fmla="*/ 35 w 95"/>
                <a:gd name="T69" fmla="*/ 73 h 106"/>
                <a:gd name="T70" fmla="*/ 38 w 95"/>
                <a:gd name="T71" fmla="*/ 81 h 106"/>
                <a:gd name="T72" fmla="*/ 41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9 w 95"/>
                <a:gd name="T79" fmla="*/ 85 h 106"/>
                <a:gd name="T80" fmla="*/ 54 w 95"/>
                <a:gd name="T81" fmla="*/ 85 h 106"/>
                <a:gd name="T82" fmla="*/ 58 w 95"/>
                <a:gd name="T83" fmla="*/ 82 h 106"/>
                <a:gd name="T84" fmla="*/ 61 w 95"/>
                <a:gd name="T85" fmla="*/ 78 h 106"/>
                <a:gd name="T86" fmla="*/ 62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3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7" y="105"/>
                  </a:lnTo>
                  <a:lnTo>
                    <a:pt x="58" y="106"/>
                  </a:lnTo>
                  <a:lnTo>
                    <a:pt x="49" y="106"/>
                  </a:lnTo>
                  <a:lnTo>
                    <a:pt x="38" y="106"/>
                  </a:lnTo>
                  <a:lnTo>
                    <a:pt x="28" y="103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7" y="85"/>
                  </a:lnTo>
                  <a:lnTo>
                    <a:pt x="3" y="76"/>
                  </a:lnTo>
                  <a:lnTo>
                    <a:pt x="2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7" y="9"/>
                  </a:lnTo>
                  <a:lnTo>
                    <a:pt x="84" y="14"/>
                  </a:lnTo>
                  <a:lnTo>
                    <a:pt x="90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41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9" y="85"/>
                  </a:lnTo>
                  <a:lnTo>
                    <a:pt x="54" y="85"/>
                  </a:lnTo>
                  <a:lnTo>
                    <a:pt x="58" y="82"/>
                  </a:lnTo>
                  <a:lnTo>
                    <a:pt x="61" y="78"/>
                  </a:lnTo>
                  <a:lnTo>
                    <a:pt x="62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3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6" name="Rectangle 40">
              <a:extLst>
                <a:ext uri="{FF2B5EF4-FFF2-40B4-BE49-F238E27FC236}">
                  <a16:creationId xmlns:a16="http://schemas.microsoft.com/office/drawing/2014/main" id="{433E8C28-B494-4FD4-DC4E-DB804E53C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14150" y="4119563"/>
              <a:ext cx="17463" cy="74613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7" name="Freeform 41">
              <a:extLst>
                <a:ext uri="{FF2B5EF4-FFF2-40B4-BE49-F238E27FC236}">
                  <a16:creationId xmlns:a16="http://schemas.microsoft.com/office/drawing/2014/main" id="{C5831D8B-5C18-ABDA-57BF-B602EF6F3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41138" y="4119563"/>
              <a:ext cx="50800" cy="76200"/>
            </a:xfrm>
            <a:custGeom>
              <a:avLst/>
              <a:gdLst>
                <a:gd name="T0" fmla="*/ 61 w 95"/>
                <a:gd name="T1" fmla="*/ 135 h 146"/>
                <a:gd name="T2" fmla="*/ 46 w 95"/>
                <a:gd name="T3" fmla="*/ 143 h 146"/>
                <a:gd name="T4" fmla="*/ 31 w 95"/>
                <a:gd name="T5" fmla="*/ 146 h 146"/>
                <a:gd name="T6" fmla="*/ 18 w 95"/>
                <a:gd name="T7" fmla="*/ 145 h 146"/>
                <a:gd name="T8" fmla="*/ 8 w 95"/>
                <a:gd name="T9" fmla="*/ 139 h 146"/>
                <a:gd name="T10" fmla="*/ 2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2 w 95"/>
                <a:gd name="T17" fmla="*/ 96 h 146"/>
                <a:gd name="T18" fmla="*/ 28 w 95"/>
                <a:gd name="T19" fmla="*/ 89 h 146"/>
                <a:gd name="T20" fmla="*/ 49 w 95"/>
                <a:gd name="T21" fmla="*/ 86 h 146"/>
                <a:gd name="T22" fmla="*/ 61 w 95"/>
                <a:gd name="T23" fmla="*/ 86 h 146"/>
                <a:gd name="T24" fmla="*/ 59 w 95"/>
                <a:gd name="T25" fmla="*/ 70 h 146"/>
                <a:gd name="T26" fmla="*/ 54 w 95"/>
                <a:gd name="T27" fmla="*/ 63 h 146"/>
                <a:gd name="T28" fmla="*/ 42 w 95"/>
                <a:gd name="T29" fmla="*/ 63 h 146"/>
                <a:gd name="T30" fmla="*/ 36 w 95"/>
                <a:gd name="T31" fmla="*/ 70 h 146"/>
                <a:gd name="T32" fmla="*/ 2 w 95"/>
                <a:gd name="T33" fmla="*/ 77 h 146"/>
                <a:gd name="T34" fmla="*/ 6 w 95"/>
                <a:gd name="T35" fmla="*/ 60 h 146"/>
                <a:gd name="T36" fmla="*/ 16 w 95"/>
                <a:gd name="T37" fmla="*/ 49 h 146"/>
                <a:gd name="T38" fmla="*/ 31 w 95"/>
                <a:gd name="T39" fmla="*/ 43 h 146"/>
                <a:gd name="T40" fmla="*/ 48 w 95"/>
                <a:gd name="T41" fmla="*/ 40 h 146"/>
                <a:gd name="T42" fmla="*/ 64 w 95"/>
                <a:gd name="T43" fmla="*/ 42 h 146"/>
                <a:gd name="T44" fmla="*/ 80 w 95"/>
                <a:gd name="T45" fmla="*/ 47 h 146"/>
                <a:gd name="T46" fmla="*/ 91 w 95"/>
                <a:gd name="T47" fmla="*/ 57 h 146"/>
                <a:gd name="T48" fmla="*/ 95 w 95"/>
                <a:gd name="T49" fmla="*/ 73 h 146"/>
                <a:gd name="T50" fmla="*/ 61 w 95"/>
                <a:gd name="T51" fmla="*/ 143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1 w 95"/>
                <a:gd name="T59" fmla="*/ 103 h 146"/>
                <a:gd name="T60" fmla="*/ 51 w 95"/>
                <a:gd name="T61" fmla="*/ 103 h 146"/>
                <a:gd name="T62" fmla="*/ 39 w 95"/>
                <a:gd name="T63" fmla="*/ 105 h 146"/>
                <a:gd name="T64" fmla="*/ 36 w 95"/>
                <a:gd name="T65" fmla="*/ 109 h 146"/>
                <a:gd name="T66" fmla="*/ 33 w 95"/>
                <a:gd name="T67" fmla="*/ 115 h 146"/>
                <a:gd name="T68" fmla="*/ 38 w 95"/>
                <a:gd name="T69" fmla="*/ 122 h 146"/>
                <a:gd name="T70" fmla="*/ 46 w 95"/>
                <a:gd name="T71" fmla="*/ 125 h 146"/>
                <a:gd name="T72" fmla="*/ 61 w 95"/>
                <a:gd name="T73" fmla="*/ 1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1" y="143"/>
                  </a:moveTo>
                  <a:lnTo>
                    <a:pt x="61" y="135"/>
                  </a:lnTo>
                  <a:lnTo>
                    <a:pt x="54" y="141"/>
                  </a:lnTo>
                  <a:lnTo>
                    <a:pt x="46" y="143"/>
                  </a:lnTo>
                  <a:lnTo>
                    <a:pt x="38" y="146"/>
                  </a:lnTo>
                  <a:lnTo>
                    <a:pt x="31" y="146"/>
                  </a:lnTo>
                  <a:lnTo>
                    <a:pt x="23" y="146"/>
                  </a:lnTo>
                  <a:lnTo>
                    <a:pt x="18" y="145"/>
                  </a:lnTo>
                  <a:lnTo>
                    <a:pt x="12" y="142"/>
                  </a:lnTo>
                  <a:lnTo>
                    <a:pt x="8" y="139"/>
                  </a:lnTo>
                  <a:lnTo>
                    <a:pt x="5" y="135"/>
                  </a:lnTo>
                  <a:lnTo>
                    <a:pt x="2" y="131"/>
                  </a:lnTo>
                  <a:lnTo>
                    <a:pt x="0" y="125"/>
                  </a:lnTo>
                  <a:lnTo>
                    <a:pt x="0" y="119"/>
                  </a:lnTo>
                  <a:lnTo>
                    <a:pt x="0" y="112"/>
                  </a:lnTo>
                  <a:lnTo>
                    <a:pt x="3" y="106"/>
                  </a:lnTo>
                  <a:lnTo>
                    <a:pt x="6" y="100"/>
                  </a:lnTo>
                  <a:lnTo>
                    <a:pt x="12" y="96"/>
                  </a:lnTo>
                  <a:lnTo>
                    <a:pt x="19" y="92"/>
                  </a:lnTo>
                  <a:lnTo>
                    <a:pt x="28" y="89"/>
                  </a:lnTo>
                  <a:lnTo>
                    <a:pt x="38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1" y="86"/>
                  </a:lnTo>
                  <a:lnTo>
                    <a:pt x="61" y="77"/>
                  </a:lnTo>
                  <a:lnTo>
                    <a:pt x="59" y="70"/>
                  </a:lnTo>
                  <a:lnTo>
                    <a:pt x="58" y="66"/>
                  </a:lnTo>
                  <a:lnTo>
                    <a:pt x="54" y="63"/>
                  </a:lnTo>
                  <a:lnTo>
                    <a:pt x="48" y="63"/>
                  </a:lnTo>
                  <a:lnTo>
                    <a:pt x="42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5" y="77"/>
                  </a:lnTo>
                  <a:lnTo>
                    <a:pt x="2" y="77"/>
                  </a:lnTo>
                  <a:lnTo>
                    <a:pt x="3" y="69"/>
                  </a:lnTo>
                  <a:lnTo>
                    <a:pt x="6" y="60"/>
                  </a:lnTo>
                  <a:lnTo>
                    <a:pt x="10" y="54"/>
                  </a:lnTo>
                  <a:lnTo>
                    <a:pt x="16" y="49"/>
                  </a:lnTo>
                  <a:lnTo>
                    <a:pt x="23" y="46"/>
                  </a:lnTo>
                  <a:lnTo>
                    <a:pt x="31" y="43"/>
                  </a:lnTo>
                  <a:lnTo>
                    <a:pt x="39" y="42"/>
                  </a:lnTo>
                  <a:lnTo>
                    <a:pt x="48" y="40"/>
                  </a:lnTo>
                  <a:lnTo>
                    <a:pt x="56" y="42"/>
                  </a:lnTo>
                  <a:lnTo>
                    <a:pt x="64" y="42"/>
                  </a:lnTo>
                  <a:lnTo>
                    <a:pt x="72" y="44"/>
                  </a:lnTo>
                  <a:lnTo>
                    <a:pt x="80" y="47"/>
                  </a:lnTo>
                  <a:lnTo>
                    <a:pt x="85" y="52"/>
                  </a:lnTo>
                  <a:lnTo>
                    <a:pt x="91" y="57"/>
                  </a:lnTo>
                  <a:lnTo>
                    <a:pt x="94" y="65"/>
                  </a:lnTo>
                  <a:lnTo>
                    <a:pt x="95" y="73"/>
                  </a:lnTo>
                  <a:lnTo>
                    <a:pt x="95" y="143"/>
                  </a:lnTo>
                  <a:lnTo>
                    <a:pt x="61" y="143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5" y="0"/>
                  </a:lnTo>
                  <a:lnTo>
                    <a:pt x="85" y="0"/>
                  </a:lnTo>
                  <a:lnTo>
                    <a:pt x="52" y="31"/>
                  </a:lnTo>
                  <a:lnTo>
                    <a:pt x="26" y="31"/>
                  </a:lnTo>
                  <a:close/>
                  <a:moveTo>
                    <a:pt x="61" y="103"/>
                  </a:moveTo>
                  <a:lnTo>
                    <a:pt x="61" y="103"/>
                  </a:lnTo>
                  <a:lnTo>
                    <a:pt x="55" y="103"/>
                  </a:lnTo>
                  <a:lnTo>
                    <a:pt x="51" y="103"/>
                  </a:lnTo>
                  <a:lnTo>
                    <a:pt x="45" y="103"/>
                  </a:lnTo>
                  <a:lnTo>
                    <a:pt x="39" y="105"/>
                  </a:lnTo>
                  <a:lnTo>
                    <a:pt x="38" y="108"/>
                  </a:lnTo>
                  <a:lnTo>
                    <a:pt x="36" y="109"/>
                  </a:lnTo>
                  <a:lnTo>
                    <a:pt x="35" y="112"/>
                  </a:lnTo>
                  <a:lnTo>
                    <a:pt x="33" y="115"/>
                  </a:lnTo>
                  <a:lnTo>
                    <a:pt x="35" y="119"/>
                  </a:lnTo>
                  <a:lnTo>
                    <a:pt x="38" y="122"/>
                  </a:lnTo>
                  <a:lnTo>
                    <a:pt x="42" y="123"/>
                  </a:lnTo>
                  <a:lnTo>
                    <a:pt x="46" y="125"/>
                  </a:lnTo>
                  <a:lnTo>
                    <a:pt x="54" y="123"/>
                  </a:lnTo>
                  <a:lnTo>
                    <a:pt x="61" y="119"/>
                  </a:lnTo>
                  <a:lnTo>
                    <a:pt x="61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8" name="Freeform 42">
              <a:extLst>
                <a:ext uri="{FF2B5EF4-FFF2-40B4-BE49-F238E27FC236}">
                  <a16:creationId xmlns:a16="http://schemas.microsoft.com/office/drawing/2014/main" id="{B02AD946-8BE9-DC2D-3A34-6E91C6162B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01463" y="4119563"/>
              <a:ext cx="42863" cy="74613"/>
            </a:xfrm>
            <a:custGeom>
              <a:avLst/>
              <a:gdLst>
                <a:gd name="T0" fmla="*/ 24 w 80"/>
                <a:gd name="T1" fmla="*/ 31 h 143"/>
                <a:gd name="T2" fmla="*/ 0 w 80"/>
                <a:gd name="T3" fmla="*/ 0 h 143"/>
                <a:gd name="T4" fmla="*/ 27 w 80"/>
                <a:gd name="T5" fmla="*/ 0 h 143"/>
                <a:gd name="T6" fmla="*/ 40 w 80"/>
                <a:gd name="T7" fmla="*/ 11 h 143"/>
                <a:gd name="T8" fmla="*/ 53 w 80"/>
                <a:gd name="T9" fmla="*/ 0 h 143"/>
                <a:gd name="T10" fmla="*/ 80 w 80"/>
                <a:gd name="T11" fmla="*/ 0 h 143"/>
                <a:gd name="T12" fmla="*/ 54 w 80"/>
                <a:gd name="T13" fmla="*/ 31 h 143"/>
                <a:gd name="T14" fmla="*/ 24 w 80"/>
                <a:gd name="T15" fmla="*/ 31 h 143"/>
                <a:gd name="T16" fmla="*/ 5 w 80"/>
                <a:gd name="T17" fmla="*/ 143 h 143"/>
                <a:gd name="T18" fmla="*/ 5 w 80"/>
                <a:gd name="T19" fmla="*/ 143 h 143"/>
                <a:gd name="T20" fmla="*/ 5 w 80"/>
                <a:gd name="T21" fmla="*/ 43 h 143"/>
                <a:gd name="T22" fmla="*/ 40 w 80"/>
                <a:gd name="T23" fmla="*/ 43 h 143"/>
                <a:gd name="T24" fmla="*/ 40 w 80"/>
                <a:gd name="T25" fmla="*/ 63 h 143"/>
                <a:gd name="T26" fmla="*/ 46 w 80"/>
                <a:gd name="T27" fmla="*/ 53 h 143"/>
                <a:gd name="T28" fmla="*/ 51 w 80"/>
                <a:gd name="T29" fmla="*/ 46 h 143"/>
                <a:gd name="T30" fmla="*/ 59 w 80"/>
                <a:gd name="T31" fmla="*/ 42 h 143"/>
                <a:gd name="T32" fmla="*/ 66 w 80"/>
                <a:gd name="T33" fmla="*/ 40 h 143"/>
                <a:gd name="T34" fmla="*/ 73 w 80"/>
                <a:gd name="T35" fmla="*/ 42 h 143"/>
                <a:gd name="T36" fmla="*/ 79 w 80"/>
                <a:gd name="T37" fmla="*/ 44 h 143"/>
                <a:gd name="T38" fmla="*/ 79 w 80"/>
                <a:gd name="T39" fmla="*/ 75 h 143"/>
                <a:gd name="T40" fmla="*/ 72 w 80"/>
                <a:gd name="T41" fmla="*/ 72 h 143"/>
                <a:gd name="T42" fmla="*/ 63 w 80"/>
                <a:gd name="T43" fmla="*/ 72 h 143"/>
                <a:gd name="T44" fmla="*/ 56 w 80"/>
                <a:gd name="T45" fmla="*/ 72 h 143"/>
                <a:gd name="T46" fmla="*/ 50 w 80"/>
                <a:gd name="T47" fmla="*/ 75 h 143"/>
                <a:gd name="T48" fmla="*/ 44 w 80"/>
                <a:gd name="T49" fmla="*/ 77 h 143"/>
                <a:gd name="T50" fmla="*/ 40 w 80"/>
                <a:gd name="T51" fmla="*/ 82 h 143"/>
                <a:gd name="T52" fmla="*/ 40 w 80"/>
                <a:gd name="T53" fmla="*/ 143 h 143"/>
                <a:gd name="T54" fmla="*/ 5 w 80"/>
                <a:gd name="T5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3">
                  <a:moveTo>
                    <a:pt x="24" y="31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40" y="11"/>
                  </a:lnTo>
                  <a:lnTo>
                    <a:pt x="53" y="0"/>
                  </a:lnTo>
                  <a:lnTo>
                    <a:pt x="80" y="0"/>
                  </a:lnTo>
                  <a:lnTo>
                    <a:pt x="54" y="31"/>
                  </a:lnTo>
                  <a:lnTo>
                    <a:pt x="24" y="31"/>
                  </a:lnTo>
                  <a:close/>
                  <a:moveTo>
                    <a:pt x="5" y="143"/>
                  </a:moveTo>
                  <a:lnTo>
                    <a:pt x="5" y="143"/>
                  </a:lnTo>
                  <a:lnTo>
                    <a:pt x="5" y="43"/>
                  </a:lnTo>
                  <a:lnTo>
                    <a:pt x="40" y="43"/>
                  </a:lnTo>
                  <a:lnTo>
                    <a:pt x="40" y="63"/>
                  </a:lnTo>
                  <a:lnTo>
                    <a:pt x="46" y="53"/>
                  </a:lnTo>
                  <a:lnTo>
                    <a:pt x="51" y="46"/>
                  </a:lnTo>
                  <a:lnTo>
                    <a:pt x="59" y="42"/>
                  </a:lnTo>
                  <a:lnTo>
                    <a:pt x="66" y="40"/>
                  </a:lnTo>
                  <a:lnTo>
                    <a:pt x="73" y="42"/>
                  </a:lnTo>
                  <a:lnTo>
                    <a:pt x="79" y="44"/>
                  </a:lnTo>
                  <a:lnTo>
                    <a:pt x="79" y="75"/>
                  </a:lnTo>
                  <a:lnTo>
                    <a:pt x="72" y="72"/>
                  </a:lnTo>
                  <a:lnTo>
                    <a:pt x="63" y="72"/>
                  </a:lnTo>
                  <a:lnTo>
                    <a:pt x="56" y="72"/>
                  </a:lnTo>
                  <a:lnTo>
                    <a:pt x="50" y="75"/>
                  </a:lnTo>
                  <a:lnTo>
                    <a:pt x="44" y="77"/>
                  </a:lnTo>
                  <a:lnTo>
                    <a:pt x="40" y="82"/>
                  </a:lnTo>
                  <a:lnTo>
                    <a:pt x="40" y="143"/>
                  </a:lnTo>
                  <a:lnTo>
                    <a:pt x="5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9" name="Freeform 43">
              <a:extLst>
                <a:ext uri="{FF2B5EF4-FFF2-40B4-BE49-F238E27FC236}">
                  <a16:creationId xmlns:a16="http://schemas.microsoft.com/office/drawing/2014/main" id="{73D58EE5-3AB6-C2B0-57DC-DCF4C5496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5700" y="4241800"/>
              <a:ext cx="52388" cy="76200"/>
            </a:xfrm>
            <a:custGeom>
              <a:avLst/>
              <a:gdLst>
                <a:gd name="T0" fmla="*/ 0 w 99"/>
                <a:gd name="T1" fmla="*/ 144 h 144"/>
                <a:gd name="T2" fmla="*/ 0 w 99"/>
                <a:gd name="T3" fmla="*/ 3 h 144"/>
                <a:gd name="T4" fmla="*/ 34 w 99"/>
                <a:gd name="T5" fmla="*/ 3 h 144"/>
                <a:gd name="T6" fmla="*/ 34 w 99"/>
                <a:gd name="T7" fmla="*/ 13 h 144"/>
                <a:gd name="T8" fmla="*/ 40 w 99"/>
                <a:gd name="T9" fmla="*/ 7 h 144"/>
                <a:gd name="T10" fmla="*/ 47 w 99"/>
                <a:gd name="T11" fmla="*/ 4 h 144"/>
                <a:gd name="T12" fmla="*/ 53 w 99"/>
                <a:gd name="T13" fmla="*/ 2 h 144"/>
                <a:gd name="T14" fmla="*/ 61 w 99"/>
                <a:gd name="T15" fmla="*/ 0 h 144"/>
                <a:gd name="T16" fmla="*/ 70 w 99"/>
                <a:gd name="T17" fmla="*/ 2 h 144"/>
                <a:gd name="T18" fmla="*/ 77 w 99"/>
                <a:gd name="T19" fmla="*/ 4 h 144"/>
                <a:gd name="T20" fmla="*/ 85 w 99"/>
                <a:gd name="T21" fmla="*/ 10 h 144"/>
                <a:gd name="T22" fmla="*/ 89 w 99"/>
                <a:gd name="T23" fmla="*/ 16 h 144"/>
                <a:gd name="T24" fmla="*/ 93 w 99"/>
                <a:gd name="T25" fmla="*/ 24 h 144"/>
                <a:gd name="T26" fmla="*/ 96 w 99"/>
                <a:gd name="T27" fmla="*/ 33 h 144"/>
                <a:gd name="T28" fmla="*/ 97 w 99"/>
                <a:gd name="T29" fmla="*/ 43 h 144"/>
                <a:gd name="T30" fmla="*/ 99 w 99"/>
                <a:gd name="T31" fmla="*/ 55 h 144"/>
                <a:gd name="T32" fmla="*/ 97 w 99"/>
                <a:gd name="T33" fmla="*/ 65 h 144"/>
                <a:gd name="T34" fmla="*/ 96 w 99"/>
                <a:gd name="T35" fmla="*/ 75 h 144"/>
                <a:gd name="T36" fmla="*/ 92 w 99"/>
                <a:gd name="T37" fmla="*/ 83 h 144"/>
                <a:gd name="T38" fmla="*/ 87 w 99"/>
                <a:gd name="T39" fmla="*/ 92 h 144"/>
                <a:gd name="T40" fmla="*/ 82 w 99"/>
                <a:gd name="T41" fmla="*/ 98 h 144"/>
                <a:gd name="T42" fmla="*/ 74 w 99"/>
                <a:gd name="T43" fmla="*/ 103 h 144"/>
                <a:gd name="T44" fmla="*/ 67 w 99"/>
                <a:gd name="T45" fmla="*/ 106 h 144"/>
                <a:gd name="T46" fmla="*/ 59 w 99"/>
                <a:gd name="T47" fmla="*/ 108 h 144"/>
                <a:gd name="T48" fmla="*/ 51 w 99"/>
                <a:gd name="T49" fmla="*/ 106 h 144"/>
                <a:gd name="T50" fmla="*/ 46 w 99"/>
                <a:gd name="T51" fmla="*/ 105 h 144"/>
                <a:gd name="T52" fmla="*/ 40 w 99"/>
                <a:gd name="T53" fmla="*/ 101 h 144"/>
                <a:gd name="T54" fmla="*/ 34 w 99"/>
                <a:gd name="T55" fmla="*/ 95 h 144"/>
                <a:gd name="T56" fmla="*/ 34 w 99"/>
                <a:gd name="T57" fmla="*/ 144 h 144"/>
                <a:gd name="T58" fmla="*/ 0 w 99"/>
                <a:gd name="T59" fmla="*/ 144 h 144"/>
                <a:gd name="T60" fmla="*/ 34 w 99"/>
                <a:gd name="T61" fmla="*/ 30 h 144"/>
                <a:gd name="T62" fmla="*/ 34 w 99"/>
                <a:gd name="T63" fmla="*/ 30 h 144"/>
                <a:gd name="T64" fmla="*/ 34 w 99"/>
                <a:gd name="T65" fmla="*/ 78 h 144"/>
                <a:gd name="T66" fmla="*/ 40 w 99"/>
                <a:gd name="T67" fmla="*/ 82 h 144"/>
                <a:gd name="T68" fmla="*/ 47 w 99"/>
                <a:gd name="T69" fmla="*/ 83 h 144"/>
                <a:gd name="T70" fmla="*/ 51 w 99"/>
                <a:gd name="T71" fmla="*/ 83 h 144"/>
                <a:gd name="T72" fmla="*/ 54 w 99"/>
                <a:gd name="T73" fmla="*/ 81 h 144"/>
                <a:gd name="T74" fmla="*/ 57 w 99"/>
                <a:gd name="T75" fmla="*/ 79 h 144"/>
                <a:gd name="T76" fmla="*/ 60 w 99"/>
                <a:gd name="T77" fmla="*/ 75 h 144"/>
                <a:gd name="T78" fmla="*/ 63 w 99"/>
                <a:gd name="T79" fmla="*/ 66 h 144"/>
                <a:gd name="T80" fmla="*/ 64 w 99"/>
                <a:gd name="T81" fmla="*/ 55 h 144"/>
                <a:gd name="T82" fmla="*/ 63 w 99"/>
                <a:gd name="T83" fmla="*/ 42 h 144"/>
                <a:gd name="T84" fmla="*/ 60 w 99"/>
                <a:gd name="T85" fmla="*/ 33 h 144"/>
                <a:gd name="T86" fmla="*/ 59 w 99"/>
                <a:gd name="T87" fmla="*/ 29 h 144"/>
                <a:gd name="T88" fmla="*/ 56 w 99"/>
                <a:gd name="T89" fmla="*/ 27 h 144"/>
                <a:gd name="T90" fmla="*/ 51 w 99"/>
                <a:gd name="T91" fmla="*/ 26 h 144"/>
                <a:gd name="T92" fmla="*/ 47 w 99"/>
                <a:gd name="T93" fmla="*/ 24 h 144"/>
                <a:gd name="T94" fmla="*/ 41 w 99"/>
                <a:gd name="T95" fmla="*/ 26 h 144"/>
                <a:gd name="T96" fmla="*/ 34 w 99"/>
                <a:gd name="T9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9" h="144">
                  <a:moveTo>
                    <a:pt x="0" y="144"/>
                  </a:moveTo>
                  <a:lnTo>
                    <a:pt x="0" y="3"/>
                  </a:lnTo>
                  <a:lnTo>
                    <a:pt x="34" y="3"/>
                  </a:lnTo>
                  <a:lnTo>
                    <a:pt x="34" y="13"/>
                  </a:lnTo>
                  <a:lnTo>
                    <a:pt x="40" y="7"/>
                  </a:lnTo>
                  <a:lnTo>
                    <a:pt x="47" y="4"/>
                  </a:lnTo>
                  <a:lnTo>
                    <a:pt x="53" y="2"/>
                  </a:lnTo>
                  <a:lnTo>
                    <a:pt x="61" y="0"/>
                  </a:lnTo>
                  <a:lnTo>
                    <a:pt x="70" y="2"/>
                  </a:lnTo>
                  <a:lnTo>
                    <a:pt x="77" y="4"/>
                  </a:lnTo>
                  <a:lnTo>
                    <a:pt x="85" y="10"/>
                  </a:lnTo>
                  <a:lnTo>
                    <a:pt x="89" y="16"/>
                  </a:lnTo>
                  <a:lnTo>
                    <a:pt x="93" y="24"/>
                  </a:lnTo>
                  <a:lnTo>
                    <a:pt x="96" y="33"/>
                  </a:lnTo>
                  <a:lnTo>
                    <a:pt x="97" y="43"/>
                  </a:lnTo>
                  <a:lnTo>
                    <a:pt x="99" y="55"/>
                  </a:lnTo>
                  <a:lnTo>
                    <a:pt x="97" y="65"/>
                  </a:lnTo>
                  <a:lnTo>
                    <a:pt x="96" y="75"/>
                  </a:lnTo>
                  <a:lnTo>
                    <a:pt x="92" y="83"/>
                  </a:lnTo>
                  <a:lnTo>
                    <a:pt x="87" y="92"/>
                  </a:lnTo>
                  <a:lnTo>
                    <a:pt x="82" y="98"/>
                  </a:lnTo>
                  <a:lnTo>
                    <a:pt x="74" y="103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1" y="106"/>
                  </a:lnTo>
                  <a:lnTo>
                    <a:pt x="46" y="105"/>
                  </a:lnTo>
                  <a:lnTo>
                    <a:pt x="40" y="101"/>
                  </a:lnTo>
                  <a:lnTo>
                    <a:pt x="34" y="95"/>
                  </a:lnTo>
                  <a:lnTo>
                    <a:pt x="34" y="144"/>
                  </a:lnTo>
                  <a:lnTo>
                    <a:pt x="0" y="144"/>
                  </a:lnTo>
                  <a:close/>
                  <a:moveTo>
                    <a:pt x="34" y="30"/>
                  </a:moveTo>
                  <a:lnTo>
                    <a:pt x="34" y="30"/>
                  </a:lnTo>
                  <a:lnTo>
                    <a:pt x="34" y="78"/>
                  </a:lnTo>
                  <a:lnTo>
                    <a:pt x="40" y="82"/>
                  </a:lnTo>
                  <a:lnTo>
                    <a:pt x="47" y="83"/>
                  </a:lnTo>
                  <a:lnTo>
                    <a:pt x="51" y="83"/>
                  </a:lnTo>
                  <a:lnTo>
                    <a:pt x="54" y="81"/>
                  </a:lnTo>
                  <a:lnTo>
                    <a:pt x="57" y="79"/>
                  </a:lnTo>
                  <a:lnTo>
                    <a:pt x="60" y="75"/>
                  </a:lnTo>
                  <a:lnTo>
                    <a:pt x="63" y="66"/>
                  </a:lnTo>
                  <a:lnTo>
                    <a:pt x="64" y="55"/>
                  </a:lnTo>
                  <a:lnTo>
                    <a:pt x="63" y="42"/>
                  </a:lnTo>
                  <a:lnTo>
                    <a:pt x="60" y="33"/>
                  </a:lnTo>
                  <a:lnTo>
                    <a:pt x="59" y="29"/>
                  </a:lnTo>
                  <a:lnTo>
                    <a:pt x="56" y="27"/>
                  </a:lnTo>
                  <a:lnTo>
                    <a:pt x="51" y="26"/>
                  </a:lnTo>
                  <a:lnTo>
                    <a:pt x="47" y="24"/>
                  </a:lnTo>
                  <a:lnTo>
                    <a:pt x="41" y="26"/>
                  </a:lnTo>
                  <a:lnTo>
                    <a:pt x="34" y="3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0" name="Freeform 44">
              <a:extLst>
                <a:ext uri="{FF2B5EF4-FFF2-40B4-BE49-F238E27FC236}">
                  <a16:creationId xmlns:a16="http://schemas.microsoft.com/office/drawing/2014/main" id="{6E65873A-A751-B17D-85E4-A489C760E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4438" y="4241800"/>
              <a:ext cx="53975" cy="57150"/>
            </a:xfrm>
            <a:custGeom>
              <a:avLst/>
              <a:gdLst>
                <a:gd name="T0" fmla="*/ 0 w 101"/>
                <a:gd name="T1" fmla="*/ 55 h 108"/>
                <a:gd name="T2" fmla="*/ 0 w 101"/>
                <a:gd name="T3" fmla="*/ 42 h 108"/>
                <a:gd name="T4" fmla="*/ 3 w 101"/>
                <a:gd name="T5" fmla="*/ 32 h 108"/>
                <a:gd name="T6" fmla="*/ 8 w 101"/>
                <a:gd name="T7" fmla="*/ 23 h 108"/>
                <a:gd name="T8" fmla="*/ 13 w 101"/>
                <a:gd name="T9" fmla="*/ 14 h 108"/>
                <a:gd name="T10" fmla="*/ 20 w 101"/>
                <a:gd name="T11" fmla="*/ 9 h 108"/>
                <a:gd name="T12" fmla="*/ 29 w 101"/>
                <a:gd name="T13" fmla="*/ 4 h 108"/>
                <a:gd name="T14" fmla="*/ 39 w 101"/>
                <a:gd name="T15" fmla="*/ 2 h 108"/>
                <a:gd name="T16" fmla="*/ 51 w 101"/>
                <a:gd name="T17" fmla="*/ 0 h 108"/>
                <a:gd name="T18" fmla="*/ 62 w 101"/>
                <a:gd name="T19" fmla="*/ 2 h 108"/>
                <a:gd name="T20" fmla="*/ 71 w 101"/>
                <a:gd name="T21" fmla="*/ 4 h 108"/>
                <a:gd name="T22" fmla="*/ 80 w 101"/>
                <a:gd name="T23" fmla="*/ 9 h 108"/>
                <a:gd name="T24" fmla="*/ 87 w 101"/>
                <a:gd name="T25" fmla="*/ 14 h 108"/>
                <a:gd name="T26" fmla="*/ 92 w 101"/>
                <a:gd name="T27" fmla="*/ 23 h 108"/>
                <a:gd name="T28" fmla="*/ 97 w 101"/>
                <a:gd name="T29" fmla="*/ 32 h 108"/>
                <a:gd name="T30" fmla="*/ 100 w 101"/>
                <a:gd name="T31" fmla="*/ 42 h 108"/>
                <a:gd name="T32" fmla="*/ 101 w 101"/>
                <a:gd name="T33" fmla="*/ 55 h 108"/>
                <a:gd name="T34" fmla="*/ 100 w 101"/>
                <a:gd name="T35" fmla="*/ 66 h 108"/>
                <a:gd name="T36" fmla="*/ 97 w 101"/>
                <a:gd name="T37" fmla="*/ 76 h 108"/>
                <a:gd name="T38" fmla="*/ 92 w 101"/>
                <a:gd name="T39" fmla="*/ 85 h 108"/>
                <a:gd name="T40" fmla="*/ 87 w 101"/>
                <a:gd name="T41" fmla="*/ 93 h 108"/>
                <a:gd name="T42" fmla="*/ 80 w 101"/>
                <a:gd name="T43" fmla="*/ 99 h 108"/>
                <a:gd name="T44" fmla="*/ 71 w 101"/>
                <a:gd name="T45" fmla="*/ 103 h 108"/>
                <a:gd name="T46" fmla="*/ 62 w 101"/>
                <a:gd name="T47" fmla="*/ 106 h 108"/>
                <a:gd name="T48" fmla="*/ 51 w 101"/>
                <a:gd name="T49" fmla="*/ 108 h 108"/>
                <a:gd name="T50" fmla="*/ 39 w 101"/>
                <a:gd name="T51" fmla="*/ 106 h 108"/>
                <a:gd name="T52" fmla="*/ 29 w 101"/>
                <a:gd name="T53" fmla="*/ 103 h 108"/>
                <a:gd name="T54" fmla="*/ 20 w 101"/>
                <a:gd name="T55" fmla="*/ 99 h 108"/>
                <a:gd name="T56" fmla="*/ 13 w 101"/>
                <a:gd name="T57" fmla="*/ 93 h 108"/>
                <a:gd name="T58" fmla="*/ 8 w 101"/>
                <a:gd name="T59" fmla="*/ 85 h 108"/>
                <a:gd name="T60" fmla="*/ 3 w 101"/>
                <a:gd name="T61" fmla="*/ 76 h 108"/>
                <a:gd name="T62" fmla="*/ 0 w 101"/>
                <a:gd name="T63" fmla="*/ 66 h 108"/>
                <a:gd name="T64" fmla="*/ 0 w 101"/>
                <a:gd name="T65" fmla="*/ 55 h 108"/>
                <a:gd name="T66" fmla="*/ 67 w 101"/>
                <a:gd name="T67" fmla="*/ 55 h 108"/>
                <a:gd name="T68" fmla="*/ 67 w 101"/>
                <a:gd name="T69" fmla="*/ 55 h 108"/>
                <a:gd name="T70" fmla="*/ 65 w 101"/>
                <a:gd name="T71" fmla="*/ 40 h 108"/>
                <a:gd name="T72" fmla="*/ 62 w 101"/>
                <a:gd name="T73" fmla="*/ 30 h 108"/>
                <a:gd name="T74" fmla="*/ 61 w 101"/>
                <a:gd name="T75" fmla="*/ 27 h 108"/>
                <a:gd name="T76" fmla="*/ 58 w 101"/>
                <a:gd name="T77" fmla="*/ 24 h 108"/>
                <a:gd name="T78" fmla="*/ 54 w 101"/>
                <a:gd name="T79" fmla="*/ 23 h 108"/>
                <a:gd name="T80" fmla="*/ 51 w 101"/>
                <a:gd name="T81" fmla="*/ 23 h 108"/>
                <a:gd name="T82" fmla="*/ 46 w 101"/>
                <a:gd name="T83" fmla="*/ 23 h 108"/>
                <a:gd name="T84" fmla="*/ 44 w 101"/>
                <a:gd name="T85" fmla="*/ 24 h 108"/>
                <a:gd name="T86" fmla="*/ 41 w 101"/>
                <a:gd name="T87" fmla="*/ 27 h 108"/>
                <a:gd name="T88" fmla="*/ 38 w 101"/>
                <a:gd name="T89" fmla="*/ 30 h 108"/>
                <a:gd name="T90" fmla="*/ 35 w 101"/>
                <a:gd name="T91" fmla="*/ 40 h 108"/>
                <a:gd name="T92" fmla="*/ 35 w 101"/>
                <a:gd name="T93" fmla="*/ 55 h 108"/>
                <a:gd name="T94" fmla="*/ 35 w 101"/>
                <a:gd name="T95" fmla="*/ 68 h 108"/>
                <a:gd name="T96" fmla="*/ 38 w 101"/>
                <a:gd name="T97" fmla="*/ 78 h 108"/>
                <a:gd name="T98" fmla="*/ 41 w 101"/>
                <a:gd name="T99" fmla="*/ 81 h 108"/>
                <a:gd name="T100" fmla="*/ 44 w 101"/>
                <a:gd name="T101" fmla="*/ 83 h 108"/>
                <a:gd name="T102" fmla="*/ 46 w 101"/>
                <a:gd name="T103" fmla="*/ 85 h 108"/>
                <a:gd name="T104" fmla="*/ 51 w 101"/>
                <a:gd name="T105" fmla="*/ 85 h 108"/>
                <a:gd name="T106" fmla="*/ 54 w 101"/>
                <a:gd name="T107" fmla="*/ 85 h 108"/>
                <a:gd name="T108" fmla="*/ 58 w 101"/>
                <a:gd name="T109" fmla="*/ 83 h 108"/>
                <a:gd name="T110" fmla="*/ 61 w 101"/>
                <a:gd name="T111" fmla="*/ 81 h 108"/>
                <a:gd name="T112" fmla="*/ 62 w 101"/>
                <a:gd name="T113" fmla="*/ 78 h 108"/>
                <a:gd name="T114" fmla="*/ 65 w 101"/>
                <a:gd name="T115" fmla="*/ 68 h 108"/>
                <a:gd name="T116" fmla="*/ 67 w 101"/>
                <a:gd name="T117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108">
                  <a:moveTo>
                    <a:pt x="0" y="55"/>
                  </a:moveTo>
                  <a:lnTo>
                    <a:pt x="0" y="42"/>
                  </a:lnTo>
                  <a:lnTo>
                    <a:pt x="3" y="32"/>
                  </a:lnTo>
                  <a:lnTo>
                    <a:pt x="8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51" y="0"/>
                  </a:lnTo>
                  <a:lnTo>
                    <a:pt x="62" y="2"/>
                  </a:lnTo>
                  <a:lnTo>
                    <a:pt x="71" y="4"/>
                  </a:lnTo>
                  <a:lnTo>
                    <a:pt x="80" y="9"/>
                  </a:lnTo>
                  <a:lnTo>
                    <a:pt x="87" y="14"/>
                  </a:lnTo>
                  <a:lnTo>
                    <a:pt x="92" y="23"/>
                  </a:lnTo>
                  <a:lnTo>
                    <a:pt x="97" y="32"/>
                  </a:lnTo>
                  <a:lnTo>
                    <a:pt x="100" y="42"/>
                  </a:lnTo>
                  <a:lnTo>
                    <a:pt x="101" y="55"/>
                  </a:lnTo>
                  <a:lnTo>
                    <a:pt x="100" y="66"/>
                  </a:lnTo>
                  <a:lnTo>
                    <a:pt x="97" y="76"/>
                  </a:lnTo>
                  <a:lnTo>
                    <a:pt x="92" y="85"/>
                  </a:lnTo>
                  <a:lnTo>
                    <a:pt x="87" y="93"/>
                  </a:lnTo>
                  <a:lnTo>
                    <a:pt x="80" y="99"/>
                  </a:lnTo>
                  <a:lnTo>
                    <a:pt x="71" y="103"/>
                  </a:lnTo>
                  <a:lnTo>
                    <a:pt x="62" y="106"/>
                  </a:lnTo>
                  <a:lnTo>
                    <a:pt x="51" y="108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3"/>
                  </a:lnTo>
                  <a:lnTo>
                    <a:pt x="8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close/>
                  <a:moveTo>
                    <a:pt x="67" y="55"/>
                  </a:moveTo>
                  <a:lnTo>
                    <a:pt x="67" y="55"/>
                  </a:lnTo>
                  <a:lnTo>
                    <a:pt x="65" y="40"/>
                  </a:lnTo>
                  <a:lnTo>
                    <a:pt x="62" y="30"/>
                  </a:lnTo>
                  <a:lnTo>
                    <a:pt x="61" y="27"/>
                  </a:lnTo>
                  <a:lnTo>
                    <a:pt x="58" y="24"/>
                  </a:lnTo>
                  <a:lnTo>
                    <a:pt x="54" y="23"/>
                  </a:lnTo>
                  <a:lnTo>
                    <a:pt x="51" y="23"/>
                  </a:lnTo>
                  <a:lnTo>
                    <a:pt x="46" y="23"/>
                  </a:lnTo>
                  <a:lnTo>
                    <a:pt x="44" y="24"/>
                  </a:lnTo>
                  <a:lnTo>
                    <a:pt x="41" y="27"/>
                  </a:lnTo>
                  <a:lnTo>
                    <a:pt x="38" y="30"/>
                  </a:lnTo>
                  <a:lnTo>
                    <a:pt x="35" y="40"/>
                  </a:lnTo>
                  <a:lnTo>
                    <a:pt x="35" y="55"/>
                  </a:lnTo>
                  <a:lnTo>
                    <a:pt x="35" y="68"/>
                  </a:lnTo>
                  <a:lnTo>
                    <a:pt x="38" y="78"/>
                  </a:lnTo>
                  <a:lnTo>
                    <a:pt x="41" y="81"/>
                  </a:lnTo>
                  <a:lnTo>
                    <a:pt x="44" y="83"/>
                  </a:lnTo>
                  <a:lnTo>
                    <a:pt x="46" y="85"/>
                  </a:lnTo>
                  <a:lnTo>
                    <a:pt x="51" y="85"/>
                  </a:lnTo>
                  <a:lnTo>
                    <a:pt x="54" y="85"/>
                  </a:lnTo>
                  <a:lnTo>
                    <a:pt x="58" y="83"/>
                  </a:lnTo>
                  <a:lnTo>
                    <a:pt x="61" y="81"/>
                  </a:lnTo>
                  <a:lnTo>
                    <a:pt x="62" y="78"/>
                  </a:lnTo>
                  <a:lnTo>
                    <a:pt x="65" y="68"/>
                  </a:lnTo>
                  <a:lnTo>
                    <a:pt x="67" y="55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1" name="Freeform 45">
              <a:extLst>
                <a:ext uri="{FF2B5EF4-FFF2-40B4-BE49-F238E27FC236}">
                  <a16:creationId xmlns:a16="http://schemas.microsoft.com/office/drawing/2014/main" id="{AD622A93-5C56-DCB0-F52B-50BDAFE6A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5238" y="4217988"/>
              <a:ext cx="31750" cy="101600"/>
            </a:xfrm>
            <a:custGeom>
              <a:avLst/>
              <a:gdLst>
                <a:gd name="T0" fmla="*/ 23 w 61"/>
                <a:gd name="T1" fmla="*/ 46 h 190"/>
                <a:gd name="T2" fmla="*/ 58 w 61"/>
                <a:gd name="T3" fmla="*/ 46 h 190"/>
                <a:gd name="T4" fmla="*/ 58 w 61"/>
                <a:gd name="T5" fmla="*/ 154 h 190"/>
                <a:gd name="T6" fmla="*/ 58 w 61"/>
                <a:gd name="T7" fmla="*/ 162 h 190"/>
                <a:gd name="T8" fmla="*/ 55 w 61"/>
                <a:gd name="T9" fmla="*/ 169 h 190"/>
                <a:gd name="T10" fmla="*/ 52 w 61"/>
                <a:gd name="T11" fmla="*/ 177 h 190"/>
                <a:gd name="T12" fmla="*/ 48 w 61"/>
                <a:gd name="T13" fmla="*/ 181 h 190"/>
                <a:gd name="T14" fmla="*/ 42 w 61"/>
                <a:gd name="T15" fmla="*/ 185 h 190"/>
                <a:gd name="T16" fmla="*/ 35 w 61"/>
                <a:gd name="T17" fmla="*/ 188 h 190"/>
                <a:gd name="T18" fmla="*/ 28 w 61"/>
                <a:gd name="T19" fmla="*/ 190 h 190"/>
                <a:gd name="T20" fmla="*/ 19 w 61"/>
                <a:gd name="T21" fmla="*/ 190 h 190"/>
                <a:gd name="T22" fmla="*/ 9 w 61"/>
                <a:gd name="T23" fmla="*/ 190 h 190"/>
                <a:gd name="T24" fmla="*/ 0 w 61"/>
                <a:gd name="T25" fmla="*/ 187 h 190"/>
                <a:gd name="T26" fmla="*/ 0 w 61"/>
                <a:gd name="T27" fmla="*/ 167 h 190"/>
                <a:gd name="T28" fmla="*/ 6 w 61"/>
                <a:gd name="T29" fmla="*/ 167 h 190"/>
                <a:gd name="T30" fmla="*/ 12 w 61"/>
                <a:gd name="T31" fmla="*/ 168 h 190"/>
                <a:gd name="T32" fmla="*/ 16 w 61"/>
                <a:gd name="T33" fmla="*/ 167 h 190"/>
                <a:gd name="T34" fmla="*/ 19 w 61"/>
                <a:gd name="T35" fmla="*/ 165 h 190"/>
                <a:gd name="T36" fmla="*/ 23 w 61"/>
                <a:gd name="T37" fmla="*/ 161 h 190"/>
                <a:gd name="T38" fmla="*/ 23 w 61"/>
                <a:gd name="T39" fmla="*/ 154 h 190"/>
                <a:gd name="T40" fmla="*/ 23 w 61"/>
                <a:gd name="T41" fmla="*/ 46 h 190"/>
                <a:gd name="T42" fmla="*/ 41 w 61"/>
                <a:gd name="T43" fmla="*/ 39 h 190"/>
                <a:gd name="T44" fmla="*/ 41 w 61"/>
                <a:gd name="T45" fmla="*/ 39 h 190"/>
                <a:gd name="T46" fmla="*/ 36 w 61"/>
                <a:gd name="T47" fmla="*/ 39 h 190"/>
                <a:gd name="T48" fmla="*/ 33 w 61"/>
                <a:gd name="T49" fmla="*/ 37 h 190"/>
                <a:gd name="T50" fmla="*/ 31 w 61"/>
                <a:gd name="T51" fmla="*/ 36 h 190"/>
                <a:gd name="T52" fmla="*/ 28 w 61"/>
                <a:gd name="T53" fmla="*/ 33 h 190"/>
                <a:gd name="T54" fmla="*/ 25 w 61"/>
                <a:gd name="T55" fmla="*/ 30 h 190"/>
                <a:gd name="T56" fmla="*/ 23 w 61"/>
                <a:gd name="T57" fmla="*/ 27 h 190"/>
                <a:gd name="T58" fmla="*/ 22 w 61"/>
                <a:gd name="T59" fmla="*/ 23 h 190"/>
                <a:gd name="T60" fmla="*/ 22 w 61"/>
                <a:gd name="T61" fmla="*/ 20 h 190"/>
                <a:gd name="T62" fmla="*/ 22 w 61"/>
                <a:gd name="T63" fmla="*/ 16 h 190"/>
                <a:gd name="T64" fmla="*/ 23 w 61"/>
                <a:gd name="T65" fmla="*/ 11 h 190"/>
                <a:gd name="T66" fmla="*/ 25 w 61"/>
                <a:gd name="T67" fmla="*/ 9 h 190"/>
                <a:gd name="T68" fmla="*/ 28 w 61"/>
                <a:gd name="T69" fmla="*/ 6 h 190"/>
                <a:gd name="T70" fmla="*/ 31 w 61"/>
                <a:gd name="T71" fmla="*/ 4 h 190"/>
                <a:gd name="T72" fmla="*/ 33 w 61"/>
                <a:gd name="T73" fmla="*/ 1 h 190"/>
                <a:gd name="T74" fmla="*/ 36 w 61"/>
                <a:gd name="T75" fmla="*/ 1 h 190"/>
                <a:gd name="T76" fmla="*/ 41 w 61"/>
                <a:gd name="T77" fmla="*/ 0 h 190"/>
                <a:gd name="T78" fmla="*/ 45 w 61"/>
                <a:gd name="T79" fmla="*/ 1 h 190"/>
                <a:gd name="T80" fmla="*/ 49 w 61"/>
                <a:gd name="T81" fmla="*/ 1 h 190"/>
                <a:gd name="T82" fmla="*/ 52 w 61"/>
                <a:gd name="T83" fmla="*/ 4 h 190"/>
                <a:gd name="T84" fmla="*/ 55 w 61"/>
                <a:gd name="T85" fmla="*/ 6 h 190"/>
                <a:gd name="T86" fmla="*/ 58 w 61"/>
                <a:gd name="T87" fmla="*/ 9 h 190"/>
                <a:gd name="T88" fmla="*/ 59 w 61"/>
                <a:gd name="T89" fmla="*/ 11 h 190"/>
                <a:gd name="T90" fmla="*/ 59 w 61"/>
                <a:gd name="T91" fmla="*/ 16 h 190"/>
                <a:gd name="T92" fmla="*/ 61 w 61"/>
                <a:gd name="T93" fmla="*/ 20 h 190"/>
                <a:gd name="T94" fmla="*/ 59 w 61"/>
                <a:gd name="T95" fmla="*/ 23 h 190"/>
                <a:gd name="T96" fmla="*/ 59 w 61"/>
                <a:gd name="T97" fmla="*/ 27 h 190"/>
                <a:gd name="T98" fmla="*/ 58 w 61"/>
                <a:gd name="T99" fmla="*/ 30 h 190"/>
                <a:gd name="T100" fmla="*/ 55 w 61"/>
                <a:gd name="T101" fmla="*/ 33 h 190"/>
                <a:gd name="T102" fmla="*/ 52 w 61"/>
                <a:gd name="T103" fmla="*/ 36 h 190"/>
                <a:gd name="T104" fmla="*/ 49 w 61"/>
                <a:gd name="T105" fmla="*/ 37 h 190"/>
                <a:gd name="T106" fmla="*/ 45 w 61"/>
                <a:gd name="T107" fmla="*/ 39 h 190"/>
                <a:gd name="T108" fmla="*/ 41 w 61"/>
                <a:gd name="T109" fmla="*/ 3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1" h="190">
                  <a:moveTo>
                    <a:pt x="23" y="46"/>
                  </a:moveTo>
                  <a:lnTo>
                    <a:pt x="58" y="46"/>
                  </a:lnTo>
                  <a:lnTo>
                    <a:pt x="58" y="154"/>
                  </a:lnTo>
                  <a:lnTo>
                    <a:pt x="58" y="162"/>
                  </a:lnTo>
                  <a:lnTo>
                    <a:pt x="55" y="169"/>
                  </a:lnTo>
                  <a:lnTo>
                    <a:pt x="52" y="177"/>
                  </a:lnTo>
                  <a:lnTo>
                    <a:pt x="48" y="181"/>
                  </a:lnTo>
                  <a:lnTo>
                    <a:pt x="42" y="185"/>
                  </a:lnTo>
                  <a:lnTo>
                    <a:pt x="35" y="188"/>
                  </a:lnTo>
                  <a:lnTo>
                    <a:pt x="28" y="190"/>
                  </a:lnTo>
                  <a:lnTo>
                    <a:pt x="19" y="190"/>
                  </a:lnTo>
                  <a:lnTo>
                    <a:pt x="9" y="190"/>
                  </a:lnTo>
                  <a:lnTo>
                    <a:pt x="0" y="187"/>
                  </a:lnTo>
                  <a:lnTo>
                    <a:pt x="0" y="167"/>
                  </a:lnTo>
                  <a:lnTo>
                    <a:pt x="6" y="167"/>
                  </a:lnTo>
                  <a:lnTo>
                    <a:pt x="12" y="168"/>
                  </a:lnTo>
                  <a:lnTo>
                    <a:pt x="16" y="167"/>
                  </a:lnTo>
                  <a:lnTo>
                    <a:pt x="19" y="165"/>
                  </a:lnTo>
                  <a:lnTo>
                    <a:pt x="23" y="161"/>
                  </a:lnTo>
                  <a:lnTo>
                    <a:pt x="23" y="154"/>
                  </a:lnTo>
                  <a:lnTo>
                    <a:pt x="23" y="46"/>
                  </a:lnTo>
                  <a:close/>
                  <a:moveTo>
                    <a:pt x="41" y="39"/>
                  </a:moveTo>
                  <a:lnTo>
                    <a:pt x="41" y="39"/>
                  </a:lnTo>
                  <a:lnTo>
                    <a:pt x="36" y="39"/>
                  </a:lnTo>
                  <a:lnTo>
                    <a:pt x="33" y="37"/>
                  </a:lnTo>
                  <a:lnTo>
                    <a:pt x="31" y="36"/>
                  </a:lnTo>
                  <a:lnTo>
                    <a:pt x="28" y="33"/>
                  </a:lnTo>
                  <a:lnTo>
                    <a:pt x="25" y="30"/>
                  </a:lnTo>
                  <a:lnTo>
                    <a:pt x="23" y="27"/>
                  </a:lnTo>
                  <a:lnTo>
                    <a:pt x="22" y="23"/>
                  </a:lnTo>
                  <a:lnTo>
                    <a:pt x="22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1" y="4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41" y="0"/>
                  </a:lnTo>
                  <a:lnTo>
                    <a:pt x="45" y="1"/>
                  </a:lnTo>
                  <a:lnTo>
                    <a:pt x="49" y="1"/>
                  </a:lnTo>
                  <a:lnTo>
                    <a:pt x="52" y="4"/>
                  </a:lnTo>
                  <a:lnTo>
                    <a:pt x="55" y="6"/>
                  </a:lnTo>
                  <a:lnTo>
                    <a:pt x="58" y="9"/>
                  </a:lnTo>
                  <a:lnTo>
                    <a:pt x="59" y="11"/>
                  </a:lnTo>
                  <a:lnTo>
                    <a:pt x="59" y="16"/>
                  </a:lnTo>
                  <a:lnTo>
                    <a:pt x="61" y="20"/>
                  </a:lnTo>
                  <a:lnTo>
                    <a:pt x="59" y="23"/>
                  </a:lnTo>
                  <a:lnTo>
                    <a:pt x="59" y="27"/>
                  </a:lnTo>
                  <a:lnTo>
                    <a:pt x="58" y="30"/>
                  </a:lnTo>
                  <a:lnTo>
                    <a:pt x="55" y="33"/>
                  </a:lnTo>
                  <a:lnTo>
                    <a:pt x="52" y="36"/>
                  </a:lnTo>
                  <a:lnTo>
                    <a:pt x="49" y="37"/>
                  </a:lnTo>
                  <a:lnTo>
                    <a:pt x="45" y="39"/>
                  </a:lnTo>
                  <a:lnTo>
                    <a:pt x="41" y="39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2" name="Freeform 46">
              <a:extLst>
                <a:ext uri="{FF2B5EF4-FFF2-40B4-BE49-F238E27FC236}">
                  <a16:creationId xmlns:a16="http://schemas.microsoft.com/office/drawing/2014/main" id="{199E4431-D202-D06F-D396-487114F0F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8100" y="4217988"/>
              <a:ext cx="19050" cy="79375"/>
            </a:xfrm>
            <a:custGeom>
              <a:avLst/>
              <a:gdLst>
                <a:gd name="T0" fmla="*/ 18 w 38"/>
                <a:gd name="T1" fmla="*/ 39 h 148"/>
                <a:gd name="T2" fmla="*/ 15 w 38"/>
                <a:gd name="T3" fmla="*/ 39 h 148"/>
                <a:gd name="T4" fmla="*/ 11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2 w 38"/>
                <a:gd name="T11" fmla="*/ 30 h 148"/>
                <a:gd name="T12" fmla="*/ 1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1 w 38"/>
                <a:gd name="T21" fmla="*/ 11 h 148"/>
                <a:gd name="T22" fmla="*/ 2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1 w 38"/>
                <a:gd name="T29" fmla="*/ 1 h 148"/>
                <a:gd name="T30" fmla="*/ 15 w 38"/>
                <a:gd name="T31" fmla="*/ 1 h 148"/>
                <a:gd name="T32" fmla="*/ 18 w 38"/>
                <a:gd name="T33" fmla="*/ 0 h 148"/>
                <a:gd name="T34" fmla="*/ 23 w 38"/>
                <a:gd name="T35" fmla="*/ 1 h 148"/>
                <a:gd name="T36" fmla="*/ 27 w 38"/>
                <a:gd name="T37" fmla="*/ 1 h 148"/>
                <a:gd name="T38" fmla="*/ 30 w 38"/>
                <a:gd name="T39" fmla="*/ 4 h 148"/>
                <a:gd name="T40" fmla="*/ 33 w 38"/>
                <a:gd name="T41" fmla="*/ 6 h 148"/>
                <a:gd name="T42" fmla="*/ 36 w 38"/>
                <a:gd name="T43" fmla="*/ 9 h 148"/>
                <a:gd name="T44" fmla="*/ 37 w 38"/>
                <a:gd name="T45" fmla="*/ 11 h 148"/>
                <a:gd name="T46" fmla="*/ 37 w 38"/>
                <a:gd name="T47" fmla="*/ 16 h 148"/>
                <a:gd name="T48" fmla="*/ 38 w 38"/>
                <a:gd name="T49" fmla="*/ 20 h 148"/>
                <a:gd name="T50" fmla="*/ 37 w 38"/>
                <a:gd name="T51" fmla="*/ 23 h 148"/>
                <a:gd name="T52" fmla="*/ 37 w 38"/>
                <a:gd name="T53" fmla="*/ 27 h 148"/>
                <a:gd name="T54" fmla="*/ 36 w 38"/>
                <a:gd name="T55" fmla="*/ 30 h 148"/>
                <a:gd name="T56" fmla="*/ 33 w 38"/>
                <a:gd name="T57" fmla="*/ 33 h 148"/>
                <a:gd name="T58" fmla="*/ 30 w 38"/>
                <a:gd name="T59" fmla="*/ 36 h 148"/>
                <a:gd name="T60" fmla="*/ 27 w 38"/>
                <a:gd name="T61" fmla="*/ 37 h 148"/>
                <a:gd name="T62" fmla="*/ 23 w 38"/>
                <a:gd name="T63" fmla="*/ 39 h 148"/>
                <a:gd name="T64" fmla="*/ 18 w 38"/>
                <a:gd name="T65" fmla="*/ 39 h 148"/>
                <a:gd name="T66" fmla="*/ 1 w 38"/>
                <a:gd name="T67" fmla="*/ 46 h 148"/>
                <a:gd name="T68" fmla="*/ 1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1 w 38"/>
                <a:gd name="T75" fmla="*/ 148 h 148"/>
                <a:gd name="T76" fmla="*/ 1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8" y="39"/>
                  </a:moveTo>
                  <a:lnTo>
                    <a:pt x="15" y="39"/>
                  </a:lnTo>
                  <a:lnTo>
                    <a:pt x="11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2" y="30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2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1" y="1"/>
                  </a:lnTo>
                  <a:lnTo>
                    <a:pt x="15" y="1"/>
                  </a:lnTo>
                  <a:lnTo>
                    <a:pt x="18" y="0"/>
                  </a:lnTo>
                  <a:lnTo>
                    <a:pt x="23" y="1"/>
                  </a:lnTo>
                  <a:lnTo>
                    <a:pt x="27" y="1"/>
                  </a:lnTo>
                  <a:lnTo>
                    <a:pt x="30" y="4"/>
                  </a:lnTo>
                  <a:lnTo>
                    <a:pt x="33" y="6"/>
                  </a:lnTo>
                  <a:lnTo>
                    <a:pt x="36" y="9"/>
                  </a:lnTo>
                  <a:lnTo>
                    <a:pt x="37" y="11"/>
                  </a:lnTo>
                  <a:lnTo>
                    <a:pt x="37" y="16"/>
                  </a:lnTo>
                  <a:lnTo>
                    <a:pt x="38" y="20"/>
                  </a:lnTo>
                  <a:lnTo>
                    <a:pt x="37" y="23"/>
                  </a:lnTo>
                  <a:lnTo>
                    <a:pt x="37" y="27"/>
                  </a:lnTo>
                  <a:lnTo>
                    <a:pt x="36" y="30"/>
                  </a:lnTo>
                  <a:lnTo>
                    <a:pt x="33" y="33"/>
                  </a:lnTo>
                  <a:lnTo>
                    <a:pt x="30" y="36"/>
                  </a:lnTo>
                  <a:lnTo>
                    <a:pt x="27" y="37"/>
                  </a:lnTo>
                  <a:lnTo>
                    <a:pt x="23" y="39"/>
                  </a:lnTo>
                  <a:lnTo>
                    <a:pt x="18" y="39"/>
                  </a:lnTo>
                  <a:close/>
                  <a:moveTo>
                    <a:pt x="1" y="46"/>
                  </a:moveTo>
                  <a:lnTo>
                    <a:pt x="1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1" y="148"/>
                  </a:lnTo>
                  <a:lnTo>
                    <a:pt x="1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3" name="Freeform 47">
              <a:extLst>
                <a:ext uri="{FF2B5EF4-FFF2-40B4-BE49-F238E27FC236}">
                  <a16:creationId xmlns:a16="http://schemas.microsoft.com/office/drawing/2014/main" id="{1A5925DE-FDE8-08EA-BBF1-0D8C7E25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241800"/>
              <a:ext cx="47625" cy="57150"/>
            </a:xfrm>
            <a:custGeom>
              <a:avLst/>
              <a:gdLst>
                <a:gd name="T0" fmla="*/ 54 w 90"/>
                <a:gd name="T1" fmla="*/ 27 h 108"/>
                <a:gd name="T2" fmla="*/ 46 w 90"/>
                <a:gd name="T3" fmla="*/ 22 h 108"/>
                <a:gd name="T4" fmla="*/ 38 w 90"/>
                <a:gd name="T5" fmla="*/ 22 h 108"/>
                <a:gd name="T6" fmla="*/ 32 w 90"/>
                <a:gd name="T7" fmla="*/ 26 h 108"/>
                <a:gd name="T8" fmla="*/ 31 w 90"/>
                <a:gd name="T9" fmla="*/ 33 h 108"/>
                <a:gd name="T10" fmla="*/ 33 w 90"/>
                <a:gd name="T11" fmla="*/ 36 h 108"/>
                <a:gd name="T12" fmla="*/ 42 w 90"/>
                <a:gd name="T13" fmla="*/ 39 h 108"/>
                <a:gd name="T14" fmla="*/ 65 w 90"/>
                <a:gd name="T15" fmla="*/ 43 h 108"/>
                <a:gd name="T16" fmla="*/ 82 w 90"/>
                <a:gd name="T17" fmla="*/ 52 h 108"/>
                <a:gd name="T18" fmla="*/ 88 w 90"/>
                <a:gd name="T19" fmla="*/ 65 h 108"/>
                <a:gd name="T20" fmla="*/ 88 w 90"/>
                <a:gd name="T21" fmla="*/ 81 h 108"/>
                <a:gd name="T22" fmla="*/ 82 w 90"/>
                <a:gd name="T23" fmla="*/ 93 h 108"/>
                <a:gd name="T24" fmla="*/ 71 w 90"/>
                <a:gd name="T25" fmla="*/ 102 h 108"/>
                <a:gd name="T26" fmla="*/ 55 w 90"/>
                <a:gd name="T27" fmla="*/ 106 h 108"/>
                <a:gd name="T28" fmla="*/ 36 w 90"/>
                <a:gd name="T29" fmla="*/ 106 h 108"/>
                <a:gd name="T30" fmla="*/ 19 w 90"/>
                <a:gd name="T31" fmla="*/ 102 h 108"/>
                <a:gd name="T32" fmla="*/ 7 w 90"/>
                <a:gd name="T33" fmla="*/ 93 h 108"/>
                <a:gd name="T34" fmla="*/ 2 w 90"/>
                <a:gd name="T35" fmla="*/ 82 h 108"/>
                <a:gd name="T36" fmla="*/ 32 w 90"/>
                <a:gd name="T37" fmla="*/ 73 h 108"/>
                <a:gd name="T38" fmla="*/ 36 w 90"/>
                <a:gd name="T39" fmla="*/ 83 h 108"/>
                <a:gd name="T40" fmla="*/ 46 w 90"/>
                <a:gd name="T41" fmla="*/ 86 h 108"/>
                <a:gd name="T42" fmla="*/ 55 w 90"/>
                <a:gd name="T43" fmla="*/ 85 h 108"/>
                <a:gd name="T44" fmla="*/ 59 w 90"/>
                <a:gd name="T45" fmla="*/ 78 h 108"/>
                <a:gd name="T46" fmla="*/ 58 w 90"/>
                <a:gd name="T47" fmla="*/ 73 h 108"/>
                <a:gd name="T48" fmla="*/ 54 w 90"/>
                <a:gd name="T49" fmla="*/ 70 h 108"/>
                <a:gd name="T50" fmla="*/ 38 w 90"/>
                <a:gd name="T51" fmla="*/ 66 h 108"/>
                <a:gd name="T52" fmla="*/ 12 w 90"/>
                <a:gd name="T53" fmla="*/ 58 h 108"/>
                <a:gd name="T54" fmla="*/ 3 w 90"/>
                <a:gd name="T55" fmla="*/ 49 h 108"/>
                <a:gd name="T56" fmla="*/ 0 w 90"/>
                <a:gd name="T57" fmla="*/ 35 h 108"/>
                <a:gd name="T58" fmla="*/ 3 w 90"/>
                <a:gd name="T59" fmla="*/ 20 h 108"/>
                <a:gd name="T60" fmla="*/ 13 w 90"/>
                <a:gd name="T61" fmla="*/ 9 h 108"/>
                <a:gd name="T62" fmla="*/ 26 w 90"/>
                <a:gd name="T63" fmla="*/ 3 h 108"/>
                <a:gd name="T64" fmla="*/ 42 w 90"/>
                <a:gd name="T65" fmla="*/ 0 h 108"/>
                <a:gd name="T66" fmla="*/ 61 w 90"/>
                <a:gd name="T67" fmla="*/ 3 h 108"/>
                <a:gd name="T68" fmla="*/ 75 w 90"/>
                <a:gd name="T69" fmla="*/ 9 h 108"/>
                <a:gd name="T70" fmla="*/ 84 w 90"/>
                <a:gd name="T71" fmla="*/ 19 h 108"/>
                <a:gd name="T72" fmla="*/ 87 w 90"/>
                <a:gd name="T73" fmla="*/ 3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8">
                  <a:moveTo>
                    <a:pt x="54" y="33"/>
                  </a:moveTo>
                  <a:lnTo>
                    <a:pt x="54" y="27"/>
                  </a:lnTo>
                  <a:lnTo>
                    <a:pt x="51" y="24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3" y="23"/>
                  </a:lnTo>
                  <a:lnTo>
                    <a:pt x="32" y="26"/>
                  </a:lnTo>
                  <a:lnTo>
                    <a:pt x="31" y="30"/>
                  </a:lnTo>
                  <a:lnTo>
                    <a:pt x="31" y="33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2" y="39"/>
                  </a:lnTo>
                  <a:lnTo>
                    <a:pt x="52" y="40"/>
                  </a:lnTo>
                  <a:lnTo>
                    <a:pt x="65" y="43"/>
                  </a:lnTo>
                  <a:lnTo>
                    <a:pt x="77" y="49"/>
                  </a:lnTo>
                  <a:lnTo>
                    <a:pt x="82" y="52"/>
                  </a:lnTo>
                  <a:lnTo>
                    <a:pt x="85" y="58"/>
                  </a:lnTo>
                  <a:lnTo>
                    <a:pt x="88" y="65"/>
                  </a:lnTo>
                  <a:lnTo>
                    <a:pt x="90" y="72"/>
                  </a:lnTo>
                  <a:lnTo>
                    <a:pt x="88" y="81"/>
                  </a:lnTo>
                  <a:lnTo>
                    <a:pt x="85" y="88"/>
                  </a:lnTo>
                  <a:lnTo>
                    <a:pt x="82" y="93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8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19" y="102"/>
                  </a:lnTo>
                  <a:lnTo>
                    <a:pt x="13" y="99"/>
                  </a:lnTo>
                  <a:lnTo>
                    <a:pt x="7" y="93"/>
                  </a:lnTo>
                  <a:lnTo>
                    <a:pt x="3" y="88"/>
                  </a:lnTo>
                  <a:lnTo>
                    <a:pt x="2" y="82"/>
                  </a:lnTo>
                  <a:lnTo>
                    <a:pt x="0" y="73"/>
                  </a:lnTo>
                  <a:lnTo>
                    <a:pt x="32" y="73"/>
                  </a:lnTo>
                  <a:lnTo>
                    <a:pt x="33" y="79"/>
                  </a:lnTo>
                  <a:lnTo>
                    <a:pt x="36" y="83"/>
                  </a:lnTo>
                  <a:lnTo>
                    <a:pt x="41" y="86"/>
                  </a:lnTo>
                  <a:lnTo>
                    <a:pt x="46" y="86"/>
                  </a:lnTo>
                  <a:lnTo>
                    <a:pt x="51" y="86"/>
                  </a:lnTo>
                  <a:lnTo>
                    <a:pt x="55" y="85"/>
                  </a:lnTo>
                  <a:lnTo>
                    <a:pt x="58" y="82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58" y="73"/>
                  </a:lnTo>
                  <a:lnTo>
                    <a:pt x="55" y="72"/>
                  </a:lnTo>
                  <a:lnTo>
                    <a:pt x="54" y="70"/>
                  </a:lnTo>
                  <a:lnTo>
                    <a:pt x="46" y="69"/>
                  </a:lnTo>
                  <a:lnTo>
                    <a:pt x="38" y="66"/>
                  </a:lnTo>
                  <a:lnTo>
                    <a:pt x="23" y="63"/>
                  </a:lnTo>
                  <a:lnTo>
                    <a:pt x="12" y="58"/>
                  </a:lnTo>
                  <a:lnTo>
                    <a:pt x="7" y="55"/>
                  </a:lnTo>
                  <a:lnTo>
                    <a:pt x="3" y="49"/>
                  </a:lnTo>
                  <a:lnTo>
                    <a:pt x="2" y="42"/>
                  </a:lnTo>
                  <a:lnTo>
                    <a:pt x="0" y="35"/>
                  </a:lnTo>
                  <a:lnTo>
                    <a:pt x="2" y="26"/>
                  </a:lnTo>
                  <a:lnTo>
                    <a:pt x="3" y="20"/>
                  </a:lnTo>
                  <a:lnTo>
                    <a:pt x="7" y="14"/>
                  </a:lnTo>
                  <a:lnTo>
                    <a:pt x="13" y="9"/>
                  </a:lnTo>
                  <a:lnTo>
                    <a:pt x="19" y="6"/>
                  </a:lnTo>
                  <a:lnTo>
                    <a:pt x="26" y="3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52" y="2"/>
                  </a:lnTo>
                  <a:lnTo>
                    <a:pt x="61" y="3"/>
                  </a:lnTo>
                  <a:lnTo>
                    <a:pt x="69" y="6"/>
                  </a:lnTo>
                  <a:lnTo>
                    <a:pt x="75" y="9"/>
                  </a:lnTo>
                  <a:lnTo>
                    <a:pt x="79" y="13"/>
                  </a:lnTo>
                  <a:lnTo>
                    <a:pt x="84" y="19"/>
                  </a:lnTo>
                  <a:lnTo>
                    <a:pt x="85" y="24"/>
                  </a:lnTo>
                  <a:lnTo>
                    <a:pt x="87" y="33"/>
                  </a:lnTo>
                  <a:lnTo>
                    <a:pt x="54" y="3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4" name="Freeform 48">
              <a:extLst>
                <a:ext uri="{FF2B5EF4-FFF2-40B4-BE49-F238E27FC236}">
                  <a16:creationId xmlns:a16="http://schemas.microsoft.com/office/drawing/2014/main" id="{DBD6A5AD-6AE9-615E-3D49-0200B77EF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9063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1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5 w 73"/>
                <a:gd name="T35" fmla="*/ 103 h 129"/>
                <a:gd name="T36" fmla="*/ 15 w 73"/>
                <a:gd name="T37" fmla="*/ 94 h 129"/>
                <a:gd name="T38" fmla="*/ 15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5 w 73"/>
                <a:gd name="T45" fmla="*/ 24 h 129"/>
                <a:gd name="T46" fmla="*/ 15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1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5" y="103"/>
                  </a:lnTo>
                  <a:lnTo>
                    <a:pt x="15" y="94"/>
                  </a:lnTo>
                  <a:lnTo>
                    <a:pt x="15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5" y="24"/>
                  </a:lnTo>
                  <a:lnTo>
                    <a:pt x="15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5" name="Freeform 49">
              <a:extLst>
                <a:ext uri="{FF2B5EF4-FFF2-40B4-BE49-F238E27FC236}">
                  <a16:creationId xmlns:a16="http://schemas.microsoft.com/office/drawing/2014/main" id="{C78B869B-8E42-E8D2-8D6A-F7769B84E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96688" y="4217988"/>
              <a:ext cx="20638" cy="79375"/>
            </a:xfrm>
            <a:custGeom>
              <a:avLst/>
              <a:gdLst>
                <a:gd name="T0" fmla="*/ 19 w 38"/>
                <a:gd name="T1" fmla="*/ 39 h 148"/>
                <a:gd name="T2" fmla="*/ 15 w 38"/>
                <a:gd name="T3" fmla="*/ 39 h 148"/>
                <a:gd name="T4" fmla="*/ 10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3 w 38"/>
                <a:gd name="T11" fmla="*/ 30 h 148"/>
                <a:gd name="T12" fmla="*/ 0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0 w 38"/>
                <a:gd name="T21" fmla="*/ 11 h 148"/>
                <a:gd name="T22" fmla="*/ 3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0 w 38"/>
                <a:gd name="T29" fmla="*/ 1 h 148"/>
                <a:gd name="T30" fmla="*/ 15 w 38"/>
                <a:gd name="T31" fmla="*/ 1 h 148"/>
                <a:gd name="T32" fmla="*/ 19 w 38"/>
                <a:gd name="T33" fmla="*/ 0 h 148"/>
                <a:gd name="T34" fmla="*/ 23 w 38"/>
                <a:gd name="T35" fmla="*/ 1 h 148"/>
                <a:gd name="T36" fmla="*/ 26 w 38"/>
                <a:gd name="T37" fmla="*/ 1 h 148"/>
                <a:gd name="T38" fmla="*/ 31 w 38"/>
                <a:gd name="T39" fmla="*/ 4 h 148"/>
                <a:gd name="T40" fmla="*/ 32 w 38"/>
                <a:gd name="T41" fmla="*/ 6 h 148"/>
                <a:gd name="T42" fmla="*/ 35 w 38"/>
                <a:gd name="T43" fmla="*/ 9 h 148"/>
                <a:gd name="T44" fmla="*/ 36 w 38"/>
                <a:gd name="T45" fmla="*/ 11 h 148"/>
                <a:gd name="T46" fmla="*/ 38 w 38"/>
                <a:gd name="T47" fmla="*/ 16 h 148"/>
                <a:gd name="T48" fmla="*/ 38 w 38"/>
                <a:gd name="T49" fmla="*/ 20 h 148"/>
                <a:gd name="T50" fmla="*/ 38 w 38"/>
                <a:gd name="T51" fmla="*/ 23 h 148"/>
                <a:gd name="T52" fmla="*/ 36 w 38"/>
                <a:gd name="T53" fmla="*/ 27 h 148"/>
                <a:gd name="T54" fmla="*/ 35 w 38"/>
                <a:gd name="T55" fmla="*/ 30 h 148"/>
                <a:gd name="T56" fmla="*/ 32 w 38"/>
                <a:gd name="T57" fmla="*/ 33 h 148"/>
                <a:gd name="T58" fmla="*/ 31 w 38"/>
                <a:gd name="T59" fmla="*/ 36 h 148"/>
                <a:gd name="T60" fmla="*/ 26 w 38"/>
                <a:gd name="T61" fmla="*/ 37 h 148"/>
                <a:gd name="T62" fmla="*/ 23 w 38"/>
                <a:gd name="T63" fmla="*/ 39 h 148"/>
                <a:gd name="T64" fmla="*/ 19 w 38"/>
                <a:gd name="T65" fmla="*/ 39 h 148"/>
                <a:gd name="T66" fmla="*/ 2 w 38"/>
                <a:gd name="T67" fmla="*/ 46 h 148"/>
                <a:gd name="T68" fmla="*/ 2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2 w 38"/>
                <a:gd name="T75" fmla="*/ 148 h 148"/>
                <a:gd name="T76" fmla="*/ 2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9" y="39"/>
                  </a:moveTo>
                  <a:lnTo>
                    <a:pt x="15" y="39"/>
                  </a:lnTo>
                  <a:lnTo>
                    <a:pt x="10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3" y="30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3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0" y="1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1"/>
                  </a:lnTo>
                  <a:lnTo>
                    <a:pt x="26" y="1"/>
                  </a:lnTo>
                  <a:lnTo>
                    <a:pt x="31" y="4"/>
                  </a:lnTo>
                  <a:lnTo>
                    <a:pt x="32" y="6"/>
                  </a:lnTo>
                  <a:lnTo>
                    <a:pt x="35" y="9"/>
                  </a:lnTo>
                  <a:lnTo>
                    <a:pt x="36" y="11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3"/>
                  </a:lnTo>
                  <a:lnTo>
                    <a:pt x="36" y="27"/>
                  </a:lnTo>
                  <a:lnTo>
                    <a:pt x="35" y="30"/>
                  </a:lnTo>
                  <a:lnTo>
                    <a:pt x="32" y="33"/>
                  </a:lnTo>
                  <a:lnTo>
                    <a:pt x="31" y="36"/>
                  </a:lnTo>
                  <a:lnTo>
                    <a:pt x="26" y="37"/>
                  </a:lnTo>
                  <a:lnTo>
                    <a:pt x="23" y="39"/>
                  </a:lnTo>
                  <a:lnTo>
                    <a:pt x="19" y="39"/>
                  </a:lnTo>
                  <a:close/>
                  <a:moveTo>
                    <a:pt x="2" y="46"/>
                  </a:moveTo>
                  <a:lnTo>
                    <a:pt x="2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2" y="148"/>
                  </a:lnTo>
                  <a:lnTo>
                    <a:pt x="2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6" name="Freeform 50">
              <a:extLst>
                <a:ext uri="{FF2B5EF4-FFF2-40B4-BE49-F238E27FC236}">
                  <a16:creationId xmlns:a16="http://schemas.microsoft.com/office/drawing/2014/main" id="{0BC003C0-7CEB-4EEE-86DF-050663C2D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3675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2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6 w 73"/>
                <a:gd name="T35" fmla="*/ 103 h 129"/>
                <a:gd name="T36" fmla="*/ 16 w 73"/>
                <a:gd name="T37" fmla="*/ 94 h 129"/>
                <a:gd name="T38" fmla="*/ 16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6 w 73"/>
                <a:gd name="T45" fmla="*/ 24 h 129"/>
                <a:gd name="T46" fmla="*/ 16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2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6" y="103"/>
                  </a:lnTo>
                  <a:lnTo>
                    <a:pt x="16" y="94"/>
                  </a:lnTo>
                  <a:lnTo>
                    <a:pt x="16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7" name="Freeform 51">
              <a:extLst>
                <a:ext uri="{FF2B5EF4-FFF2-40B4-BE49-F238E27FC236}">
                  <a16:creationId xmlns:a16="http://schemas.microsoft.com/office/drawing/2014/main" id="{60650915-FC84-12C3-2893-EE34D34C4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9713" y="4241800"/>
              <a:ext cx="49213" cy="57150"/>
            </a:xfrm>
            <a:custGeom>
              <a:avLst/>
              <a:gdLst>
                <a:gd name="T0" fmla="*/ 94 w 95"/>
                <a:gd name="T1" fmla="*/ 73 h 108"/>
                <a:gd name="T2" fmla="*/ 92 w 95"/>
                <a:gd name="T3" fmla="*/ 81 h 108"/>
                <a:gd name="T4" fmla="*/ 89 w 95"/>
                <a:gd name="T5" fmla="*/ 88 h 108"/>
                <a:gd name="T6" fmla="*/ 85 w 95"/>
                <a:gd name="T7" fmla="*/ 93 h 108"/>
                <a:gd name="T8" fmla="*/ 79 w 95"/>
                <a:gd name="T9" fmla="*/ 98 h 108"/>
                <a:gd name="T10" fmla="*/ 72 w 95"/>
                <a:gd name="T11" fmla="*/ 102 h 108"/>
                <a:gd name="T12" fmla="*/ 65 w 95"/>
                <a:gd name="T13" fmla="*/ 105 h 108"/>
                <a:gd name="T14" fmla="*/ 58 w 95"/>
                <a:gd name="T15" fmla="*/ 106 h 108"/>
                <a:gd name="T16" fmla="*/ 48 w 95"/>
                <a:gd name="T17" fmla="*/ 108 h 108"/>
                <a:gd name="T18" fmla="*/ 36 w 95"/>
                <a:gd name="T19" fmla="*/ 106 h 108"/>
                <a:gd name="T20" fmla="*/ 26 w 95"/>
                <a:gd name="T21" fmla="*/ 103 h 108"/>
                <a:gd name="T22" fmla="*/ 19 w 95"/>
                <a:gd name="T23" fmla="*/ 99 h 108"/>
                <a:gd name="T24" fmla="*/ 12 w 95"/>
                <a:gd name="T25" fmla="*/ 93 h 108"/>
                <a:gd name="T26" fmla="*/ 6 w 95"/>
                <a:gd name="T27" fmla="*/ 85 h 108"/>
                <a:gd name="T28" fmla="*/ 3 w 95"/>
                <a:gd name="T29" fmla="*/ 76 h 108"/>
                <a:gd name="T30" fmla="*/ 0 w 95"/>
                <a:gd name="T31" fmla="*/ 66 h 108"/>
                <a:gd name="T32" fmla="*/ 0 w 95"/>
                <a:gd name="T33" fmla="*/ 55 h 108"/>
                <a:gd name="T34" fmla="*/ 0 w 95"/>
                <a:gd name="T35" fmla="*/ 42 h 108"/>
                <a:gd name="T36" fmla="*/ 3 w 95"/>
                <a:gd name="T37" fmla="*/ 32 h 108"/>
                <a:gd name="T38" fmla="*/ 7 w 95"/>
                <a:gd name="T39" fmla="*/ 23 h 108"/>
                <a:gd name="T40" fmla="*/ 13 w 95"/>
                <a:gd name="T41" fmla="*/ 14 h 108"/>
                <a:gd name="T42" fmla="*/ 20 w 95"/>
                <a:gd name="T43" fmla="*/ 9 h 108"/>
                <a:gd name="T44" fmla="*/ 29 w 95"/>
                <a:gd name="T45" fmla="*/ 4 h 108"/>
                <a:gd name="T46" fmla="*/ 38 w 95"/>
                <a:gd name="T47" fmla="*/ 2 h 108"/>
                <a:gd name="T48" fmla="*/ 48 w 95"/>
                <a:gd name="T49" fmla="*/ 0 h 108"/>
                <a:gd name="T50" fmla="*/ 58 w 95"/>
                <a:gd name="T51" fmla="*/ 2 h 108"/>
                <a:gd name="T52" fmla="*/ 68 w 95"/>
                <a:gd name="T53" fmla="*/ 4 h 108"/>
                <a:gd name="T54" fmla="*/ 76 w 95"/>
                <a:gd name="T55" fmla="*/ 9 h 108"/>
                <a:gd name="T56" fmla="*/ 84 w 95"/>
                <a:gd name="T57" fmla="*/ 14 h 108"/>
                <a:gd name="T58" fmla="*/ 88 w 95"/>
                <a:gd name="T59" fmla="*/ 23 h 108"/>
                <a:gd name="T60" fmla="*/ 92 w 95"/>
                <a:gd name="T61" fmla="*/ 33 h 108"/>
                <a:gd name="T62" fmla="*/ 95 w 95"/>
                <a:gd name="T63" fmla="*/ 46 h 108"/>
                <a:gd name="T64" fmla="*/ 94 w 95"/>
                <a:gd name="T65" fmla="*/ 62 h 108"/>
                <a:gd name="T66" fmla="*/ 33 w 95"/>
                <a:gd name="T67" fmla="*/ 62 h 108"/>
                <a:gd name="T68" fmla="*/ 35 w 95"/>
                <a:gd name="T69" fmla="*/ 73 h 108"/>
                <a:gd name="T70" fmla="*/ 38 w 95"/>
                <a:gd name="T71" fmla="*/ 81 h 108"/>
                <a:gd name="T72" fmla="*/ 39 w 95"/>
                <a:gd name="T73" fmla="*/ 82 h 108"/>
                <a:gd name="T74" fmla="*/ 42 w 95"/>
                <a:gd name="T75" fmla="*/ 83 h 108"/>
                <a:gd name="T76" fmla="*/ 45 w 95"/>
                <a:gd name="T77" fmla="*/ 85 h 108"/>
                <a:gd name="T78" fmla="*/ 48 w 95"/>
                <a:gd name="T79" fmla="*/ 85 h 108"/>
                <a:gd name="T80" fmla="*/ 53 w 95"/>
                <a:gd name="T81" fmla="*/ 85 h 108"/>
                <a:gd name="T82" fmla="*/ 56 w 95"/>
                <a:gd name="T83" fmla="*/ 82 h 108"/>
                <a:gd name="T84" fmla="*/ 59 w 95"/>
                <a:gd name="T85" fmla="*/ 79 h 108"/>
                <a:gd name="T86" fmla="*/ 61 w 95"/>
                <a:gd name="T87" fmla="*/ 73 h 108"/>
                <a:gd name="T88" fmla="*/ 94 w 95"/>
                <a:gd name="T89" fmla="*/ 73 h 108"/>
                <a:gd name="T90" fmla="*/ 33 w 95"/>
                <a:gd name="T91" fmla="*/ 43 h 108"/>
                <a:gd name="T92" fmla="*/ 33 w 95"/>
                <a:gd name="T93" fmla="*/ 43 h 108"/>
                <a:gd name="T94" fmla="*/ 62 w 95"/>
                <a:gd name="T95" fmla="*/ 43 h 108"/>
                <a:gd name="T96" fmla="*/ 61 w 95"/>
                <a:gd name="T97" fmla="*/ 33 h 108"/>
                <a:gd name="T98" fmla="*/ 58 w 95"/>
                <a:gd name="T99" fmla="*/ 26 h 108"/>
                <a:gd name="T100" fmla="*/ 53 w 95"/>
                <a:gd name="T101" fmla="*/ 23 h 108"/>
                <a:gd name="T102" fmla="*/ 48 w 95"/>
                <a:gd name="T103" fmla="*/ 22 h 108"/>
                <a:gd name="T104" fmla="*/ 42 w 95"/>
                <a:gd name="T105" fmla="*/ 23 h 108"/>
                <a:gd name="T106" fmla="*/ 38 w 95"/>
                <a:gd name="T107" fmla="*/ 26 h 108"/>
                <a:gd name="T108" fmla="*/ 35 w 95"/>
                <a:gd name="T109" fmla="*/ 33 h 108"/>
                <a:gd name="T110" fmla="*/ 33 w 95"/>
                <a:gd name="T111" fmla="*/ 4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8">
                  <a:moveTo>
                    <a:pt x="94" y="73"/>
                  </a:moveTo>
                  <a:lnTo>
                    <a:pt x="92" y="81"/>
                  </a:lnTo>
                  <a:lnTo>
                    <a:pt x="89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2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8"/>
                  </a:lnTo>
                  <a:lnTo>
                    <a:pt x="36" y="106"/>
                  </a:lnTo>
                  <a:lnTo>
                    <a:pt x="26" y="103"/>
                  </a:lnTo>
                  <a:lnTo>
                    <a:pt x="19" y="99"/>
                  </a:lnTo>
                  <a:lnTo>
                    <a:pt x="12" y="93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lnTo>
                    <a:pt x="0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6" y="9"/>
                  </a:lnTo>
                  <a:lnTo>
                    <a:pt x="84" y="14"/>
                  </a:lnTo>
                  <a:lnTo>
                    <a:pt x="88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4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3" y="85"/>
                  </a:lnTo>
                  <a:lnTo>
                    <a:pt x="56" y="82"/>
                  </a:lnTo>
                  <a:lnTo>
                    <a:pt x="59" y="79"/>
                  </a:lnTo>
                  <a:lnTo>
                    <a:pt x="61" y="73"/>
                  </a:lnTo>
                  <a:lnTo>
                    <a:pt x="94" y="73"/>
                  </a:lnTo>
                  <a:close/>
                  <a:moveTo>
                    <a:pt x="33" y="43"/>
                  </a:moveTo>
                  <a:lnTo>
                    <a:pt x="33" y="43"/>
                  </a:lnTo>
                  <a:lnTo>
                    <a:pt x="62" y="43"/>
                  </a:lnTo>
                  <a:lnTo>
                    <a:pt x="61" y="33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8" y="22"/>
                  </a:lnTo>
                  <a:lnTo>
                    <a:pt x="42" y="23"/>
                  </a:lnTo>
                  <a:lnTo>
                    <a:pt x="38" y="26"/>
                  </a:lnTo>
                  <a:lnTo>
                    <a:pt x="35" y="33"/>
                  </a:lnTo>
                  <a:lnTo>
                    <a:pt x="33" y="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8" name="Rectangle 52">
              <a:extLst>
                <a:ext uri="{FF2B5EF4-FFF2-40B4-BE49-F238E27FC236}">
                  <a16:creationId xmlns:a16="http://schemas.microsoft.com/office/drawing/2014/main" id="{9EBB6F33-C6E8-8117-A10F-1868C7198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0038" y="4221163"/>
              <a:ext cx="17463" cy="76200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9" name="Freeform 53">
              <a:extLst>
                <a:ext uri="{FF2B5EF4-FFF2-40B4-BE49-F238E27FC236}">
                  <a16:creationId xmlns:a16="http://schemas.microsoft.com/office/drawing/2014/main" id="{C974CA2C-91C6-05C9-CF0D-F48D6F80E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0200" y="4217988"/>
              <a:ext cx="50800" cy="80963"/>
            </a:xfrm>
            <a:custGeom>
              <a:avLst/>
              <a:gdLst>
                <a:gd name="T0" fmla="*/ 96 w 96"/>
                <a:gd name="T1" fmla="*/ 46 h 151"/>
                <a:gd name="T2" fmla="*/ 61 w 96"/>
                <a:gd name="T3" fmla="*/ 148 h 151"/>
                <a:gd name="T4" fmla="*/ 53 w 96"/>
                <a:gd name="T5" fmla="*/ 141 h 151"/>
                <a:gd name="T6" fmla="*/ 37 w 96"/>
                <a:gd name="T7" fmla="*/ 149 h 151"/>
                <a:gd name="T8" fmla="*/ 23 w 96"/>
                <a:gd name="T9" fmla="*/ 149 h 151"/>
                <a:gd name="T10" fmla="*/ 12 w 96"/>
                <a:gd name="T11" fmla="*/ 146 h 151"/>
                <a:gd name="T12" fmla="*/ 5 w 96"/>
                <a:gd name="T13" fmla="*/ 139 h 151"/>
                <a:gd name="T14" fmla="*/ 0 w 96"/>
                <a:gd name="T15" fmla="*/ 126 h 151"/>
                <a:gd name="T16" fmla="*/ 0 w 96"/>
                <a:gd name="T17" fmla="*/ 46 h 151"/>
                <a:gd name="T18" fmla="*/ 34 w 96"/>
                <a:gd name="T19" fmla="*/ 111 h 151"/>
                <a:gd name="T20" fmla="*/ 37 w 96"/>
                <a:gd name="T21" fmla="*/ 121 h 151"/>
                <a:gd name="T22" fmla="*/ 46 w 96"/>
                <a:gd name="T23" fmla="*/ 124 h 151"/>
                <a:gd name="T24" fmla="*/ 61 w 96"/>
                <a:gd name="T25" fmla="*/ 116 h 151"/>
                <a:gd name="T26" fmla="*/ 47 w 96"/>
                <a:gd name="T27" fmla="*/ 39 h 151"/>
                <a:gd name="T28" fmla="*/ 43 w 96"/>
                <a:gd name="T29" fmla="*/ 39 h 151"/>
                <a:gd name="T30" fmla="*/ 33 w 96"/>
                <a:gd name="T31" fmla="*/ 36 h 151"/>
                <a:gd name="T32" fmla="*/ 25 w 96"/>
                <a:gd name="T33" fmla="*/ 32 h 151"/>
                <a:gd name="T34" fmla="*/ 21 w 96"/>
                <a:gd name="T35" fmla="*/ 24 h 151"/>
                <a:gd name="T36" fmla="*/ 21 w 96"/>
                <a:gd name="T37" fmla="*/ 16 h 151"/>
                <a:gd name="T38" fmla="*/ 25 w 96"/>
                <a:gd name="T39" fmla="*/ 9 h 151"/>
                <a:gd name="T40" fmla="*/ 33 w 96"/>
                <a:gd name="T41" fmla="*/ 3 h 151"/>
                <a:gd name="T42" fmla="*/ 43 w 96"/>
                <a:gd name="T43" fmla="*/ 0 h 151"/>
                <a:gd name="T44" fmla="*/ 53 w 96"/>
                <a:gd name="T45" fmla="*/ 0 h 151"/>
                <a:gd name="T46" fmla="*/ 63 w 96"/>
                <a:gd name="T47" fmla="*/ 3 h 151"/>
                <a:gd name="T48" fmla="*/ 70 w 96"/>
                <a:gd name="T49" fmla="*/ 9 h 151"/>
                <a:gd name="T50" fmla="*/ 74 w 96"/>
                <a:gd name="T51" fmla="*/ 16 h 151"/>
                <a:gd name="T52" fmla="*/ 74 w 96"/>
                <a:gd name="T53" fmla="*/ 24 h 151"/>
                <a:gd name="T54" fmla="*/ 70 w 96"/>
                <a:gd name="T55" fmla="*/ 32 h 151"/>
                <a:gd name="T56" fmla="*/ 63 w 96"/>
                <a:gd name="T57" fmla="*/ 36 h 151"/>
                <a:gd name="T58" fmla="*/ 53 w 96"/>
                <a:gd name="T59" fmla="*/ 39 h 151"/>
                <a:gd name="T60" fmla="*/ 47 w 96"/>
                <a:gd name="T61" fmla="*/ 13 h 151"/>
                <a:gd name="T62" fmla="*/ 44 w 96"/>
                <a:gd name="T63" fmla="*/ 13 h 151"/>
                <a:gd name="T64" fmla="*/ 40 w 96"/>
                <a:gd name="T65" fmla="*/ 17 h 151"/>
                <a:gd name="T66" fmla="*/ 40 w 96"/>
                <a:gd name="T67" fmla="*/ 23 h 151"/>
                <a:gd name="T68" fmla="*/ 44 w 96"/>
                <a:gd name="T69" fmla="*/ 26 h 151"/>
                <a:gd name="T70" fmla="*/ 51 w 96"/>
                <a:gd name="T71" fmla="*/ 26 h 151"/>
                <a:gd name="T72" fmla="*/ 56 w 96"/>
                <a:gd name="T73" fmla="*/ 23 h 151"/>
                <a:gd name="T74" fmla="*/ 56 w 96"/>
                <a:gd name="T75" fmla="*/ 17 h 151"/>
                <a:gd name="T76" fmla="*/ 51 w 96"/>
                <a:gd name="T7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151">
                  <a:moveTo>
                    <a:pt x="61" y="46"/>
                  </a:moveTo>
                  <a:lnTo>
                    <a:pt x="96" y="46"/>
                  </a:lnTo>
                  <a:lnTo>
                    <a:pt x="96" y="148"/>
                  </a:lnTo>
                  <a:lnTo>
                    <a:pt x="61" y="148"/>
                  </a:lnTo>
                  <a:lnTo>
                    <a:pt x="61" y="134"/>
                  </a:lnTo>
                  <a:lnTo>
                    <a:pt x="53" y="141"/>
                  </a:lnTo>
                  <a:lnTo>
                    <a:pt x="46" y="146"/>
                  </a:lnTo>
                  <a:lnTo>
                    <a:pt x="37" y="149"/>
                  </a:lnTo>
                  <a:lnTo>
                    <a:pt x="27" y="151"/>
                  </a:lnTo>
                  <a:lnTo>
                    <a:pt x="23" y="149"/>
                  </a:lnTo>
                  <a:lnTo>
                    <a:pt x="17" y="149"/>
                  </a:lnTo>
                  <a:lnTo>
                    <a:pt x="12" y="146"/>
                  </a:lnTo>
                  <a:lnTo>
                    <a:pt x="8" y="144"/>
                  </a:lnTo>
                  <a:lnTo>
                    <a:pt x="5" y="139"/>
                  </a:lnTo>
                  <a:lnTo>
                    <a:pt x="2" y="134"/>
                  </a:lnTo>
                  <a:lnTo>
                    <a:pt x="0" y="126"/>
                  </a:lnTo>
                  <a:lnTo>
                    <a:pt x="0" y="116"/>
                  </a:lnTo>
                  <a:lnTo>
                    <a:pt x="0" y="46"/>
                  </a:lnTo>
                  <a:lnTo>
                    <a:pt x="34" y="46"/>
                  </a:lnTo>
                  <a:lnTo>
                    <a:pt x="34" y="111"/>
                  </a:lnTo>
                  <a:lnTo>
                    <a:pt x="36" y="116"/>
                  </a:lnTo>
                  <a:lnTo>
                    <a:pt x="37" y="121"/>
                  </a:lnTo>
                  <a:lnTo>
                    <a:pt x="41" y="122"/>
                  </a:lnTo>
                  <a:lnTo>
                    <a:pt x="46" y="124"/>
                  </a:lnTo>
                  <a:lnTo>
                    <a:pt x="54" y="122"/>
                  </a:lnTo>
                  <a:lnTo>
                    <a:pt x="61" y="116"/>
                  </a:lnTo>
                  <a:lnTo>
                    <a:pt x="61" y="46"/>
                  </a:lnTo>
                  <a:close/>
                  <a:moveTo>
                    <a:pt x="47" y="39"/>
                  </a:moveTo>
                  <a:lnTo>
                    <a:pt x="47" y="39"/>
                  </a:lnTo>
                  <a:lnTo>
                    <a:pt x="43" y="39"/>
                  </a:lnTo>
                  <a:lnTo>
                    <a:pt x="37" y="37"/>
                  </a:lnTo>
                  <a:lnTo>
                    <a:pt x="33" y="36"/>
                  </a:lnTo>
                  <a:lnTo>
                    <a:pt x="28" y="34"/>
                  </a:lnTo>
                  <a:lnTo>
                    <a:pt x="25" y="32"/>
                  </a:lnTo>
                  <a:lnTo>
                    <a:pt x="23" y="27"/>
                  </a:lnTo>
                  <a:lnTo>
                    <a:pt x="21" y="24"/>
                  </a:lnTo>
                  <a:lnTo>
                    <a:pt x="21" y="20"/>
                  </a:lnTo>
                  <a:lnTo>
                    <a:pt x="21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3" y="3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3" y="0"/>
                  </a:lnTo>
                  <a:lnTo>
                    <a:pt x="59" y="1"/>
                  </a:lnTo>
                  <a:lnTo>
                    <a:pt x="63" y="3"/>
                  </a:lnTo>
                  <a:lnTo>
                    <a:pt x="67" y="6"/>
                  </a:lnTo>
                  <a:lnTo>
                    <a:pt x="70" y="9"/>
                  </a:lnTo>
                  <a:lnTo>
                    <a:pt x="73" y="11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3" y="27"/>
                  </a:lnTo>
                  <a:lnTo>
                    <a:pt x="70" y="32"/>
                  </a:lnTo>
                  <a:lnTo>
                    <a:pt x="67" y="34"/>
                  </a:lnTo>
                  <a:lnTo>
                    <a:pt x="63" y="36"/>
                  </a:lnTo>
                  <a:lnTo>
                    <a:pt x="59" y="37"/>
                  </a:lnTo>
                  <a:lnTo>
                    <a:pt x="53" y="39"/>
                  </a:lnTo>
                  <a:lnTo>
                    <a:pt x="47" y="39"/>
                  </a:lnTo>
                  <a:close/>
                  <a:moveTo>
                    <a:pt x="47" y="13"/>
                  </a:moveTo>
                  <a:lnTo>
                    <a:pt x="47" y="13"/>
                  </a:lnTo>
                  <a:lnTo>
                    <a:pt x="44" y="13"/>
                  </a:lnTo>
                  <a:lnTo>
                    <a:pt x="41" y="14"/>
                  </a:lnTo>
                  <a:lnTo>
                    <a:pt x="40" y="17"/>
                  </a:lnTo>
                  <a:lnTo>
                    <a:pt x="40" y="20"/>
                  </a:lnTo>
                  <a:lnTo>
                    <a:pt x="40" y="23"/>
                  </a:lnTo>
                  <a:lnTo>
                    <a:pt x="41" y="24"/>
                  </a:lnTo>
                  <a:lnTo>
                    <a:pt x="44" y="26"/>
                  </a:lnTo>
                  <a:lnTo>
                    <a:pt x="47" y="26"/>
                  </a:lnTo>
                  <a:lnTo>
                    <a:pt x="51" y="26"/>
                  </a:lnTo>
                  <a:lnTo>
                    <a:pt x="53" y="24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6" y="17"/>
                  </a:lnTo>
                  <a:lnTo>
                    <a:pt x="53" y="14"/>
                  </a:lnTo>
                  <a:lnTo>
                    <a:pt x="51" y="13"/>
                  </a:lnTo>
                  <a:lnTo>
                    <a:pt x="47" y="1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0" name="Freeform 54">
              <a:extLst>
                <a:ext uri="{FF2B5EF4-FFF2-40B4-BE49-F238E27FC236}">
                  <a16:creationId xmlns:a16="http://schemas.microsoft.com/office/drawing/2014/main" id="{8CDB7E16-8AD9-1369-F505-4EA05551F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4011613"/>
              <a:ext cx="292100" cy="292100"/>
            </a:xfrm>
            <a:custGeom>
              <a:avLst/>
              <a:gdLst>
                <a:gd name="T0" fmla="*/ 0 w 552"/>
                <a:gd name="T1" fmla="*/ 260 h 553"/>
                <a:gd name="T2" fmla="*/ 6 w 552"/>
                <a:gd name="T3" fmla="*/ 214 h 553"/>
                <a:gd name="T4" fmla="*/ 17 w 552"/>
                <a:gd name="T5" fmla="*/ 171 h 553"/>
                <a:gd name="T6" fmla="*/ 35 w 552"/>
                <a:gd name="T7" fmla="*/ 134 h 553"/>
                <a:gd name="T8" fmla="*/ 65 w 552"/>
                <a:gd name="T9" fmla="*/ 90 h 553"/>
                <a:gd name="T10" fmla="*/ 125 w 552"/>
                <a:gd name="T11" fmla="*/ 40 h 553"/>
                <a:gd name="T12" fmla="*/ 200 w 552"/>
                <a:gd name="T13" fmla="*/ 10 h 553"/>
                <a:gd name="T14" fmla="*/ 285 w 552"/>
                <a:gd name="T15" fmla="*/ 0 h 553"/>
                <a:gd name="T16" fmla="*/ 357 w 552"/>
                <a:gd name="T17" fmla="*/ 7 h 553"/>
                <a:gd name="T18" fmla="*/ 423 w 552"/>
                <a:gd name="T19" fmla="*/ 27 h 553"/>
                <a:gd name="T20" fmla="*/ 480 w 552"/>
                <a:gd name="T21" fmla="*/ 63 h 553"/>
                <a:gd name="T22" fmla="*/ 521 w 552"/>
                <a:gd name="T23" fmla="*/ 118 h 553"/>
                <a:gd name="T24" fmla="*/ 546 w 552"/>
                <a:gd name="T25" fmla="*/ 191 h 553"/>
                <a:gd name="T26" fmla="*/ 360 w 552"/>
                <a:gd name="T27" fmla="*/ 207 h 553"/>
                <a:gd name="T28" fmla="*/ 341 w 552"/>
                <a:gd name="T29" fmla="*/ 171 h 553"/>
                <a:gd name="T30" fmla="*/ 327 w 552"/>
                <a:gd name="T31" fmla="*/ 159 h 553"/>
                <a:gd name="T32" fmla="*/ 289 w 552"/>
                <a:gd name="T33" fmla="*/ 152 h 553"/>
                <a:gd name="T34" fmla="*/ 259 w 552"/>
                <a:gd name="T35" fmla="*/ 157 h 553"/>
                <a:gd name="T36" fmla="*/ 236 w 552"/>
                <a:gd name="T37" fmla="*/ 169 h 553"/>
                <a:gd name="T38" fmla="*/ 219 w 552"/>
                <a:gd name="T39" fmla="*/ 190 h 553"/>
                <a:gd name="T40" fmla="*/ 207 w 552"/>
                <a:gd name="T41" fmla="*/ 220 h 553"/>
                <a:gd name="T42" fmla="*/ 202 w 552"/>
                <a:gd name="T43" fmla="*/ 258 h 553"/>
                <a:gd name="T44" fmla="*/ 202 w 552"/>
                <a:gd name="T45" fmla="*/ 296 h 553"/>
                <a:gd name="T46" fmla="*/ 206 w 552"/>
                <a:gd name="T47" fmla="*/ 336 h 553"/>
                <a:gd name="T48" fmla="*/ 217 w 552"/>
                <a:gd name="T49" fmla="*/ 368 h 553"/>
                <a:gd name="T50" fmla="*/ 236 w 552"/>
                <a:gd name="T51" fmla="*/ 391 h 553"/>
                <a:gd name="T52" fmla="*/ 261 w 552"/>
                <a:gd name="T53" fmla="*/ 405 h 553"/>
                <a:gd name="T54" fmla="*/ 292 w 552"/>
                <a:gd name="T55" fmla="*/ 409 h 553"/>
                <a:gd name="T56" fmla="*/ 330 w 552"/>
                <a:gd name="T57" fmla="*/ 401 h 553"/>
                <a:gd name="T58" fmla="*/ 348 w 552"/>
                <a:gd name="T59" fmla="*/ 389 h 553"/>
                <a:gd name="T60" fmla="*/ 361 w 552"/>
                <a:gd name="T61" fmla="*/ 370 h 553"/>
                <a:gd name="T62" fmla="*/ 373 w 552"/>
                <a:gd name="T63" fmla="*/ 330 h 553"/>
                <a:gd name="T64" fmla="*/ 546 w 552"/>
                <a:gd name="T65" fmla="*/ 378 h 553"/>
                <a:gd name="T66" fmla="*/ 521 w 552"/>
                <a:gd name="T67" fmla="*/ 441 h 553"/>
                <a:gd name="T68" fmla="*/ 480 w 552"/>
                <a:gd name="T69" fmla="*/ 491 h 553"/>
                <a:gd name="T70" fmla="*/ 420 w 552"/>
                <a:gd name="T71" fmla="*/ 528 h 553"/>
                <a:gd name="T72" fmla="*/ 341 w 552"/>
                <a:gd name="T73" fmla="*/ 549 h 553"/>
                <a:gd name="T74" fmla="*/ 251 w 552"/>
                <a:gd name="T75" fmla="*/ 551 h 553"/>
                <a:gd name="T76" fmla="*/ 170 w 552"/>
                <a:gd name="T77" fmla="*/ 536 h 553"/>
                <a:gd name="T78" fmla="*/ 101 w 552"/>
                <a:gd name="T79" fmla="*/ 501 h 553"/>
                <a:gd name="T80" fmla="*/ 48 w 552"/>
                <a:gd name="T81" fmla="*/ 448 h 553"/>
                <a:gd name="T82" fmla="*/ 27 w 552"/>
                <a:gd name="T83" fmla="*/ 414 h 553"/>
                <a:gd name="T84" fmla="*/ 13 w 552"/>
                <a:gd name="T85" fmla="*/ 376 h 553"/>
                <a:gd name="T86" fmla="*/ 3 w 552"/>
                <a:gd name="T87" fmla="*/ 332 h 553"/>
                <a:gd name="T88" fmla="*/ 0 w 552"/>
                <a:gd name="T89" fmla="*/ 28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2" h="553">
                  <a:moveTo>
                    <a:pt x="0" y="284"/>
                  </a:moveTo>
                  <a:lnTo>
                    <a:pt x="0" y="277"/>
                  </a:lnTo>
                  <a:lnTo>
                    <a:pt x="0" y="260"/>
                  </a:lnTo>
                  <a:lnTo>
                    <a:pt x="1" y="244"/>
                  </a:lnTo>
                  <a:lnTo>
                    <a:pt x="3" y="228"/>
                  </a:lnTo>
                  <a:lnTo>
                    <a:pt x="6" y="214"/>
                  </a:lnTo>
                  <a:lnTo>
                    <a:pt x="9" y="198"/>
                  </a:lnTo>
                  <a:lnTo>
                    <a:pt x="13" y="185"/>
                  </a:lnTo>
                  <a:lnTo>
                    <a:pt x="17" y="171"/>
                  </a:lnTo>
                  <a:lnTo>
                    <a:pt x="22" y="158"/>
                  </a:lnTo>
                  <a:lnTo>
                    <a:pt x="27" y="145"/>
                  </a:lnTo>
                  <a:lnTo>
                    <a:pt x="35" y="134"/>
                  </a:lnTo>
                  <a:lnTo>
                    <a:pt x="40" y="122"/>
                  </a:lnTo>
                  <a:lnTo>
                    <a:pt x="49" y="111"/>
                  </a:lnTo>
                  <a:lnTo>
                    <a:pt x="65" y="90"/>
                  </a:lnTo>
                  <a:lnTo>
                    <a:pt x="84" y="72"/>
                  </a:lnTo>
                  <a:lnTo>
                    <a:pt x="104" y="55"/>
                  </a:lnTo>
                  <a:lnTo>
                    <a:pt x="125" y="40"/>
                  </a:lnTo>
                  <a:lnTo>
                    <a:pt x="148" y="29"/>
                  </a:lnTo>
                  <a:lnTo>
                    <a:pt x="174" y="19"/>
                  </a:lnTo>
                  <a:lnTo>
                    <a:pt x="200" y="10"/>
                  </a:lnTo>
                  <a:lnTo>
                    <a:pt x="228" y="6"/>
                  </a:lnTo>
                  <a:lnTo>
                    <a:pt x="255" y="1"/>
                  </a:lnTo>
                  <a:lnTo>
                    <a:pt x="285" y="0"/>
                  </a:lnTo>
                  <a:lnTo>
                    <a:pt x="310" y="1"/>
                  </a:lnTo>
                  <a:lnTo>
                    <a:pt x="334" y="3"/>
                  </a:lnTo>
                  <a:lnTo>
                    <a:pt x="357" y="7"/>
                  </a:lnTo>
                  <a:lnTo>
                    <a:pt x="380" y="11"/>
                  </a:lnTo>
                  <a:lnTo>
                    <a:pt x="402" y="19"/>
                  </a:lnTo>
                  <a:lnTo>
                    <a:pt x="423" y="27"/>
                  </a:lnTo>
                  <a:lnTo>
                    <a:pt x="444" y="37"/>
                  </a:lnTo>
                  <a:lnTo>
                    <a:pt x="462" y="49"/>
                  </a:lnTo>
                  <a:lnTo>
                    <a:pt x="480" y="63"/>
                  </a:lnTo>
                  <a:lnTo>
                    <a:pt x="495" y="79"/>
                  </a:lnTo>
                  <a:lnTo>
                    <a:pt x="510" y="98"/>
                  </a:lnTo>
                  <a:lnTo>
                    <a:pt x="521" y="118"/>
                  </a:lnTo>
                  <a:lnTo>
                    <a:pt x="531" y="139"/>
                  </a:lnTo>
                  <a:lnTo>
                    <a:pt x="540" y="165"/>
                  </a:lnTo>
                  <a:lnTo>
                    <a:pt x="546" y="191"/>
                  </a:lnTo>
                  <a:lnTo>
                    <a:pt x="549" y="221"/>
                  </a:lnTo>
                  <a:lnTo>
                    <a:pt x="361" y="221"/>
                  </a:lnTo>
                  <a:lnTo>
                    <a:pt x="360" y="207"/>
                  </a:lnTo>
                  <a:lnTo>
                    <a:pt x="356" y="192"/>
                  </a:lnTo>
                  <a:lnTo>
                    <a:pt x="350" y="181"/>
                  </a:lnTo>
                  <a:lnTo>
                    <a:pt x="341" y="171"/>
                  </a:lnTo>
                  <a:lnTo>
                    <a:pt x="337" y="167"/>
                  </a:lnTo>
                  <a:lnTo>
                    <a:pt x="333" y="162"/>
                  </a:lnTo>
                  <a:lnTo>
                    <a:pt x="327" y="159"/>
                  </a:lnTo>
                  <a:lnTo>
                    <a:pt x="321" y="157"/>
                  </a:lnTo>
                  <a:lnTo>
                    <a:pt x="307" y="154"/>
                  </a:lnTo>
                  <a:lnTo>
                    <a:pt x="289" y="152"/>
                  </a:lnTo>
                  <a:lnTo>
                    <a:pt x="279" y="152"/>
                  </a:lnTo>
                  <a:lnTo>
                    <a:pt x="269" y="154"/>
                  </a:lnTo>
                  <a:lnTo>
                    <a:pt x="259" y="157"/>
                  </a:lnTo>
                  <a:lnTo>
                    <a:pt x="251" y="159"/>
                  </a:lnTo>
                  <a:lnTo>
                    <a:pt x="243" y="164"/>
                  </a:lnTo>
                  <a:lnTo>
                    <a:pt x="236" y="169"/>
                  </a:lnTo>
                  <a:lnTo>
                    <a:pt x="229" y="175"/>
                  </a:lnTo>
                  <a:lnTo>
                    <a:pt x="223" y="182"/>
                  </a:lnTo>
                  <a:lnTo>
                    <a:pt x="219" y="190"/>
                  </a:lnTo>
                  <a:lnTo>
                    <a:pt x="213" y="200"/>
                  </a:lnTo>
                  <a:lnTo>
                    <a:pt x="210" y="210"/>
                  </a:lnTo>
                  <a:lnTo>
                    <a:pt x="207" y="220"/>
                  </a:lnTo>
                  <a:lnTo>
                    <a:pt x="204" y="231"/>
                  </a:lnTo>
                  <a:lnTo>
                    <a:pt x="203" y="244"/>
                  </a:lnTo>
                  <a:lnTo>
                    <a:pt x="202" y="258"/>
                  </a:lnTo>
                  <a:lnTo>
                    <a:pt x="202" y="273"/>
                  </a:lnTo>
                  <a:lnTo>
                    <a:pt x="202" y="280"/>
                  </a:lnTo>
                  <a:lnTo>
                    <a:pt x="202" y="296"/>
                  </a:lnTo>
                  <a:lnTo>
                    <a:pt x="203" y="310"/>
                  </a:lnTo>
                  <a:lnTo>
                    <a:pt x="204" y="325"/>
                  </a:lnTo>
                  <a:lnTo>
                    <a:pt x="206" y="336"/>
                  </a:lnTo>
                  <a:lnTo>
                    <a:pt x="210" y="347"/>
                  </a:lnTo>
                  <a:lnTo>
                    <a:pt x="213" y="359"/>
                  </a:lnTo>
                  <a:lnTo>
                    <a:pt x="217" y="368"/>
                  </a:lnTo>
                  <a:lnTo>
                    <a:pt x="223" y="376"/>
                  </a:lnTo>
                  <a:lnTo>
                    <a:pt x="229" y="385"/>
                  </a:lnTo>
                  <a:lnTo>
                    <a:pt x="236" y="391"/>
                  </a:lnTo>
                  <a:lnTo>
                    <a:pt x="243" y="396"/>
                  </a:lnTo>
                  <a:lnTo>
                    <a:pt x="252" y="401"/>
                  </a:lnTo>
                  <a:lnTo>
                    <a:pt x="261" y="405"/>
                  </a:lnTo>
                  <a:lnTo>
                    <a:pt x="271" y="406"/>
                  </a:lnTo>
                  <a:lnTo>
                    <a:pt x="281" y="408"/>
                  </a:lnTo>
                  <a:lnTo>
                    <a:pt x="292" y="409"/>
                  </a:lnTo>
                  <a:lnTo>
                    <a:pt x="310" y="408"/>
                  </a:lnTo>
                  <a:lnTo>
                    <a:pt x="324" y="403"/>
                  </a:lnTo>
                  <a:lnTo>
                    <a:pt x="330" y="401"/>
                  </a:lnTo>
                  <a:lnTo>
                    <a:pt x="337" y="398"/>
                  </a:lnTo>
                  <a:lnTo>
                    <a:pt x="343" y="393"/>
                  </a:lnTo>
                  <a:lnTo>
                    <a:pt x="348" y="389"/>
                  </a:lnTo>
                  <a:lnTo>
                    <a:pt x="353" y="383"/>
                  </a:lnTo>
                  <a:lnTo>
                    <a:pt x="357" y="378"/>
                  </a:lnTo>
                  <a:lnTo>
                    <a:pt x="361" y="370"/>
                  </a:lnTo>
                  <a:lnTo>
                    <a:pt x="364" y="363"/>
                  </a:lnTo>
                  <a:lnTo>
                    <a:pt x="370" y="347"/>
                  </a:lnTo>
                  <a:lnTo>
                    <a:pt x="373" y="330"/>
                  </a:lnTo>
                  <a:lnTo>
                    <a:pt x="552" y="330"/>
                  </a:lnTo>
                  <a:lnTo>
                    <a:pt x="549" y="355"/>
                  </a:lnTo>
                  <a:lnTo>
                    <a:pt x="546" y="378"/>
                  </a:lnTo>
                  <a:lnTo>
                    <a:pt x="540" y="401"/>
                  </a:lnTo>
                  <a:lnTo>
                    <a:pt x="531" y="422"/>
                  </a:lnTo>
                  <a:lnTo>
                    <a:pt x="521" y="441"/>
                  </a:lnTo>
                  <a:lnTo>
                    <a:pt x="510" y="459"/>
                  </a:lnTo>
                  <a:lnTo>
                    <a:pt x="495" y="477"/>
                  </a:lnTo>
                  <a:lnTo>
                    <a:pt x="480" y="491"/>
                  </a:lnTo>
                  <a:lnTo>
                    <a:pt x="462" y="505"/>
                  </a:lnTo>
                  <a:lnTo>
                    <a:pt x="442" y="517"/>
                  </a:lnTo>
                  <a:lnTo>
                    <a:pt x="420" y="528"/>
                  </a:lnTo>
                  <a:lnTo>
                    <a:pt x="396" y="537"/>
                  </a:lnTo>
                  <a:lnTo>
                    <a:pt x="370" y="543"/>
                  </a:lnTo>
                  <a:lnTo>
                    <a:pt x="341" y="549"/>
                  </a:lnTo>
                  <a:lnTo>
                    <a:pt x="312" y="551"/>
                  </a:lnTo>
                  <a:lnTo>
                    <a:pt x="279" y="553"/>
                  </a:lnTo>
                  <a:lnTo>
                    <a:pt x="251" y="551"/>
                  </a:lnTo>
                  <a:lnTo>
                    <a:pt x="222" y="549"/>
                  </a:lnTo>
                  <a:lnTo>
                    <a:pt x="196" y="543"/>
                  </a:lnTo>
                  <a:lnTo>
                    <a:pt x="170" y="536"/>
                  </a:lnTo>
                  <a:lnTo>
                    <a:pt x="145" y="526"/>
                  </a:lnTo>
                  <a:lnTo>
                    <a:pt x="122" y="514"/>
                  </a:lnTo>
                  <a:lnTo>
                    <a:pt x="101" y="501"/>
                  </a:lnTo>
                  <a:lnTo>
                    <a:pt x="81" y="485"/>
                  </a:lnTo>
                  <a:lnTo>
                    <a:pt x="63" y="468"/>
                  </a:lnTo>
                  <a:lnTo>
                    <a:pt x="48" y="448"/>
                  </a:lnTo>
                  <a:lnTo>
                    <a:pt x="40" y="437"/>
                  </a:lnTo>
                  <a:lnTo>
                    <a:pt x="33" y="425"/>
                  </a:lnTo>
                  <a:lnTo>
                    <a:pt x="27" y="414"/>
                  </a:lnTo>
                  <a:lnTo>
                    <a:pt x="22" y="402"/>
                  </a:lnTo>
                  <a:lnTo>
                    <a:pt x="17" y="389"/>
                  </a:lnTo>
                  <a:lnTo>
                    <a:pt x="13" y="376"/>
                  </a:lnTo>
                  <a:lnTo>
                    <a:pt x="9" y="362"/>
                  </a:lnTo>
                  <a:lnTo>
                    <a:pt x="6" y="347"/>
                  </a:lnTo>
                  <a:lnTo>
                    <a:pt x="3" y="332"/>
                  </a:lnTo>
                  <a:lnTo>
                    <a:pt x="1" y="317"/>
                  </a:lnTo>
                  <a:lnTo>
                    <a:pt x="0" y="302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1" name="Freeform 55">
              <a:extLst>
                <a:ext uri="{FF2B5EF4-FFF2-40B4-BE49-F238E27FC236}">
                  <a16:creationId xmlns:a16="http://schemas.microsoft.com/office/drawing/2014/main" id="{D36C0BC8-E1B4-A312-F155-C25BA823D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913" y="3894138"/>
              <a:ext cx="287338" cy="403225"/>
            </a:xfrm>
            <a:custGeom>
              <a:avLst/>
              <a:gdLst>
                <a:gd name="T0" fmla="*/ 197 w 541"/>
                <a:gd name="T1" fmla="*/ 0 h 761"/>
                <a:gd name="T2" fmla="*/ 197 w 541"/>
                <a:gd name="T3" fmla="*/ 435 h 761"/>
                <a:gd name="T4" fmla="*/ 325 w 541"/>
                <a:gd name="T5" fmla="*/ 235 h 761"/>
                <a:gd name="T6" fmla="*/ 528 w 541"/>
                <a:gd name="T7" fmla="*/ 235 h 761"/>
                <a:gd name="T8" fmla="*/ 367 w 541"/>
                <a:gd name="T9" fmla="*/ 471 h 761"/>
                <a:gd name="T10" fmla="*/ 541 w 541"/>
                <a:gd name="T11" fmla="*/ 761 h 761"/>
                <a:gd name="T12" fmla="*/ 322 w 541"/>
                <a:gd name="T13" fmla="*/ 761 h 761"/>
                <a:gd name="T14" fmla="*/ 197 w 541"/>
                <a:gd name="T15" fmla="*/ 541 h 761"/>
                <a:gd name="T16" fmla="*/ 197 w 541"/>
                <a:gd name="T17" fmla="*/ 761 h 761"/>
                <a:gd name="T18" fmla="*/ 0 w 541"/>
                <a:gd name="T19" fmla="*/ 761 h 761"/>
                <a:gd name="T20" fmla="*/ 0 w 541"/>
                <a:gd name="T21" fmla="*/ 0 h 761"/>
                <a:gd name="T22" fmla="*/ 197 w 541"/>
                <a:gd name="T2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1" h="761">
                  <a:moveTo>
                    <a:pt x="197" y="0"/>
                  </a:moveTo>
                  <a:lnTo>
                    <a:pt x="197" y="435"/>
                  </a:lnTo>
                  <a:lnTo>
                    <a:pt x="325" y="235"/>
                  </a:lnTo>
                  <a:lnTo>
                    <a:pt x="528" y="235"/>
                  </a:lnTo>
                  <a:lnTo>
                    <a:pt x="367" y="471"/>
                  </a:lnTo>
                  <a:lnTo>
                    <a:pt x="541" y="761"/>
                  </a:lnTo>
                  <a:lnTo>
                    <a:pt x="322" y="761"/>
                  </a:lnTo>
                  <a:lnTo>
                    <a:pt x="197" y="541"/>
                  </a:lnTo>
                  <a:lnTo>
                    <a:pt x="197" y="761"/>
                  </a:lnTo>
                  <a:lnTo>
                    <a:pt x="0" y="761"/>
                  </a:lnTo>
                  <a:lnTo>
                    <a:pt x="0" y="0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2" name="Freeform 56">
              <a:extLst>
                <a:ext uri="{FF2B5EF4-FFF2-40B4-BE49-F238E27FC236}">
                  <a16:creationId xmlns:a16="http://schemas.microsoft.com/office/drawing/2014/main" id="{2BAE5DA5-17E6-4859-8A5C-3CCCA0217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02950" y="4011613"/>
              <a:ext cx="307975" cy="377825"/>
            </a:xfrm>
            <a:custGeom>
              <a:avLst/>
              <a:gdLst>
                <a:gd name="T0" fmla="*/ 199 w 580"/>
                <a:gd name="T1" fmla="*/ 90 h 714"/>
                <a:gd name="T2" fmla="*/ 233 w 580"/>
                <a:gd name="T3" fmla="*/ 49 h 714"/>
                <a:gd name="T4" fmla="*/ 261 w 580"/>
                <a:gd name="T5" fmla="*/ 27 h 714"/>
                <a:gd name="T6" fmla="*/ 294 w 580"/>
                <a:gd name="T7" fmla="*/ 11 h 714"/>
                <a:gd name="T8" fmla="*/ 331 w 580"/>
                <a:gd name="T9" fmla="*/ 3 h 714"/>
                <a:gd name="T10" fmla="*/ 382 w 580"/>
                <a:gd name="T11" fmla="*/ 1 h 714"/>
                <a:gd name="T12" fmla="*/ 445 w 580"/>
                <a:gd name="T13" fmla="*/ 17 h 714"/>
                <a:gd name="T14" fmla="*/ 500 w 580"/>
                <a:gd name="T15" fmla="*/ 52 h 714"/>
                <a:gd name="T16" fmla="*/ 541 w 580"/>
                <a:gd name="T17" fmla="*/ 106 h 714"/>
                <a:gd name="T18" fmla="*/ 570 w 580"/>
                <a:gd name="T19" fmla="*/ 179 h 714"/>
                <a:gd name="T20" fmla="*/ 580 w 580"/>
                <a:gd name="T21" fmla="*/ 273 h 714"/>
                <a:gd name="T22" fmla="*/ 576 w 580"/>
                <a:gd name="T23" fmla="*/ 346 h 714"/>
                <a:gd name="T24" fmla="*/ 553 w 580"/>
                <a:gd name="T25" fmla="*/ 425 h 714"/>
                <a:gd name="T26" fmla="*/ 514 w 580"/>
                <a:gd name="T27" fmla="*/ 485 h 714"/>
                <a:gd name="T28" fmla="*/ 464 w 580"/>
                <a:gd name="T29" fmla="*/ 527 h 714"/>
                <a:gd name="T30" fmla="*/ 403 w 580"/>
                <a:gd name="T31" fmla="*/ 549 h 714"/>
                <a:gd name="T32" fmla="*/ 344 w 580"/>
                <a:gd name="T33" fmla="*/ 551 h 714"/>
                <a:gd name="T34" fmla="*/ 305 w 580"/>
                <a:gd name="T35" fmla="*/ 546 h 714"/>
                <a:gd name="T36" fmla="*/ 271 w 580"/>
                <a:gd name="T37" fmla="*/ 533 h 714"/>
                <a:gd name="T38" fmla="*/ 240 w 580"/>
                <a:gd name="T39" fmla="*/ 514 h 714"/>
                <a:gd name="T40" fmla="*/ 216 w 580"/>
                <a:gd name="T41" fmla="*/ 491 h 714"/>
                <a:gd name="T42" fmla="*/ 199 w 580"/>
                <a:gd name="T43" fmla="*/ 464 h 714"/>
                <a:gd name="T44" fmla="*/ 0 w 580"/>
                <a:gd name="T45" fmla="*/ 14 h 714"/>
                <a:gd name="T46" fmla="*/ 379 w 580"/>
                <a:gd name="T47" fmla="*/ 271 h 714"/>
                <a:gd name="T48" fmla="*/ 376 w 580"/>
                <a:gd name="T49" fmla="*/ 228 h 714"/>
                <a:gd name="T50" fmla="*/ 364 w 580"/>
                <a:gd name="T51" fmla="*/ 195 h 714"/>
                <a:gd name="T52" fmla="*/ 348 w 580"/>
                <a:gd name="T53" fmla="*/ 171 h 714"/>
                <a:gd name="T54" fmla="*/ 325 w 580"/>
                <a:gd name="T55" fmla="*/ 155 h 714"/>
                <a:gd name="T56" fmla="*/ 297 w 580"/>
                <a:gd name="T57" fmla="*/ 148 h 714"/>
                <a:gd name="T58" fmla="*/ 265 w 580"/>
                <a:gd name="T59" fmla="*/ 149 h 714"/>
                <a:gd name="T60" fmla="*/ 238 w 580"/>
                <a:gd name="T61" fmla="*/ 159 h 714"/>
                <a:gd name="T62" fmla="*/ 217 w 580"/>
                <a:gd name="T63" fmla="*/ 179 h 714"/>
                <a:gd name="T64" fmla="*/ 203 w 580"/>
                <a:gd name="T65" fmla="*/ 207 h 714"/>
                <a:gd name="T66" fmla="*/ 196 w 580"/>
                <a:gd name="T67" fmla="*/ 243 h 714"/>
                <a:gd name="T68" fmla="*/ 194 w 580"/>
                <a:gd name="T69" fmla="*/ 280 h 714"/>
                <a:gd name="T70" fmla="*/ 197 w 580"/>
                <a:gd name="T71" fmla="*/ 320 h 714"/>
                <a:gd name="T72" fmla="*/ 207 w 580"/>
                <a:gd name="T73" fmla="*/ 353 h 714"/>
                <a:gd name="T74" fmla="*/ 223 w 580"/>
                <a:gd name="T75" fmla="*/ 378 h 714"/>
                <a:gd name="T76" fmla="*/ 246 w 580"/>
                <a:gd name="T77" fmla="*/ 393 h 714"/>
                <a:gd name="T78" fmla="*/ 275 w 580"/>
                <a:gd name="T79" fmla="*/ 402 h 714"/>
                <a:gd name="T80" fmla="*/ 307 w 580"/>
                <a:gd name="T81" fmla="*/ 399 h 714"/>
                <a:gd name="T82" fmla="*/ 334 w 580"/>
                <a:gd name="T83" fmla="*/ 389 h 714"/>
                <a:gd name="T84" fmla="*/ 354 w 580"/>
                <a:gd name="T85" fmla="*/ 370 h 714"/>
                <a:gd name="T86" fmla="*/ 370 w 580"/>
                <a:gd name="T87" fmla="*/ 343 h 714"/>
                <a:gd name="T88" fmla="*/ 377 w 580"/>
                <a:gd name="T89" fmla="*/ 307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0" h="714">
                  <a:moveTo>
                    <a:pt x="0" y="14"/>
                  </a:moveTo>
                  <a:lnTo>
                    <a:pt x="199" y="14"/>
                  </a:lnTo>
                  <a:lnTo>
                    <a:pt x="199" y="90"/>
                  </a:lnTo>
                  <a:lnTo>
                    <a:pt x="210" y="73"/>
                  </a:lnTo>
                  <a:lnTo>
                    <a:pt x="225" y="56"/>
                  </a:lnTo>
                  <a:lnTo>
                    <a:pt x="233" y="49"/>
                  </a:lnTo>
                  <a:lnTo>
                    <a:pt x="242" y="40"/>
                  </a:lnTo>
                  <a:lnTo>
                    <a:pt x="251" y="33"/>
                  </a:lnTo>
                  <a:lnTo>
                    <a:pt x="261" y="27"/>
                  </a:lnTo>
                  <a:lnTo>
                    <a:pt x="271" y="22"/>
                  </a:lnTo>
                  <a:lnTo>
                    <a:pt x="282" y="16"/>
                  </a:lnTo>
                  <a:lnTo>
                    <a:pt x="294" y="11"/>
                  </a:lnTo>
                  <a:lnTo>
                    <a:pt x="305" y="7"/>
                  </a:lnTo>
                  <a:lnTo>
                    <a:pt x="318" y="4"/>
                  </a:lnTo>
                  <a:lnTo>
                    <a:pt x="331" y="3"/>
                  </a:lnTo>
                  <a:lnTo>
                    <a:pt x="346" y="1"/>
                  </a:lnTo>
                  <a:lnTo>
                    <a:pt x="360" y="0"/>
                  </a:lnTo>
                  <a:lnTo>
                    <a:pt x="382" y="1"/>
                  </a:lnTo>
                  <a:lnTo>
                    <a:pt x="403" y="4"/>
                  </a:lnTo>
                  <a:lnTo>
                    <a:pt x="425" y="10"/>
                  </a:lnTo>
                  <a:lnTo>
                    <a:pt x="445" y="17"/>
                  </a:lnTo>
                  <a:lnTo>
                    <a:pt x="464" y="27"/>
                  </a:lnTo>
                  <a:lnTo>
                    <a:pt x="482" y="39"/>
                  </a:lnTo>
                  <a:lnTo>
                    <a:pt x="500" y="52"/>
                  </a:lnTo>
                  <a:lnTo>
                    <a:pt x="515" y="67"/>
                  </a:lnTo>
                  <a:lnTo>
                    <a:pt x="528" y="86"/>
                  </a:lnTo>
                  <a:lnTo>
                    <a:pt x="541" y="106"/>
                  </a:lnTo>
                  <a:lnTo>
                    <a:pt x="553" y="129"/>
                  </a:lnTo>
                  <a:lnTo>
                    <a:pt x="563" y="154"/>
                  </a:lnTo>
                  <a:lnTo>
                    <a:pt x="570" y="179"/>
                  </a:lnTo>
                  <a:lnTo>
                    <a:pt x="576" y="210"/>
                  </a:lnTo>
                  <a:lnTo>
                    <a:pt x="579" y="240"/>
                  </a:lnTo>
                  <a:lnTo>
                    <a:pt x="580" y="273"/>
                  </a:lnTo>
                  <a:lnTo>
                    <a:pt x="580" y="281"/>
                  </a:lnTo>
                  <a:lnTo>
                    <a:pt x="579" y="314"/>
                  </a:lnTo>
                  <a:lnTo>
                    <a:pt x="576" y="346"/>
                  </a:lnTo>
                  <a:lnTo>
                    <a:pt x="570" y="375"/>
                  </a:lnTo>
                  <a:lnTo>
                    <a:pt x="563" y="401"/>
                  </a:lnTo>
                  <a:lnTo>
                    <a:pt x="553" y="425"/>
                  </a:lnTo>
                  <a:lnTo>
                    <a:pt x="541" y="448"/>
                  </a:lnTo>
                  <a:lnTo>
                    <a:pt x="528" y="468"/>
                  </a:lnTo>
                  <a:lnTo>
                    <a:pt x="514" y="485"/>
                  </a:lnTo>
                  <a:lnTo>
                    <a:pt x="498" y="501"/>
                  </a:lnTo>
                  <a:lnTo>
                    <a:pt x="481" y="516"/>
                  </a:lnTo>
                  <a:lnTo>
                    <a:pt x="464" y="527"/>
                  </a:lnTo>
                  <a:lnTo>
                    <a:pt x="443" y="536"/>
                  </a:lnTo>
                  <a:lnTo>
                    <a:pt x="423" y="543"/>
                  </a:lnTo>
                  <a:lnTo>
                    <a:pt x="403" y="549"/>
                  </a:lnTo>
                  <a:lnTo>
                    <a:pt x="382" y="551"/>
                  </a:lnTo>
                  <a:lnTo>
                    <a:pt x="359" y="553"/>
                  </a:lnTo>
                  <a:lnTo>
                    <a:pt x="344" y="551"/>
                  </a:lnTo>
                  <a:lnTo>
                    <a:pt x="331" y="550"/>
                  </a:lnTo>
                  <a:lnTo>
                    <a:pt x="317" y="549"/>
                  </a:lnTo>
                  <a:lnTo>
                    <a:pt x="305" y="546"/>
                  </a:lnTo>
                  <a:lnTo>
                    <a:pt x="292" y="543"/>
                  </a:lnTo>
                  <a:lnTo>
                    <a:pt x="281" y="538"/>
                  </a:lnTo>
                  <a:lnTo>
                    <a:pt x="271" y="533"/>
                  </a:lnTo>
                  <a:lnTo>
                    <a:pt x="259" y="527"/>
                  </a:lnTo>
                  <a:lnTo>
                    <a:pt x="249" y="521"/>
                  </a:lnTo>
                  <a:lnTo>
                    <a:pt x="240" y="514"/>
                  </a:lnTo>
                  <a:lnTo>
                    <a:pt x="232" y="507"/>
                  </a:lnTo>
                  <a:lnTo>
                    <a:pt x="225" y="500"/>
                  </a:lnTo>
                  <a:lnTo>
                    <a:pt x="216" y="491"/>
                  </a:lnTo>
                  <a:lnTo>
                    <a:pt x="210" y="482"/>
                  </a:lnTo>
                  <a:lnTo>
                    <a:pt x="204" y="474"/>
                  </a:lnTo>
                  <a:lnTo>
                    <a:pt x="199" y="464"/>
                  </a:lnTo>
                  <a:lnTo>
                    <a:pt x="199" y="714"/>
                  </a:lnTo>
                  <a:lnTo>
                    <a:pt x="0" y="714"/>
                  </a:lnTo>
                  <a:lnTo>
                    <a:pt x="0" y="14"/>
                  </a:lnTo>
                  <a:close/>
                  <a:moveTo>
                    <a:pt x="379" y="280"/>
                  </a:moveTo>
                  <a:lnTo>
                    <a:pt x="379" y="280"/>
                  </a:lnTo>
                  <a:lnTo>
                    <a:pt x="379" y="271"/>
                  </a:lnTo>
                  <a:lnTo>
                    <a:pt x="379" y="256"/>
                  </a:lnTo>
                  <a:lnTo>
                    <a:pt x="377" y="241"/>
                  </a:lnTo>
                  <a:lnTo>
                    <a:pt x="376" y="228"/>
                  </a:lnTo>
                  <a:lnTo>
                    <a:pt x="373" y="217"/>
                  </a:lnTo>
                  <a:lnTo>
                    <a:pt x="369" y="205"/>
                  </a:lnTo>
                  <a:lnTo>
                    <a:pt x="364" y="195"/>
                  </a:lnTo>
                  <a:lnTo>
                    <a:pt x="360" y="185"/>
                  </a:lnTo>
                  <a:lnTo>
                    <a:pt x="354" y="178"/>
                  </a:lnTo>
                  <a:lnTo>
                    <a:pt x="348" y="171"/>
                  </a:lnTo>
                  <a:lnTo>
                    <a:pt x="341" y="164"/>
                  </a:lnTo>
                  <a:lnTo>
                    <a:pt x="333" y="159"/>
                  </a:lnTo>
                  <a:lnTo>
                    <a:pt x="325" y="155"/>
                  </a:lnTo>
                  <a:lnTo>
                    <a:pt x="315" y="151"/>
                  </a:lnTo>
                  <a:lnTo>
                    <a:pt x="307" y="149"/>
                  </a:lnTo>
                  <a:lnTo>
                    <a:pt x="297" y="148"/>
                  </a:lnTo>
                  <a:lnTo>
                    <a:pt x="285" y="146"/>
                  </a:lnTo>
                  <a:lnTo>
                    <a:pt x="275" y="148"/>
                  </a:lnTo>
                  <a:lnTo>
                    <a:pt x="265" y="149"/>
                  </a:lnTo>
                  <a:lnTo>
                    <a:pt x="255" y="152"/>
                  </a:lnTo>
                  <a:lnTo>
                    <a:pt x="246" y="155"/>
                  </a:lnTo>
                  <a:lnTo>
                    <a:pt x="238" y="159"/>
                  </a:lnTo>
                  <a:lnTo>
                    <a:pt x="230" y="165"/>
                  </a:lnTo>
                  <a:lnTo>
                    <a:pt x="223" y="172"/>
                  </a:lnTo>
                  <a:lnTo>
                    <a:pt x="217" y="179"/>
                  </a:lnTo>
                  <a:lnTo>
                    <a:pt x="212" y="188"/>
                  </a:lnTo>
                  <a:lnTo>
                    <a:pt x="207" y="197"/>
                  </a:lnTo>
                  <a:lnTo>
                    <a:pt x="203" y="207"/>
                  </a:lnTo>
                  <a:lnTo>
                    <a:pt x="200" y="218"/>
                  </a:lnTo>
                  <a:lnTo>
                    <a:pt x="197" y="230"/>
                  </a:lnTo>
                  <a:lnTo>
                    <a:pt x="196" y="243"/>
                  </a:lnTo>
                  <a:lnTo>
                    <a:pt x="194" y="257"/>
                  </a:lnTo>
                  <a:lnTo>
                    <a:pt x="194" y="271"/>
                  </a:lnTo>
                  <a:lnTo>
                    <a:pt x="194" y="280"/>
                  </a:lnTo>
                  <a:lnTo>
                    <a:pt x="194" y="294"/>
                  </a:lnTo>
                  <a:lnTo>
                    <a:pt x="196" y="309"/>
                  </a:lnTo>
                  <a:lnTo>
                    <a:pt x="197" y="320"/>
                  </a:lnTo>
                  <a:lnTo>
                    <a:pt x="200" y="333"/>
                  </a:lnTo>
                  <a:lnTo>
                    <a:pt x="203" y="343"/>
                  </a:lnTo>
                  <a:lnTo>
                    <a:pt x="207" y="353"/>
                  </a:lnTo>
                  <a:lnTo>
                    <a:pt x="212" y="363"/>
                  </a:lnTo>
                  <a:lnTo>
                    <a:pt x="217" y="370"/>
                  </a:lnTo>
                  <a:lnTo>
                    <a:pt x="223" y="378"/>
                  </a:lnTo>
                  <a:lnTo>
                    <a:pt x="230" y="385"/>
                  </a:lnTo>
                  <a:lnTo>
                    <a:pt x="238" y="389"/>
                  </a:lnTo>
                  <a:lnTo>
                    <a:pt x="246" y="393"/>
                  </a:lnTo>
                  <a:lnTo>
                    <a:pt x="255" y="398"/>
                  </a:lnTo>
                  <a:lnTo>
                    <a:pt x="265" y="401"/>
                  </a:lnTo>
                  <a:lnTo>
                    <a:pt x="275" y="402"/>
                  </a:lnTo>
                  <a:lnTo>
                    <a:pt x="287" y="402"/>
                  </a:lnTo>
                  <a:lnTo>
                    <a:pt x="297" y="402"/>
                  </a:lnTo>
                  <a:lnTo>
                    <a:pt x="307" y="399"/>
                  </a:lnTo>
                  <a:lnTo>
                    <a:pt x="317" y="398"/>
                  </a:lnTo>
                  <a:lnTo>
                    <a:pt x="325" y="393"/>
                  </a:lnTo>
                  <a:lnTo>
                    <a:pt x="334" y="389"/>
                  </a:lnTo>
                  <a:lnTo>
                    <a:pt x="341" y="385"/>
                  </a:lnTo>
                  <a:lnTo>
                    <a:pt x="348" y="378"/>
                  </a:lnTo>
                  <a:lnTo>
                    <a:pt x="354" y="370"/>
                  </a:lnTo>
                  <a:lnTo>
                    <a:pt x="360" y="362"/>
                  </a:lnTo>
                  <a:lnTo>
                    <a:pt x="366" y="353"/>
                  </a:lnTo>
                  <a:lnTo>
                    <a:pt x="370" y="343"/>
                  </a:lnTo>
                  <a:lnTo>
                    <a:pt x="373" y="333"/>
                  </a:lnTo>
                  <a:lnTo>
                    <a:pt x="376" y="320"/>
                  </a:lnTo>
                  <a:lnTo>
                    <a:pt x="377" y="307"/>
                  </a:lnTo>
                  <a:lnTo>
                    <a:pt x="379" y="294"/>
                  </a:lnTo>
                  <a:lnTo>
                    <a:pt x="379" y="28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3" name="Freeform 57">
              <a:extLst>
                <a:ext uri="{FF2B5EF4-FFF2-40B4-BE49-F238E27FC236}">
                  <a16:creationId xmlns:a16="http://schemas.microsoft.com/office/drawing/2014/main" id="{6FBDB2DD-9E51-2B7E-8B58-6B7AE3CDD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0663" y="3894138"/>
              <a:ext cx="114300" cy="57150"/>
            </a:xfrm>
            <a:custGeom>
              <a:avLst/>
              <a:gdLst>
                <a:gd name="T0" fmla="*/ 108 w 216"/>
                <a:gd name="T1" fmla="*/ 46 h 108"/>
                <a:gd name="T2" fmla="*/ 98 w 216"/>
                <a:gd name="T3" fmla="*/ 44 h 108"/>
                <a:gd name="T4" fmla="*/ 89 w 216"/>
                <a:gd name="T5" fmla="*/ 41 h 108"/>
                <a:gd name="T6" fmla="*/ 82 w 216"/>
                <a:gd name="T7" fmla="*/ 37 h 108"/>
                <a:gd name="T8" fmla="*/ 75 w 216"/>
                <a:gd name="T9" fmla="*/ 33 h 108"/>
                <a:gd name="T10" fmla="*/ 69 w 216"/>
                <a:gd name="T11" fmla="*/ 26 h 108"/>
                <a:gd name="T12" fmla="*/ 65 w 216"/>
                <a:gd name="T13" fmla="*/ 17 h 108"/>
                <a:gd name="T14" fmla="*/ 62 w 216"/>
                <a:gd name="T15" fmla="*/ 8 h 108"/>
                <a:gd name="T16" fmla="*/ 62 w 216"/>
                <a:gd name="T17" fmla="*/ 0 h 108"/>
                <a:gd name="T18" fmla="*/ 0 w 216"/>
                <a:gd name="T19" fmla="*/ 0 h 108"/>
                <a:gd name="T20" fmla="*/ 0 w 216"/>
                <a:gd name="T21" fmla="*/ 11 h 108"/>
                <a:gd name="T22" fmla="*/ 2 w 216"/>
                <a:gd name="T23" fmla="*/ 21 h 108"/>
                <a:gd name="T24" fmla="*/ 4 w 216"/>
                <a:gd name="T25" fmla="*/ 31 h 108"/>
                <a:gd name="T26" fmla="*/ 7 w 216"/>
                <a:gd name="T27" fmla="*/ 41 h 108"/>
                <a:gd name="T28" fmla="*/ 13 w 216"/>
                <a:gd name="T29" fmla="*/ 52 h 108"/>
                <a:gd name="T30" fmla="*/ 17 w 216"/>
                <a:gd name="T31" fmla="*/ 60 h 108"/>
                <a:gd name="T32" fmla="*/ 25 w 216"/>
                <a:gd name="T33" fmla="*/ 69 h 108"/>
                <a:gd name="T34" fmla="*/ 32 w 216"/>
                <a:gd name="T35" fmla="*/ 76 h 108"/>
                <a:gd name="T36" fmla="*/ 39 w 216"/>
                <a:gd name="T37" fmla="*/ 83 h 108"/>
                <a:gd name="T38" fmla="*/ 48 w 216"/>
                <a:gd name="T39" fmla="*/ 89 h 108"/>
                <a:gd name="T40" fmla="*/ 56 w 216"/>
                <a:gd name="T41" fmla="*/ 95 h 108"/>
                <a:gd name="T42" fmla="*/ 65 w 216"/>
                <a:gd name="T43" fmla="*/ 99 h 108"/>
                <a:gd name="T44" fmla="*/ 75 w 216"/>
                <a:gd name="T45" fmla="*/ 103 h 108"/>
                <a:gd name="T46" fmla="*/ 87 w 216"/>
                <a:gd name="T47" fmla="*/ 106 h 108"/>
                <a:gd name="T48" fmla="*/ 97 w 216"/>
                <a:gd name="T49" fmla="*/ 108 h 108"/>
                <a:gd name="T50" fmla="*/ 108 w 216"/>
                <a:gd name="T51" fmla="*/ 108 h 108"/>
                <a:gd name="T52" fmla="*/ 118 w 216"/>
                <a:gd name="T53" fmla="*/ 108 h 108"/>
                <a:gd name="T54" fmla="*/ 130 w 216"/>
                <a:gd name="T55" fmla="*/ 106 h 108"/>
                <a:gd name="T56" fmla="*/ 140 w 216"/>
                <a:gd name="T57" fmla="*/ 103 h 108"/>
                <a:gd name="T58" fmla="*/ 150 w 216"/>
                <a:gd name="T59" fmla="*/ 99 h 108"/>
                <a:gd name="T60" fmla="*/ 160 w 216"/>
                <a:gd name="T61" fmla="*/ 95 h 108"/>
                <a:gd name="T62" fmla="*/ 169 w 216"/>
                <a:gd name="T63" fmla="*/ 89 h 108"/>
                <a:gd name="T64" fmla="*/ 176 w 216"/>
                <a:gd name="T65" fmla="*/ 83 h 108"/>
                <a:gd name="T66" fmla="*/ 184 w 216"/>
                <a:gd name="T67" fmla="*/ 76 h 108"/>
                <a:gd name="T68" fmla="*/ 192 w 216"/>
                <a:gd name="T69" fmla="*/ 69 h 108"/>
                <a:gd name="T70" fmla="*/ 197 w 216"/>
                <a:gd name="T71" fmla="*/ 60 h 108"/>
                <a:gd name="T72" fmla="*/ 203 w 216"/>
                <a:gd name="T73" fmla="*/ 52 h 108"/>
                <a:gd name="T74" fmla="*/ 207 w 216"/>
                <a:gd name="T75" fmla="*/ 41 h 108"/>
                <a:gd name="T76" fmla="*/ 212 w 216"/>
                <a:gd name="T77" fmla="*/ 31 h 108"/>
                <a:gd name="T78" fmla="*/ 213 w 216"/>
                <a:gd name="T79" fmla="*/ 21 h 108"/>
                <a:gd name="T80" fmla="*/ 215 w 216"/>
                <a:gd name="T81" fmla="*/ 11 h 108"/>
                <a:gd name="T82" fmla="*/ 216 w 216"/>
                <a:gd name="T83" fmla="*/ 0 h 108"/>
                <a:gd name="T84" fmla="*/ 154 w 216"/>
                <a:gd name="T85" fmla="*/ 0 h 108"/>
                <a:gd name="T86" fmla="*/ 153 w 216"/>
                <a:gd name="T87" fmla="*/ 8 h 108"/>
                <a:gd name="T88" fmla="*/ 150 w 216"/>
                <a:gd name="T89" fmla="*/ 17 h 108"/>
                <a:gd name="T90" fmla="*/ 146 w 216"/>
                <a:gd name="T91" fmla="*/ 26 h 108"/>
                <a:gd name="T92" fmla="*/ 140 w 216"/>
                <a:gd name="T93" fmla="*/ 33 h 108"/>
                <a:gd name="T94" fmla="*/ 134 w 216"/>
                <a:gd name="T95" fmla="*/ 37 h 108"/>
                <a:gd name="T96" fmla="*/ 125 w 216"/>
                <a:gd name="T97" fmla="*/ 41 h 108"/>
                <a:gd name="T98" fmla="*/ 117 w 216"/>
                <a:gd name="T99" fmla="*/ 44 h 108"/>
                <a:gd name="T100" fmla="*/ 108 w 216"/>
                <a:gd name="T101" fmla="*/ 4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6" h="108">
                  <a:moveTo>
                    <a:pt x="108" y="46"/>
                  </a:moveTo>
                  <a:lnTo>
                    <a:pt x="98" y="44"/>
                  </a:lnTo>
                  <a:lnTo>
                    <a:pt x="89" y="41"/>
                  </a:lnTo>
                  <a:lnTo>
                    <a:pt x="82" y="37"/>
                  </a:lnTo>
                  <a:lnTo>
                    <a:pt x="75" y="33"/>
                  </a:lnTo>
                  <a:lnTo>
                    <a:pt x="69" y="26"/>
                  </a:lnTo>
                  <a:lnTo>
                    <a:pt x="65" y="17"/>
                  </a:lnTo>
                  <a:lnTo>
                    <a:pt x="62" y="8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" y="21"/>
                  </a:lnTo>
                  <a:lnTo>
                    <a:pt x="4" y="31"/>
                  </a:lnTo>
                  <a:lnTo>
                    <a:pt x="7" y="41"/>
                  </a:lnTo>
                  <a:lnTo>
                    <a:pt x="13" y="52"/>
                  </a:lnTo>
                  <a:lnTo>
                    <a:pt x="17" y="60"/>
                  </a:lnTo>
                  <a:lnTo>
                    <a:pt x="25" y="69"/>
                  </a:lnTo>
                  <a:lnTo>
                    <a:pt x="32" y="76"/>
                  </a:lnTo>
                  <a:lnTo>
                    <a:pt x="39" y="83"/>
                  </a:lnTo>
                  <a:lnTo>
                    <a:pt x="48" y="89"/>
                  </a:lnTo>
                  <a:lnTo>
                    <a:pt x="56" y="95"/>
                  </a:lnTo>
                  <a:lnTo>
                    <a:pt x="65" y="99"/>
                  </a:lnTo>
                  <a:lnTo>
                    <a:pt x="75" y="103"/>
                  </a:lnTo>
                  <a:lnTo>
                    <a:pt x="87" y="106"/>
                  </a:lnTo>
                  <a:lnTo>
                    <a:pt x="97" y="108"/>
                  </a:lnTo>
                  <a:lnTo>
                    <a:pt x="108" y="108"/>
                  </a:lnTo>
                  <a:lnTo>
                    <a:pt x="118" y="108"/>
                  </a:lnTo>
                  <a:lnTo>
                    <a:pt x="130" y="106"/>
                  </a:lnTo>
                  <a:lnTo>
                    <a:pt x="140" y="103"/>
                  </a:lnTo>
                  <a:lnTo>
                    <a:pt x="150" y="99"/>
                  </a:lnTo>
                  <a:lnTo>
                    <a:pt x="160" y="95"/>
                  </a:lnTo>
                  <a:lnTo>
                    <a:pt x="169" y="89"/>
                  </a:lnTo>
                  <a:lnTo>
                    <a:pt x="176" y="83"/>
                  </a:lnTo>
                  <a:lnTo>
                    <a:pt x="184" y="76"/>
                  </a:lnTo>
                  <a:lnTo>
                    <a:pt x="192" y="69"/>
                  </a:lnTo>
                  <a:lnTo>
                    <a:pt x="197" y="60"/>
                  </a:lnTo>
                  <a:lnTo>
                    <a:pt x="203" y="52"/>
                  </a:lnTo>
                  <a:lnTo>
                    <a:pt x="207" y="41"/>
                  </a:lnTo>
                  <a:lnTo>
                    <a:pt x="212" y="31"/>
                  </a:lnTo>
                  <a:lnTo>
                    <a:pt x="213" y="21"/>
                  </a:lnTo>
                  <a:lnTo>
                    <a:pt x="215" y="11"/>
                  </a:lnTo>
                  <a:lnTo>
                    <a:pt x="216" y="0"/>
                  </a:lnTo>
                  <a:lnTo>
                    <a:pt x="154" y="0"/>
                  </a:lnTo>
                  <a:lnTo>
                    <a:pt x="153" y="8"/>
                  </a:lnTo>
                  <a:lnTo>
                    <a:pt x="150" y="17"/>
                  </a:lnTo>
                  <a:lnTo>
                    <a:pt x="146" y="26"/>
                  </a:lnTo>
                  <a:lnTo>
                    <a:pt x="140" y="33"/>
                  </a:lnTo>
                  <a:lnTo>
                    <a:pt x="134" y="37"/>
                  </a:lnTo>
                  <a:lnTo>
                    <a:pt x="125" y="41"/>
                  </a:lnTo>
                  <a:lnTo>
                    <a:pt x="117" y="44"/>
                  </a:lnTo>
                  <a:lnTo>
                    <a:pt x="108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4" name="Freeform 58">
              <a:extLst>
                <a:ext uri="{FF2B5EF4-FFF2-40B4-BE49-F238E27FC236}">
                  <a16:creationId xmlns:a16="http://schemas.microsoft.com/office/drawing/2014/main" id="{A58CF3DA-C774-7D81-AB5B-3C2D0A09D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0975" y="3894138"/>
              <a:ext cx="193675" cy="96838"/>
            </a:xfrm>
            <a:custGeom>
              <a:avLst/>
              <a:gdLst>
                <a:gd name="T0" fmla="*/ 305 w 368"/>
                <a:gd name="T1" fmla="*/ 13 h 184"/>
                <a:gd name="T2" fmla="*/ 301 w 368"/>
                <a:gd name="T3" fmla="*/ 36 h 184"/>
                <a:gd name="T4" fmla="*/ 291 w 368"/>
                <a:gd name="T5" fmla="*/ 57 h 184"/>
                <a:gd name="T6" fmla="*/ 278 w 368"/>
                <a:gd name="T7" fmla="*/ 77 h 184"/>
                <a:gd name="T8" fmla="*/ 262 w 368"/>
                <a:gd name="T9" fmla="*/ 93 h 184"/>
                <a:gd name="T10" fmla="*/ 242 w 368"/>
                <a:gd name="T11" fmla="*/ 106 h 184"/>
                <a:gd name="T12" fmla="*/ 220 w 368"/>
                <a:gd name="T13" fmla="*/ 116 h 184"/>
                <a:gd name="T14" fmla="*/ 196 w 368"/>
                <a:gd name="T15" fmla="*/ 120 h 184"/>
                <a:gd name="T16" fmla="*/ 171 w 368"/>
                <a:gd name="T17" fmla="*/ 120 h 184"/>
                <a:gd name="T18" fmla="*/ 148 w 368"/>
                <a:gd name="T19" fmla="*/ 116 h 184"/>
                <a:gd name="T20" fmla="*/ 125 w 368"/>
                <a:gd name="T21" fmla="*/ 106 h 184"/>
                <a:gd name="T22" fmla="*/ 106 w 368"/>
                <a:gd name="T23" fmla="*/ 93 h 184"/>
                <a:gd name="T24" fmla="*/ 89 w 368"/>
                <a:gd name="T25" fmla="*/ 77 h 184"/>
                <a:gd name="T26" fmla="*/ 76 w 368"/>
                <a:gd name="T27" fmla="*/ 57 h 184"/>
                <a:gd name="T28" fmla="*/ 67 w 368"/>
                <a:gd name="T29" fmla="*/ 36 h 184"/>
                <a:gd name="T30" fmla="*/ 62 w 368"/>
                <a:gd name="T31" fmla="*/ 13 h 184"/>
                <a:gd name="T32" fmla="*/ 0 w 368"/>
                <a:gd name="T33" fmla="*/ 0 h 184"/>
                <a:gd name="T34" fmla="*/ 3 w 368"/>
                <a:gd name="T35" fmla="*/ 37 h 184"/>
                <a:gd name="T36" fmla="*/ 14 w 368"/>
                <a:gd name="T37" fmla="*/ 72 h 184"/>
                <a:gd name="T38" fmla="*/ 31 w 368"/>
                <a:gd name="T39" fmla="*/ 102 h 184"/>
                <a:gd name="T40" fmla="*/ 53 w 368"/>
                <a:gd name="T41" fmla="*/ 129 h 184"/>
                <a:gd name="T42" fmla="*/ 80 w 368"/>
                <a:gd name="T43" fmla="*/ 152 h 184"/>
                <a:gd name="T44" fmla="*/ 112 w 368"/>
                <a:gd name="T45" fmla="*/ 169 h 184"/>
                <a:gd name="T46" fmla="*/ 147 w 368"/>
                <a:gd name="T47" fmla="*/ 179 h 184"/>
                <a:gd name="T48" fmla="*/ 184 w 368"/>
                <a:gd name="T49" fmla="*/ 184 h 184"/>
                <a:gd name="T50" fmla="*/ 220 w 368"/>
                <a:gd name="T51" fmla="*/ 179 h 184"/>
                <a:gd name="T52" fmla="*/ 256 w 368"/>
                <a:gd name="T53" fmla="*/ 169 h 184"/>
                <a:gd name="T54" fmla="*/ 286 w 368"/>
                <a:gd name="T55" fmla="*/ 152 h 184"/>
                <a:gd name="T56" fmla="*/ 314 w 368"/>
                <a:gd name="T57" fmla="*/ 129 h 184"/>
                <a:gd name="T58" fmla="*/ 337 w 368"/>
                <a:gd name="T59" fmla="*/ 102 h 184"/>
                <a:gd name="T60" fmla="*/ 354 w 368"/>
                <a:gd name="T61" fmla="*/ 72 h 184"/>
                <a:gd name="T62" fmla="*/ 364 w 368"/>
                <a:gd name="T63" fmla="*/ 37 h 184"/>
                <a:gd name="T64" fmla="*/ 368 w 368"/>
                <a:gd name="T6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8" h="184">
                  <a:moveTo>
                    <a:pt x="305" y="0"/>
                  </a:moveTo>
                  <a:lnTo>
                    <a:pt x="305" y="13"/>
                  </a:lnTo>
                  <a:lnTo>
                    <a:pt x="304" y="24"/>
                  </a:lnTo>
                  <a:lnTo>
                    <a:pt x="301" y="36"/>
                  </a:lnTo>
                  <a:lnTo>
                    <a:pt x="296" y="47"/>
                  </a:lnTo>
                  <a:lnTo>
                    <a:pt x="291" y="57"/>
                  </a:lnTo>
                  <a:lnTo>
                    <a:pt x="285" y="67"/>
                  </a:lnTo>
                  <a:lnTo>
                    <a:pt x="278" y="77"/>
                  </a:lnTo>
                  <a:lnTo>
                    <a:pt x="271" y="86"/>
                  </a:lnTo>
                  <a:lnTo>
                    <a:pt x="262" y="93"/>
                  </a:lnTo>
                  <a:lnTo>
                    <a:pt x="252" y="100"/>
                  </a:lnTo>
                  <a:lnTo>
                    <a:pt x="242" y="106"/>
                  </a:lnTo>
                  <a:lnTo>
                    <a:pt x="232" y="112"/>
                  </a:lnTo>
                  <a:lnTo>
                    <a:pt x="220" y="116"/>
                  </a:lnTo>
                  <a:lnTo>
                    <a:pt x="209" y="119"/>
                  </a:lnTo>
                  <a:lnTo>
                    <a:pt x="196" y="120"/>
                  </a:lnTo>
                  <a:lnTo>
                    <a:pt x="184" y="122"/>
                  </a:lnTo>
                  <a:lnTo>
                    <a:pt x="171" y="120"/>
                  </a:lnTo>
                  <a:lnTo>
                    <a:pt x="160" y="119"/>
                  </a:lnTo>
                  <a:lnTo>
                    <a:pt x="148" y="116"/>
                  </a:lnTo>
                  <a:lnTo>
                    <a:pt x="137" y="112"/>
                  </a:lnTo>
                  <a:lnTo>
                    <a:pt x="125" y="106"/>
                  </a:lnTo>
                  <a:lnTo>
                    <a:pt x="115" y="100"/>
                  </a:lnTo>
                  <a:lnTo>
                    <a:pt x="106" y="93"/>
                  </a:lnTo>
                  <a:lnTo>
                    <a:pt x="98" y="86"/>
                  </a:lnTo>
                  <a:lnTo>
                    <a:pt x="89" y="77"/>
                  </a:lnTo>
                  <a:lnTo>
                    <a:pt x="82" y="67"/>
                  </a:lnTo>
                  <a:lnTo>
                    <a:pt x="76" y="57"/>
                  </a:lnTo>
                  <a:lnTo>
                    <a:pt x="72" y="47"/>
                  </a:lnTo>
                  <a:lnTo>
                    <a:pt x="67" y="36"/>
                  </a:lnTo>
                  <a:lnTo>
                    <a:pt x="65" y="24"/>
                  </a:lnTo>
                  <a:lnTo>
                    <a:pt x="62" y="13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3" y="37"/>
                  </a:lnTo>
                  <a:lnTo>
                    <a:pt x="7" y="54"/>
                  </a:lnTo>
                  <a:lnTo>
                    <a:pt x="14" y="72"/>
                  </a:lnTo>
                  <a:lnTo>
                    <a:pt x="21" y="87"/>
                  </a:lnTo>
                  <a:lnTo>
                    <a:pt x="31" y="102"/>
                  </a:lnTo>
                  <a:lnTo>
                    <a:pt x="42" y="116"/>
                  </a:lnTo>
                  <a:lnTo>
                    <a:pt x="53" y="129"/>
                  </a:lnTo>
                  <a:lnTo>
                    <a:pt x="66" y="142"/>
                  </a:lnTo>
                  <a:lnTo>
                    <a:pt x="80" y="152"/>
                  </a:lnTo>
                  <a:lnTo>
                    <a:pt x="96" y="161"/>
                  </a:lnTo>
                  <a:lnTo>
                    <a:pt x="112" y="169"/>
                  </a:lnTo>
                  <a:lnTo>
                    <a:pt x="129" y="175"/>
                  </a:lnTo>
                  <a:lnTo>
                    <a:pt x="147" y="179"/>
                  </a:lnTo>
                  <a:lnTo>
                    <a:pt x="165" y="182"/>
                  </a:lnTo>
                  <a:lnTo>
                    <a:pt x="184" y="184"/>
                  </a:lnTo>
                  <a:lnTo>
                    <a:pt x="203" y="182"/>
                  </a:lnTo>
                  <a:lnTo>
                    <a:pt x="220" y="179"/>
                  </a:lnTo>
                  <a:lnTo>
                    <a:pt x="239" y="175"/>
                  </a:lnTo>
                  <a:lnTo>
                    <a:pt x="256" y="169"/>
                  </a:lnTo>
                  <a:lnTo>
                    <a:pt x="272" y="161"/>
                  </a:lnTo>
                  <a:lnTo>
                    <a:pt x="286" y="152"/>
                  </a:lnTo>
                  <a:lnTo>
                    <a:pt x="301" y="142"/>
                  </a:lnTo>
                  <a:lnTo>
                    <a:pt x="314" y="129"/>
                  </a:lnTo>
                  <a:lnTo>
                    <a:pt x="325" y="116"/>
                  </a:lnTo>
                  <a:lnTo>
                    <a:pt x="337" y="102"/>
                  </a:lnTo>
                  <a:lnTo>
                    <a:pt x="345" y="87"/>
                  </a:lnTo>
                  <a:lnTo>
                    <a:pt x="354" y="72"/>
                  </a:lnTo>
                  <a:lnTo>
                    <a:pt x="360" y="54"/>
                  </a:lnTo>
                  <a:lnTo>
                    <a:pt x="364" y="37"/>
                  </a:lnTo>
                  <a:lnTo>
                    <a:pt x="367" y="19"/>
                  </a:lnTo>
                  <a:lnTo>
                    <a:pt x="368" y="0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055" name="Freeform 59">
            <a:extLst>
              <a:ext uri="{FF2B5EF4-FFF2-40B4-BE49-F238E27FC236}">
                <a16:creationId xmlns:a16="http://schemas.microsoft.com/office/drawing/2014/main" id="{2DFFDBD3-7F36-8A8D-3478-2BFDFDDD2516}"/>
              </a:ext>
            </a:extLst>
          </p:cNvPr>
          <p:cNvSpPr>
            <a:spLocks noEditPoints="1"/>
          </p:cNvSpPr>
          <p:nvPr/>
        </p:nvSpPr>
        <p:spPr bwMode="auto">
          <a:xfrm>
            <a:off x="671513" y="6011863"/>
            <a:ext cx="2755900" cy="222250"/>
          </a:xfrm>
          <a:custGeom>
            <a:avLst/>
            <a:gdLst>
              <a:gd name="T0" fmla="*/ 4971 w 5206"/>
              <a:gd name="T1" fmla="*/ 260 h 418"/>
              <a:gd name="T2" fmla="*/ 4831 w 5206"/>
              <a:gd name="T3" fmla="*/ 213 h 418"/>
              <a:gd name="T4" fmla="*/ 4970 w 5206"/>
              <a:gd name="T5" fmla="*/ 164 h 418"/>
              <a:gd name="T6" fmla="*/ 4797 w 5206"/>
              <a:gd name="T7" fmla="*/ 177 h 418"/>
              <a:gd name="T8" fmla="*/ 4751 w 5206"/>
              <a:gd name="T9" fmla="*/ 326 h 418"/>
              <a:gd name="T10" fmla="*/ 4710 w 5206"/>
              <a:gd name="T11" fmla="*/ 305 h 418"/>
              <a:gd name="T12" fmla="*/ 4520 w 5206"/>
              <a:gd name="T13" fmla="*/ 285 h 418"/>
              <a:gd name="T14" fmla="*/ 4536 w 5206"/>
              <a:gd name="T15" fmla="*/ 329 h 418"/>
              <a:gd name="T16" fmla="*/ 4245 w 5206"/>
              <a:gd name="T17" fmla="*/ 269 h 418"/>
              <a:gd name="T18" fmla="*/ 4293 w 5206"/>
              <a:gd name="T19" fmla="*/ 134 h 418"/>
              <a:gd name="T20" fmla="*/ 4366 w 5206"/>
              <a:gd name="T21" fmla="*/ 257 h 418"/>
              <a:gd name="T22" fmla="*/ 4404 w 5206"/>
              <a:gd name="T23" fmla="*/ 269 h 418"/>
              <a:gd name="T24" fmla="*/ 4277 w 5206"/>
              <a:gd name="T25" fmla="*/ 98 h 418"/>
              <a:gd name="T26" fmla="*/ 4226 w 5206"/>
              <a:gd name="T27" fmla="*/ 303 h 418"/>
              <a:gd name="T28" fmla="*/ 3956 w 5206"/>
              <a:gd name="T29" fmla="*/ 229 h 418"/>
              <a:gd name="T30" fmla="*/ 4071 w 5206"/>
              <a:gd name="T31" fmla="*/ 143 h 418"/>
              <a:gd name="T32" fmla="*/ 4064 w 5206"/>
              <a:gd name="T33" fmla="*/ 286 h 418"/>
              <a:gd name="T34" fmla="*/ 3987 w 5206"/>
              <a:gd name="T35" fmla="*/ 318 h 418"/>
              <a:gd name="T36" fmla="*/ 4144 w 5206"/>
              <a:gd name="T37" fmla="*/ 177 h 418"/>
              <a:gd name="T38" fmla="*/ 3758 w 5206"/>
              <a:gd name="T39" fmla="*/ 102 h 418"/>
              <a:gd name="T40" fmla="*/ 3724 w 5206"/>
              <a:gd name="T41" fmla="*/ 15 h 418"/>
              <a:gd name="T42" fmla="*/ 3616 w 5206"/>
              <a:gd name="T43" fmla="*/ 180 h 418"/>
              <a:gd name="T44" fmla="*/ 3386 w 5206"/>
              <a:gd name="T45" fmla="*/ 289 h 418"/>
              <a:gd name="T46" fmla="*/ 3365 w 5206"/>
              <a:gd name="T47" fmla="*/ 147 h 418"/>
              <a:gd name="T48" fmla="*/ 3488 w 5206"/>
              <a:gd name="T49" fmla="*/ 222 h 418"/>
              <a:gd name="T50" fmla="*/ 3347 w 5206"/>
              <a:gd name="T51" fmla="*/ 121 h 418"/>
              <a:gd name="T52" fmla="*/ 3494 w 5206"/>
              <a:gd name="T53" fmla="*/ 296 h 418"/>
              <a:gd name="T54" fmla="*/ 3426 w 5206"/>
              <a:gd name="T55" fmla="*/ 97 h 418"/>
              <a:gd name="T56" fmla="*/ 3220 w 5206"/>
              <a:gd name="T57" fmla="*/ 115 h 418"/>
              <a:gd name="T58" fmla="*/ 3102 w 5206"/>
              <a:gd name="T59" fmla="*/ 206 h 418"/>
              <a:gd name="T60" fmla="*/ 3135 w 5206"/>
              <a:gd name="T61" fmla="*/ 288 h 418"/>
              <a:gd name="T62" fmla="*/ 3243 w 5206"/>
              <a:gd name="T63" fmla="*/ 285 h 418"/>
              <a:gd name="T64" fmla="*/ 2949 w 5206"/>
              <a:gd name="T65" fmla="*/ 97 h 418"/>
              <a:gd name="T66" fmla="*/ 2941 w 5206"/>
              <a:gd name="T67" fmla="*/ 133 h 418"/>
              <a:gd name="T68" fmla="*/ 2984 w 5206"/>
              <a:gd name="T69" fmla="*/ 102 h 418"/>
              <a:gd name="T70" fmla="*/ 2683 w 5206"/>
              <a:gd name="T71" fmla="*/ 133 h 418"/>
              <a:gd name="T72" fmla="*/ 2658 w 5206"/>
              <a:gd name="T73" fmla="*/ 98 h 418"/>
              <a:gd name="T74" fmla="*/ 2608 w 5206"/>
              <a:gd name="T75" fmla="*/ 303 h 418"/>
              <a:gd name="T76" fmla="*/ 2697 w 5206"/>
              <a:gd name="T77" fmla="*/ 292 h 418"/>
              <a:gd name="T78" fmla="*/ 2462 w 5206"/>
              <a:gd name="T79" fmla="*/ 417 h 418"/>
              <a:gd name="T80" fmla="*/ 2523 w 5206"/>
              <a:gd name="T81" fmla="*/ 51 h 418"/>
              <a:gd name="T82" fmla="*/ 2483 w 5206"/>
              <a:gd name="T83" fmla="*/ 54 h 418"/>
              <a:gd name="T84" fmla="*/ 2318 w 5206"/>
              <a:gd name="T85" fmla="*/ 133 h 418"/>
              <a:gd name="T86" fmla="*/ 2294 w 5206"/>
              <a:gd name="T87" fmla="*/ 98 h 418"/>
              <a:gd name="T88" fmla="*/ 2244 w 5206"/>
              <a:gd name="T89" fmla="*/ 303 h 418"/>
              <a:gd name="T90" fmla="*/ 2333 w 5206"/>
              <a:gd name="T91" fmla="*/ 292 h 418"/>
              <a:gd name="T92" fmla="*/ 1910 w 5206"/>
              <a:gd name="T93" fmla="*/ 279 h 418"/>
              <a:gd name="T94" fmla="*/ 1930 w 5206"/>
              <a:gd name="T95" fmla="*/ 137 h 418"/>
              <a:gd name="T96" fmla="*/ 2026 w 5206"/>
              <a:gd name="T97" fmla="*/ 245 h 418"/>
              <a:gd name="T98" fmla="*/ 2045 w 5206"/>
              <a:gd name="T99" fmla="*/ 288 h 418"/>
              <a:gd name="T100" fmla="*/ 1954 w 5206"/>
              <a:gd name="T101" fmla="*/ 97 h 418"/>
              <a:gd name="T102" fmla="*/ 1863 w 5206"/>
              <a:gd name="T103" fmla="*/ 288 h 418"/>
              <a:gd name="T104" fmla="*/ 1469 w 5206"/>
              <a:gd name="T105" fmla="*/ 292 h 418"/>
              <a:gd name="T106" fmla="*/ 1404 w 5206"/>
              <a:gd name="T107" fmla="*/ 168 h 418"/>
              <a:gd name="T108" fmla="*/ 1545 w 5206"/>
              <a:gd name="T109" fmla="*/ 189 h 418"/>
              <a:gd name="T110" fmla="*/ 1541 w 5206"/>
              <a:gd name="T111" fmla="*/ 130 h 418"/>
              <a:gd name="T112" fmla="*/ 1352 w 5206"/>
              <a:gd name="T113" fmla="*/ 213 h 418"/>
              <a:gd name="T114" fmla="*/ 1541 w 5206"/>
              <a:gd name="T115" fmla="*/ 295 h 418"/>
              <a:gd name="T116" fmla="*/ 1161 w 5206"/>
              <a:gd name="T117" fmla="*/ 166 h 418"/>
              <a:gd name="T118" fmla="*/ 1300 w 5206"/>
              <a:gd name="T119" fmla="*/ 141 h 418"/>
              <a:gd name="T120" fmla="*/ 1057 w 5206"/>
              <a:gd name="T121" fmla="*/ 289 h 418"/>
              <a:gd name="T122" fmla="*/ 966 w 5206"/>
              <a:gd name="T123" fmla="*/ 102 h 418"/>
              <a:gd name="T124" fmla="*/ 412 w 5206"/>
              <a:gd name="T125" fmla="*/ 324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206" h="418">
                <a:moveTo>
                  <a:pt x="5088" y="286"/>
                </a:moveTo>
                <a:lnTo>
                  <a:pt x="5201" y="128"/>
                </a:lnTo>
                <a:lnTo>
                  <a:pt x="5201" y="102"/>
                </a:lnTo>
                <a:lnTo>
                  <a:pt x="5040" y="102"/>
                </a:lnTo>
                <a:lnTo>
                  <a:pt x="5040" y="138"/>
                </a:lnTo>
                <a:lnTo>
                  <a:pt x="5148" y="138"/>
                </a:lnTo>
                <a:lnTo>
                  <a:pt x="5034" y="298"/>
                </a:lnTo>
                <a:lnTo>
                  <a:pt x="5034" y="324"/>
                </a:lnTo>
                <a:lnTo>
                  <a:pt x="5206" y="324"/>
                </a:lnTo>
                <a:lnTo>
                  <a:pt x="5206" y="286"/>
                </a:lnTo>
                <a:lnTo>
                  <a:pt x="5088" y="286"/>
                </a:lnTo>
                <a:close/>
                <a:moveTo>
                  <a:pt x="4909" y="329"/>
                </a:moveTo>
                <a:lnTo>
                  <a:pt x="4909" y="329"/>
                </a:lnTo>
                <a:lnTo>
                  <a:pt x="4925" y="328"/>
                </a:lnTo>
                <a:lnTo>
                  <a:pt x="4941" y="325"/>
                </a:lnTo>
                <a:lnTo>
                  <a:pt x="4955" y="321"/>
                </a:lnTo>
                <a:lnTo>
                  <a:pt x="4968" y="313"/>
                </a:lnTo>
                <a:lnTo>
                  <a:pt x="4981" y="305"/>
                </a:lnTo>
                <a:lnTo>
                  <a:pt x="4993" y="295"/>
                </a:lnTo>
                <a:lnTo>
                  <a:pt x="5001" y="285"/>
                </a:lnTo>
                <a:lnTo>
                  <a:pt x="5010" y="272"/>
                </a:lnTo>
                <a:lnTo>
                  <a:pt x="4977" y="253"/>
                </a:lnTo>
                <a:lnTo>
                  <a:pt x="4971" y="260"/>
                </a:lnTo>
                <a:lnTo>
                  <a:pt x="4965" y="269"/>
                </a:lnTo>
                <a:lnTo>
                  <a:pt x="4958" y="275"/>
                </a:lnTo>
                <a:lnTo>
                  <a:pt x="4949" y="280"/>
                </a:lnTo>
                <a:lnTo>
                  <a:pt x="4941" y="285"/>
                </a:lnTo>
                <a:lnTo>
                  <a:pt x="4931" y="289"/>
                </a:lnTo>
                <a:lnTo>
                  <a:pt x="4921" y="290"/>
                </a:lnTo>
                <a:lnTo>
                  <a:pt x="4909" y="290"/>
                </a:lnTo>
                <a:lnTo>
                  <a:pt x="4900" y="290"/>
                </a:lnTo>
                <a:lnTo>
                  <a:pt x="4893" y="289"/>
                </a:lnTo>
                <a:lnTo>
                  <a:pt x="4886" y="288"/>
                </a:lnTo>
                <a:lnTo>
                  <a:pt x="4879" y="285"/>
                </a:lnTo>
                <a:lnTo>
                  <a:pt x="4872" y="282"/>
                </a:lnTo>
                <a:lnTo>
                  <a:pt x="4864" y="278"/>
                </a:lnTo>
                <a:lnTo>
                  <a:pt x="4859" y="273"/>
                </a:lnTo>
                <a:lnTo>
                  <a:pt x="4853" y="269"/>
                </a:lnTo>
                <a:lnTo>
                  <a:pt x="4849" y="263"/>
                </a:lnTo>
                <a:lnTo>
                  <a:pt x="4844" y="257"/>
                </a:lnTo>
                <a:lnTo>
                  <a:pt x="4840" y="250"/>
                </a:lnTo>
                <a:lnTo>
                  <a:pt x="4837" y="243"/>
                </a:lnTo>
                <a:lnTo>
                  <a:pt x="4834" y="236"/>
                </a:lnTo>
                <a:lnTo>
                  <a:pt x="4833" y="229"/>
                </a:lnTo>
                <a:lnTo>
                  <a:pt x="4831" y="222"/>
                </a:lnTo>
                <a:lnTo>
                  <a:pt x="4831" y="213"/>
                </a:lnTo>
                <a:lnTo>
                  <a:pt x="4831" y="204"/>
                </a:lnTo>
                <a:lnTo>
                  <a:pt x="4833" y="197"/>
                </a:lnTo>
                <a:lnTo>
                  <a:pt x="4834" y="189"/>
                </a:lnTo>
                <a:lnTo>
                  <a:pt x="4837" y="181"/>
                </a:lnTo>
                <a:lnTo>
                  <a:pt x="4840" y="174"/>
                </a:lnTo>
                <a:lnTo>
                  <a:pt x="4844" y="168"/>
                </a:lnTo>
                <a:lnTo>
                  <a:pt x="4849" y="163"/>
                </a:lnTo>
                <a:lnTo>
                  <a:pt x="4853" y="157"/>
                </a:lnTo>
                <a:lnTo>
                  <a:pt x="4859" y="151"/>
                </a:lnTo>
                <a:lnTo>
                  <a:pt x="4864" y="147"/>
                </a:lnTo>
                <a:lnTo>
                  <a:pt x="4872" y="143"/>
                </a:lnTo>
                <a:lnTo>
                  <a:pt x="4879" y="140"/>
                </a:lnTo>
                <a:lnTo>
                  <a:pt x="4886" y="137"/>
                </a:lnTo>
                <a:lnTo>
                  <a:pt x="4893" y="135"/>
                </a:lnTo>
                <a:lnTo>
                  <a:pt x="4900" y="134"/>
                </a:lnTo>
                <a:lnTo>
                  <a:pt x="4909" y="134"/>
                </a:lnTo>
                <a:lnTo>
                  <a:pt x="4921" y="134"/>
                </a:lnTo>
                <a:lnTo>
                  <a:pt x="4931" y="137"/>
                </a:lnTo>
                <a:lnTo>
                  <a:pt x="4941" y="140"/>
                </a:lnTo>
                <a:lnTo>
                  <a:pt x="4949" y="144"/>
                </a:lnTo>
                <a:lnTo>
                  <a:pt x="4957" y="150"/>
                </a:lnTo>
                <a:lnTo>
                  <a:pt x="4964" y="157"/>
                </a:lnTo>
                <a:lnTo>
                  <a:pt x="4970" y="164"/>
                </a:lnTo>
                <a:lnTo>
                  <a:pt x="4975" y="173"/>
                </a:lnTo>
                <a:lnTo>
                  <a:pt x="5007" y="154"/>
                </a:lnTo>
                <a:lnTo>
                  <a:pt x="5000" y="141"/>
                </a:lnTo>
                <a:lnTo>
                  <a:pt x="4991" y="130"/>
                </a:lnTo>
                <a:lnTo>
                  <a:pt x="4981" y="121"/>
                </a:lnTo>
                <a:lnTo>
                  <a:pt x="4968" y="112"/>
                </a:lnTo>
                <a:lnTo>
                  <a:pt x="4955" y="105"/>
                </a:lnTo>
                <a:lnTo>
                  <a:pt x="4941" y="101"/>
                </a:lnTo>
                <a:lnTo>
                  <a:pt x="4925" y="97"/>
                </a:lnTo>
                <a:lnTo>
                  <a:pt x="4909" y="97"/>
                </a:lnTo>
                <a:lnTo>
                  <a:pt x="4898" y="97"/>
                </a:lnTo>
                <a:lnTo>
                  <a:pt x="4885" y="98"/>
                </a:lnTo>
                <a:lnTo>
                  <a:pt x="4873" y="101"/>
                </a:lnTo>
                <a:lnTo>
                  <a:pt x="4863" y="105"/>
                </a:lnTo>
                <a:lnTo>
                  <a:pt x="4853" y="110"/>
                </a:lnTo>
                <a:lnTo>
                  <a:pt x="4843" y="115"/>
                </a:lnTo>
                <a:lnTo>
                  <a:pt x="4834" y="122"/>
                </a:lnTo>
                <a:lnTo>
                  <a:pt x="4826" y="130"/>
                </a:lnTo>
                <a:lnTo>
                  <a:pt x="4818" y="138"/>
                </a:lnTo>
                <a:lnTo>
                  <a:pt x="4811" y="147"/>
                </a:lnTo>
                <a:lnTo>
                  <a:pt x="4805" y="157"/>
                </a:lnTo>
                <a:lnTo>
                  <a:pt x="4801" y="167"/>
                </a:lnTo>
                <a:lnTo>
                  <a:pt x="4797" y="177"/>
                </a:lnTo>
                <a:lnTo>
                  <a:pt x="4795" y="189"/>
                </a:lnTo>
                <a:lnTo>
                  <a:pt x="4792" y="200"/>
                </a:lnTo>
                <a:lnTo>
                  <a:pt x="4792" y="213"/>
                </a:lnTo>
                <a:lnTo>
                  <a:pt x="4792" y="224"/>
                </a:lnTo>
                <a:lnTo>
                  <a:pt x="4795" y="236"/>
                </a:lnTo>
                <a:lnTo>
                  <a:pt x="4797" y="247"/>
                </a:lnTo>
                <a:lnTo>
                  <a:pt x="4801" y="259"/>
                </a:lnTo>
                <a:lnTo>
                  <a:pt x="4805" y="269"/>
                </a:lnTo>
                <a:lnTo>
                  <a:pt x="4811" y="279"/>
                </a:lnTo>
                <a:lnTo>
                  <a:pt x="4818" y="288"/>
                </a:lnTo>
                <a:lnTo>
                  <a:pt x="4826" y="296"/>
                </a:lnTo>
                <a:lnTo>
                  <a:pt x="4834" y="303"/>
                </a:lnTo>
                <a:lnTo>
                  <a:pt x="4843" y="309"/>
                </a:lnTo>
                <a:lnTo>
                  <a:pt x="4853" y="315"/>
                </a:lnTo>
                <a:lnTo>
                  <a:pt x="4863" y="321"/>
                </a:lnTo>
                <a:lnTo>
                  <a:pt x="4873" y="324"/>
                </a:lnTo>
                <a:lnTo>
                  <a:pt x="4885" y="326"/>
                </a:lnTo>
                <a:lnTo>
                  <a:pt x="4898" y="329"/>
                </a:lnTo>
                <a:lnTo>
                  <a:pt x="4909" y="329"/>
                </a:lnTo>
                <a:close/>
                <a:moveTo>
                  <a:pt x="4739" y="328"/>
                </a:moveTo>
                <a:lnTo>
                  <a:pt x="4739" y="328"/>
                </a:lnTo>
                <a:lnTo>
                  <a:pt x="4745" y="328"/>
                </a:lnTo>
                <a:lnTo>
                  <a:pt x="4751" y="326"/>
                </a:lnTo>
                <a:lnTo>
                  <a:pt x="4755" y="324"/>
                </a:lnTo>
                <a:lnTo>
                  <a:pt x="4759" y="321"/>
                </a:lnTo>
                <a:lnTo>
                  <a:pt x="4764" y="316"/>
                </a:lnTo>
                <a:lnTo>
                  <a:pt x="4765" y="311"/>
                </a:lnTo>
                <a:lnTo>
                  <a:pt x="4768" y="305"/>
                </a:lnTo>
                <a:lnTo>
                  <a:pt x="4768" y="299"/>
                </a:lnTo>
                <a:lnTo>
                  <a:pt x="4768" y="293"/>
                </a:lnTo>
                <a:lnTo>
                  <a:pt x="4765" y="289"/>
                </a:lnTo>
                <a:lnTo>
                  <a:pt x="4764" y="283"/>
                </a:lnTo>
                <a:lnTo>
                  <a:pt x="4759" y="279"/>
                </a:lnTo>
                <a:lnTo>
                  <a:pt x="4755" y="276"/>
                </a:lnTo>
                <a:lnTo>
                  <a:pt x="4751" y="273"/>
                </a:lnTo>
                <a:lnTo>
                  <a:pt x="4745" y="272"/>
                </a:lnTo>
                <a:lnTo>
                  <a:pt x="4739" y="270"/>
                </a:lnTo>
                <a:lnTo>
                  <a:pt x="4733" y="272"/>
                </a:lnTo>
                <a:lnTo>
                  <a:pt x="4728" y="273"/>
                </a:lnTo>
                <a:lnTo>
                  <a:pt x="4723" y="276"/>
                </a:lnTo>
                <a:lnTo>
                  <a:pt x="4719" y="279"/>
                </a:lnTo>
                <a:lnTo>
                  <a:pt x="4715" y="283"/>
                </a:lnTo>
                <a:lnTo>
                  <a:pt x="4712" y="289"/>
                </a:lnTo>
                <a:lnTo>
                  <a:pt x="4710" y="293"/>
                </a:lnTo>
                <a:lnTo>
                  <a:pt x="4710" y="299"/>
                </a:lnTo>
                <a:lnTo>
                  <a:pt x="4710" y="305"/>
                </a:lnTo>
                <a:lnTo>
                  <a:pt x="4712" y="311"/>
                </a:lnTo>
                <a:lnTo>
                  <a:pt x="4715" y="316"/>
                </a:lnTo>
                <a:lnTo>
                  <a:pt x="4719" y="321"/>
                </a:lnTo>
                <a:lnTo>
                  <a:pt x="4723" y="324"/>
                </a:lnTo>
                <a:lnTo>
                  <a:pt x="4728" y="326"/>
                </a:lnTo>
                <a:lnTo>
                  <a:pt x="4733" y="328"/>
                </a:lnTo>
                <a:lnTo>
                  <a:pt x="4739" y="328"/>
                </a:lnTo>
                <a:close/>
                <a:moveTo>
                  <a:pt x="4617" y="102"/>
                </a:moveTo>
                <a:lnTo>
                  <a:pt x="4617" y="102"/>
                </a:lnTo>
                <a:lnTo>
                  <a:pt x="4617" y="219"/>
                </a:lnTo>
                <a:lnTo>
                  <a:pt x="4615" y="237"/>
                </a:lnTo>
                <a:lnTo>
                  <a:pt x="4612" y="253"/>
                </a:lnTo>
                <a:lnTo>
                  <a:pt x="4610" y="259"/>
                </a:lnTo>
                <a:lnTo>
                  <a:pt x="4607" y="266"/>
                </a:lnTo>
                <a:lnTo>
                  <a:pt x="4602" y="270"/>
                </a:lnTo>
                <a:lnTo>
                  <a:pt x="4598" y="276"/>
                </a:lnTo>
                <a:lnTo>
                  <a:pt x="4589" y="283"/>
                </a:lnTo>
                <a:lnTo>
                  <a:pt x="4578" y="289"/>
                </a:lnTo>
                <a:lnTo>
                  <a:pt x="4566" y="292"/>
                </a:lnTo>
                <a:lnTo>
                  <a:pt x="4553" y="292"/>
                </a:lnTo>
                <a:lnTo>
                  <a:pt x="4540" y="292"/>
                </a:lnTo>
                <a:lnTo>
                  <a:pt x="4530" y="289"/>
                </a:lnTo>
                <a:lnTo>
                  <a:pt x="4520" y="285"/>
                </a:lnTo>
                <a:lnTo>
                  <a:pt x="4513" y="278"/>
                </a:lnTo>
                <a:lnTo>
                  <a:pt x="4506" y="270"/>
                </a:lnTo>
                <a:lnTo>
                  <a:pt x="4502" y="260"/>
                </a:lnTo>
                <a:lnTo>
                  <a:pt x="4499" y="249"/>
                </a:lnTo>
                <a:lnTo>
                  <a:pt x="4497" y="236"/>
                </a:lnTo>
                <a:lnTo>
                  <a:pt x="4497" y="102"/>
                </a:lnTo>
                <a:lnTo>
                  <a:pt x="4458" y="102"/>
                </a:lnTo>
                <a:lnTo>
                  <a:pt x="4458" y="237"/>
                </a:lnTo>
                <a:lnTo>
                  <a:pt x="4460" y="249"/>
                </a:lnTo>
                <a:lnTo>
                  <a:pt x="4461" y="259"/>
                </a:lnTo>
                <a:lnTo>
                  <a:pt x="4463" y="267"/>
                </a:lnTo>
                <a:lnTo>
                  <a:pt x="4466" y="276"/>
                </a:lnTo>
                <a:lnTo>
                  <a:pt x="4468" y="285"/>
                </a:lnTo>
                <a:lnTo>
                  <a:pt x="4473" y="292"/>
                </a:lnTo>
                <a:lnTo>
                  <a:pt x="4477" y="299"/>
                </a:lnTo>
                <a:lnTo>
                  <a:pt x="4483" y="305"/>
                </a:lnTo>
                <a:lnTo>
                  <a:pt x="4489" y="311"/>
                </a:lnTo>
                <a:lnTo>
                  <a:pt x="4494" y="315"/>
                </a:lnTo>
                <a:lnTo>
                  <a:pt x="4502" y="319"/>
                </a:lnTo>
                <a:lnTo>
                  <a:pt x="4510" y="324"/>
                </a:lnTo>
                <a:lnTo>
                  <a:pt x="4517" y="326"/>
                </a:lnTo>
                <a:lnTo>
                  <a:pt x="4526" y="328"/>
                </a:lnTo>
                <a:lnTo>
                  <a:pt x="4536" y="329"/>
                </a:lnTo>
                <a:lnTo>
                  <a:pt x="4545" y="329"/>
                </a:lnTo>
                <a:lnTo>
                  <a:pt x="4556" y="329"/>
                </a:lnTo>
                <a:lnTo>
                  <a:pt x="4568" y="326"/>
                </a:lnTo>
                <a:lnTo>
                  <a:pt x="4578" y="325"/>
                </a:lnTo>
                <a:lnTo>
                  <a:pt x="4586" y="321"/>
                </a:lnTo>
                <a:lnTo>
                  <a:pt x="4595" y="315"/>
                </a:lnTo>
                <a:lnTo>
                  <a:pt x="4604" y="309"/>
                </a:lnTo>
                <a:lnTo>
                  <a:pt x="4611" y="301"/>
                </a:lnTo>
                <a:lnTo>
                  <a:pt x="4617" y="292"/>
                </a:lnTo>
                <a:lnTo>
                  <a:pt x="4617" y="324"/>
                </a:lnTo>
                <a:lnTo>
                  <a:pt x="4656" y="324"/>
                </a:lnTo>
                <a:lnTo>
                  <a:pt x="4656" y="102"/>
                </a:lnTo>
                <a:lnTo>
                  <a:pt x="4617" y="102"/>
                </a:lnTo>
                <a:close/>
                <a:moveTo>
                  <a:pt x="4301" y="292"/>
                </a:moveTo>
                <a:lnTo>
                  <a:pt x="4301" y="292"/>
                </a:lnTo>
                <a:lnTo>
                  <a:pt x="4293" y="290"/>
                </a:lnTo>
                <a:lnTo>
                  <a:pt x="4284" y="290"/>
                </a:lnTo>
                <a:lnTo>
                  <a:pt x="4277" y="288"/>
                </a:lnTo>
                <a:lnTo>
                  <a:pt x="4270" y="286"/>
                </a:lnTo>
                <a:lnTo>
                  <a:pt x="4262" y="282"/>
                </a:lnTo>
                <a:lnTo>
                  <a:pt x="4257" y="279"/>
                </a:lnTo>
                <a:lnTo>
                  <a:pt x="4251" y="273"/>
                </a:lnTo>
                <a:lnTo>
                  <a:pt x="4245" y="269"/>
                </a:lnTo>
                <a:lnTo>
                  <a:pt x="4239" y="263"/>
                </a:lnTo>
                <a:lnTo>
                  <a:pt x="4235" y="257"/>
                </a:lnTo>
                <a:lnTo>
                  <a:pt x="4232" y="250"/>
                </a:lnTo>
                <a:lnTo>
                  <a:pt x="4228" y="245"/>
                </a:lnTo>
                <a:lnTo>
                  <a:pt x="4226" y="236"/>
                </a:lnTo>
                <a:lnTo>
                  <a:pt x="4224" y="229"/>
                </a:lnTo>
                <a:lnTo>
                  <a:pt x="4222" y="222"/>
                </a:lnTo>
                <a:lnTo>
                  <a:pt x="4222" y="213"/>
                </a:lnTo>
                <a:lnTo>
                  <a:pt x="4222" y="204"/>
                </a:lnTo>
                <a:lnTo>
                  <a:pt x="4224" y="197"/>
                </a:lnTo>
                <a:lnTo>
                  <a:pt x="4226" y="189"/>
                </a:lnTo>
                <a:lnTo>
                  <a:pt x="4228" y="181"/>
                </a:lnTo>
                <a:lnTo>
                  <a:pt x="4232" y="174"/>
                </a:lnTo>
                <a:lnTo>
                  <a:pt x="4235" y="168"/>
                </a:lnTo>
                <a:lnTo>
                  <a:pt x="4239" y="163"/>
                </a:lnTo>
                <a:lnTo>
                  <a:pt x="4245" y="157"/>
                </a:lnTo>
                <a:lnTo>
                  <a:pt x="4251" y="151"/>
                </a:lnTo>
                <a:lnTo>
                  <a:pt x="4257" y="147"/>
                </a:lnTo>
                <a:lnTo>
                  <a:pt x="4262" y="143"/>
                </a:lnTo>
                <a:lnTo>
                  <a:pt x="4270" y="140"/>
                </a:lnTo>
                <a:lnTo>
                  <a:pt x="4277" y="137"/>
                </a:lnTo>
                <a:lnTo>
                  <a:pt x="4284" y="135"/>
                </a:lnTo>
                <a:lnTo>
                  <a:pt x="4293" y="134"/>
                </a:lnTo>
                <a:lnTo>
                  <a:pt x="4301" y="134"/>
                </a:lnTo>
                <a:lnTo>
                  <a:pt x="4309" y="134"/>
                </a:lnTo>
                <a:lnTo>
                  <a:pt x="4317" y="135"/>
                </a:lnTo>
                <a:lnTo>
                  <a:pt x="4324" y="137"/>
                </a:lnTo>
                <a:lnTo>
                  <a:pt x="4332" y="140"/>
                </a:lnTo>
                <a:lnTo>
                  <a:pt x="4339" y="143"/>
                </a:lnTo>
                <a:lnTo>
                  <a:pt x="4345" y="147"/>
                </a:lnTo>
                <a:lnTo>
                  <a:pt x="4352" y="151"/>
                </a:lnTo>
                <a:lnTo>
                  <a:pt x="4356" y="157"/>
                </a:lnTo>
                <a:lnTo>
                  <a:pt x="4362" y="163"/>
                </a:lnTo>
                <a:lnTo>
                  <a:pt x="4366" y="168"/>
                </a:lnTo>
                <a:lnTo>
                  <a:pt x="4370" y="174"/>
                </a:lnTo>
                <a:lnTo>
                  <a:pt x="4373" y="181"/>
                </a:lnTo>
                <a:lnTo>
                  <a:pt x="4376" y="189"/>
                </a:lnTo>
                <a:lnTo>
                  <a:pt x="4378" y="197"/>
                </a:lnTo>
                <a:lnTo>
                  <a:pt x="4379" y="204"/>
                </a:lnTo>
                <a:lnTo>
                  <a:pt x="4379" y="213"/>
                </a:lnTo>
                <a:lnTo>
                  <a:pt x="4379" y="222"/>
                </a:lnTo>
                <a:lnTo>
                  <a:pt x="4378" y="229"/>
                </a:lnTo>
                <a:lnTo>
                  <a:pt x="4376" y="236"/>
                </a:lnTo>
                <a:lnTo>
                  <a:pt x="4373" y="245"/>
                </a:lnTo>
                <a:lnTo>
                  <a:pt x="4370" y="250"/>
                </a:lnTo>
                <a:lnTo>
                  <a:pt x="4366" y="257"/>
                </a:lnTo>
                <a:lnTo>
                  <a:pt x="4362" y="263"/>
                </a:lnTo>
                <a:lnTo>
                  <a:pt x="4356" y="269"/>
                </a:lnTo>
                <a:lnTo>
                  <a:pt x="4352" y="273"/>
                </a:lnTo>
                <a:lnTo>
                  <a:pt x="4345" y="279"/>
                </a:lnTo>
                <a:lnTo>
                  <a:pt x="4339" y="282"/>
                </a:lnTo>
                <a:lnTo>
                  <a:pt x="4332" y="286"/>
                </a:lnTo>
                <a:lnTo>
                  <a:pt x="4324" y="288"/>
                </a:lnTo>
                <a:lnTo>
                  <a:pt x="4317" y="290"/>
                </a:lnTo>
                <a:lnTo>
                  <a:pt x="4309" y="290"/>
                </a:lnTo>
                <a:lnTo>
                  <a:pt x="4301" y="292"/>
                </a:lnTo>
                <a:close/>
                <a:moveTo>
                  <a:pt x="4301" y="329"/>
                </a:moveTo>
                <a:lnTo>
                  <a:pt x="4301" y="329"/>
                </a:lnTo>
                <a:lnTo>
                  <a:pt x="4313" y="329"/>
                </a:lnTo>
                <a:lnTo>
                  <a:pt x="4324" y="326"/>
                </a:lnTo>
                <a:lnTo>
                  <a:pt x="4336" y="324"/>
                </a:lnTo>
                <a:lnTo>
                  <a:pt x="4346" y="321"/>
                </a:lnTo>
                <a:lnTo>
                  <a:pt x="4356" y="315"/>
                </a:lnTo>
                <a:lnTo>
                  <a:pt x="4366" y="309"/>
                </a:lnTo>
                <a:lnTo>
                  <a:pt x="4375" y="303"/>
                </a:lnTo>
                <a:lnTo>
                  <a:pt x="4383" y="296"/>
                </a:lnTo>
                <a:lnTo>
                  <a:pt x="4391" y="288"/>
                </a:lnTo>
                <a:lnTo>
                  <a:pt x="4398" y="279"/>
                </a:lnTo>
                <a:lnTo>
                  <a:pt x="4404" y="269"/>
                </a:lnTo>
                <a:lnTo>
                  <a:pt x="4409" y="259"/>
                </a:lnTo>
                <a:lnTo>
                  <a:pt x="4412" y="247"/>
                </a:lnTo>
                <a:lnTo>
                  <a:pt x="4415" y="236"/>
                </a:lnTo>
                <a:lnTo>
                  <a:pt x="4418" y="224"/>
                </a:lnTo>
                <a:lnTo>
                  <a:pt x="4418" y="213"/>
                </a:lnTo>
                <a:lnTo>
                  <a:pt x="4418" y="200"/>
                </a:lnTo>
                <a:lnTo>
                  <a:pt x="4415" y="189"/>
                </a:lnTo>
                <a:lnTo>
                  <a:pt x="4412" y="177"/>
                </a:lnTo>
                <a:lnTo>
                  <a:pt x="4409" y="167"/>
                </a:lnTo>
                <a:lnTo>
                  <a:pt x="4404" y="157"/>
                </a:lnTo>
                <a:lnTo>
                  <a:pt x="4398" y="147"/>
                </a:lnTo>
                <a:lnTo>
                  <a:pt x="4391" y="138"/>
                </a:lnTo>
                <a:lnTo>
                  <a:pt x="4383" y="130"/>
                </a:lnTo>
                <a:lnTo>
                  <a:pt x="4375" y="122"/>
                </a:lnTo>
                <a:lnTo>
                  <a:pt x="4366" y="115"/>
                </a:lnTo>
                <a:lnTo>
                  <a:pt x="4356" y="110"/>
                </a:lnTo>
                <a:lnTo>
                  <a:pt x="4346" y="105"/>
                </a:lnTo>
                <a:lnTo>
                  <a:pt x="4336" y="101"/>
                </a:lnTo>
                <a:lnTo>
                  <a:pt x="4324" y="98"/>
                </a:lnTo>
                <a:lnTo>
                  <a:pt x="4313" y="97"/>
                </a:lnTo>
                <a:lnTo>
                  <a:pt x="4301" y="97"/>
                </a:lnTo>
                <a:lnTo>
                  <a:pt x="4288" y="97"/>
                </a:lnTo>
                <a:lnTo>
                  <a:pt x="4277" y="98"/>
                </a:lnTo>
                <a:lnTo>
                  <a:pt x="4265" y="101"/>
                </a:lnTo>
                <a:lnTo>
                  <a:pt x="4255" y="105"/>
                </a:lnTo>
                <a:lnTo>
                  <a:pt x="4245" y="110"/>
                </a:lnTo>
                <a:lnTo>
                  <a:pt x="4235" y="115"/>
                </a:lnTo>
                <a:lnTo>
                  <a:pt x="4226" y="122"/>
                </a:lnTo>
                <a:lnTo>
                  <a:pt x="4218" y="130"/>
                </a:lnTo>
                <a:lnTo>
                  <a:pt x="4211" y="138"/>
                </a:lnTo>
                <a:lnTo>
                  <a:pt x="4203" y="147"/>
                </a:lnTo>
                <a:lnTo>
                  <a:pt x="4198" y="157"/>
                </a:lnTo>
                <a:lnTo>
                  <a:pt x="4193" y="167"/>
                </a:lnTo>
                <a:lnTo>
                  <a:pt x="4189" y="177"/>
                </a:lnTo>
                <a:lnTo>
                  <a:pt x="4186" y="189"/>
                </a:lnTo>
                <a:lnTo>
                  <a:pt x="4185" y="200"/>
                </a:lnTo>
                <a:lnTo>
                  <a:pt x="4183" y="213"/>
                </a:lnTo>
                <a:lnTo>
                  <a:pt x="4185" y="224"/>
                </a:lnTo>
                <a:lnTo>
                  <a:pt x="4186" y="236"/>
                </a:lnTo>
                <a:lnTo>
                  <a:pt x="4189" y="247"/>
                </a:lnTo>
                <a:lnTo>
                  <a:pt x="4193" y="259"/>
                </a:lnTo>
                <a:lnTo>
                  <a:pt x="4198" y="269"/>
                </a:lnTo>
                <a:lnTo>
                  <a:pt x="4203" y="279"/>
                </a:lnTo>
                <a:lnTo>
                  <a:pt x="4211" y="288"/>
                </a:lnTo>
                <a:lnTo>
                  <a:pt x="4218" y="296"/>
                </a:lnTo>
                <a:lnTo>
                  <a:pt x="4226" y="303"/>
                </a:lnTo>
                <a:lnTo>
                  <a:pt x="4235" y="309"/>
                </a:lnTo>
                <a:lnTo>
                  <a:pt x="4245" y="315"/>
                </a:lnTo>
                <a:lnTo>
                  <a:pt x="4255" y="321"/>
                </a:lnTo>
                <a:lnTo>
                  <a:pt x="4265" y="324"/>
                </a:lnTo>
                <a:lnTo>
                  <a:pt x="4277" y="326"/>
                </a:lnTo>
                <a:lnTo>
                  <a:pt x="4288" y="329"/>
                </a:lnTo>
                <a:lnTo>
                  <a:pt x="4301" y="329"/>
                </a:lnTo>
                <a:close/>
                <a:moveTo>
                  <a:pt x="4032" y="292"/>
                </a:moveTo>
                <a:lnTo>
                  <a:pt x="4032" y="292"/>
                </a:lnTo>
                <a:lnTo>
                  <a:pt x="4025" y="292"/>
                </a:lnTo>
                <a:lnTo>
                  <a:pt x="4016" y="290"/>
                </a:lnTo>
                <a:lnTo>
                  <a:pt x="4009" y="289"/>
                </a:lnTo>
                <a:lnTo>
                  <a:pt x="4002" y="286"/>
                </a:lnTo>
                <a:lnTo>
                  <a:pt x="3995" y="283"/>
                </a:lnTo>
                <a:lnTo>
                  <a:pt x="3987" y="279"/>
                </a:lnTo>
                <a:lnTo>
                  <a:pt x="3982" y="275"/>
                </a:lnTo>
                <a:lnTo>
                  <a:pt x="3976" y="269"/>
                </a:lnTo>
                <a:lnTo>
                  <a:pt x="3972" y="263"/>
                </a:lnTo>
                <a:lnTo>
                  <a:pt x="3967" y="257"/>
                </a:lnTo>
                <a:lnTo>
                  <a:pt x="3963" y="252"/>
                </a:lnTo>
                <a:lnTo>
                  <a:pt x="3960" y="245"/>
                </a:lnTo>
                <a:lnTo>
                  <a:pt x="3957" y="237"/>
                </a:lnTo>
                <a:lnTo>
                  <a:pt x="3956" y="229"/>
                </a:lnTo>
                <a:lnTo>
                  <a:pt x="3954" y="222"/>
                </a:lnTo>
                <a:lnTo>
                  <a:pt x="3953" y="213"/>
                </a:lnTo>
                <a:lnTo>
                  <a:pt x="3954" y="204"/>
                </a:lnTo>
                <a:lnTo>
                  <a:pt x="3956" y="196"/>
                </a:lnTo>
                <a:lnTo>
                  <a:pt x="3957" y="189"/>
                </a:lnTo>
                <a:lnTo>
                  <a:pt x="3960" y="181"/>
                </a:lnTo>
                <a:lnTo>
                  <a:pt x="3963" y="174"/>
                </a:lnTo>
                <a:lnTo>
                  <a:pt x="3967" y="168"/>
                </a:lnTo>
                <a:lnTo>
                  <a:pt x="3972" y="161"/>
                </a:lnTo>
                <a:lnTo>
                  <a:pt x="3976" y="155"/>
                </a:lnTo>
                <a:lnTo>
                  <a:pt x="3982" y="151"/>
                </a:lnTo>
                <a:lnTo>
                  <a:pt x="3987" y="147"/>
                </a:lnTo>
                <a:lnTo>
                  <a:pt x="3995" y="143"/>
                </a:lnTo>
                <a:lnTo>
                  <a:pt x="4002" y="140"/>
                </a:lnTo>
                <a:lnTo>
                  <a:pt x="4009" y="137"/>
                </a:lnTo>
                <a:lnTo>
                  <a:pt x="4016" y="135"/>
                </a:lnTo>
                <a:lnTo>
                  <a:pt x="4025" y="134"/>
                </a:lnTo>
                <a:lnTo>
                  <a:pt x="4032" y="134"/>
                </a:lnTo>
                <a:lnTo>
                  <a:pt x="4041" y="134"/>
                </a:lnTo>
                <a:lnTo>
                  <a:pt x="4049" y="135"/>
                </a:lnTo>
                <a:lnTo>
                  <a:pt x="4057" y="137"/>
                </a:lnTo>
                <a:lnTo>
                  <a:pt x="4064" y="140"/>
                </a:lnTo>
                <a:lnTo>
                  <a:pt x="4071" y="143"/>
                </a:lnTo>
                <a:lnTo>
                  <a:pt x="4077" y="147"/>
                </a:lnTo>
                <a:lnTo>
                  <a:pt x="4082" y="151"/>
                </a:lnTo>
                <a:lnTo>
                  <a:pt x="4088" y="155"/>
                </a:lnTo>
                <a:lnTo>
                  <a:pt x="4094" y="161"/>
                </a:lnTo>
                <a:lnTo>
                  <a:pt x="4098" y="168"/>
                </a:lnTo>
                <a:lnTo>
                  <a:pt x="4103" y="174"/>
                </a:lnTo>
                <a:lnTo>
                  <a:pt x="4106" y="181"/>
                </a:lnTo>
                <a:lnTo>
                  <a:pt x="4108" y="189"/>
                </a:lnTo>
                <a:lnTo>
                  <a:pt x="4110" y="196"/>
                </a:lnTo>
                <a:lnTo>
                  <a:pt x="4111" y="204"/>
                </a:lnTo>
                <a:lnTo>
                  <a:pt x="4111" y="213"/>
                </a:lnTo>
                <a:lnTo>
                  <a:pt x="4111" y="222"/>
                </a:lnTo>
                <a:lnTo>
                  <a:pt x="4110" y="229"/>
                </a:lnTo>
                <a:lnTo>
                  <a:pt x="4108" y="237"/>
                </a:lnTo>
                <a:lnTo>
                  <a:pt x="4106" y="245"/>
                </a:lnTo>
                <a:lnTo>
                  <a:pt x="4103" y="252"/>
                </a:lnTo>
                <a:lnTo>
                  <a:pt x="4098" y="257"/>
                </a:lnTo>
                <a:lnTo>
                  <a:pt x="4094" y="263"/>
                </a:lnTo>
                <a:lnTo>
                  <a:pt x="4088" y="269"/>
                </a:lnTo>
                <a:lnTo>
                  <a:pt x="4082" y="275"/>
                </a:lnTo>
                <a:lnTo>
                  <a:pt x="4077" y="279"/>
                </a:lnTo>
                <a:lnTo>
                  <a:pt x="4071" y="283"/>
                </a:lnTo>
                <a:lnTo>
                  <a:pt x="4064" y="286"/>
                </a:lnTo>
                <a:lnTo>
                  <a:pt x="4057" y="289"/>
                </a:lnTo>
                <a:lnTo>
                  <a:pt x="4049" y="290"/>
                </a:lnTo>
                <a:lnTo>
                  <a:pt x="4041" y="292"/>
                </a:lnTo>
                <a:lnTo>
                  <a:pt x="4032" y="292"/>
                </a:lnTo>
                <a:close/>
                <a:moveTo>
                  <a:pt x="4038" y="97"/>
                </a:moveTo>
                <a:lnTo>
                  <a:pt x="4038" y="97"/>
                </a:lnTo>
                <a:lnTo>
                  <a:pt x="4023" y="97"/>
                </a:lnTo>
                <a:lnTo>
                  <a:pt x="4010" y="99"/>
                </a:lnTo>
                <a:lnTo>
                  <a:pt x="3999" y="102"/>
                </a:lnTo>
                <a:lnTo>
                  <a:pt x="3987" y="108"/>
                </a:lnTo>
                <a:lnTo>
                  <a:pt x="3977" y="114"/>
                </a:lnTo>
                <a:lnTo>
                  <a:pt x="3969" y="121"/>
                </a:lnTo>
                <a:lnTo>
                  <a:pt x="3960" y="130"/>
                </a:lnTo>
                <a:lnTo>
                  <a:pt x="3953" y="140"/>
                </a:lnTo>
                <a:lnTo>
                  <a:pt x="3953" y="13"/>
                </a:lnTo>
                <a:lnTo>
                  <a:pt x="3915" y="13"/>
                </a:lnTo>
                <a:lnTo>
                  <a:pt x="3915" y="324"/>
                </a:lnTo>
                <a:lnTo>
                  <a:pt x="3953" y="324"/>
                </a:lnTo>
                <a:lnTo>
                  <a:pt x="3953" y="285"/>
                </a:lnTo>
                <a:lnTo>
                  <a:pt x="3960" y="295"/>
                </a:lnTo>
                <a:lnTo>
                  <a:pt x="3969" y="303"/>
                </a:lnTo>
                <a:lnTo>
                  <a:pt x="3977" y="311"/>
                </a:lnTo>
                <a:lnTo>
                  <a:pt x="3987" y="318"/>
                </a:lnTo>
                <a:lnTo>
                  <a:pt x="3999" y="322"/>
                </a:lnTo>
                <a:lnTo>
                  <a:pt x="4010" y="326"/>
                </a:lnTo>
                <a:lnTo>
                  <a:pt x="4023" y="328"/>
                </a:lnTo>
                <a:lnTo>
                  <a:pt x="4038" y="329"/>
                </a:lnTo>
                <a:lnTo>
                  <a:pt x="4049" y="329"/>
                </a:lnTo>
                <a:lnTo>
                  <a:pt x="4059" y="326"/>
                </a:lnTo>
                <a:lnTo>
                  <a:pt x="4071" y="324"/>
                </a:lnTo>
                <a:lnTo>
                  <a:pt x="4081" y="321"/>
                </a:lnTo>
                <a:lnTo>
                  <a:pt x="4091" y="315"/>
                </a:lnTo>
                <a:lnTo>
                  <a:pt x="4100" y="309"/>
                </a:lnTo>
                <a:lnTo>
                  <a:pt x="4108" y="303"/>
                </a:lnTo>
                <a:lnTo>
                  <a:pt x="4117" y="296"/>
                </a:lnTo>
                <a:lnTo>
                  <a:pt x="4124" y="288"/>
                </a:lnTo>
                <a:lnTo>
                  <a:pt x="4131" y="279"/>
                </a:lnTo>
                <a:lnTo>
                  <a:pt x="4136" y="269"/>
                </a:lnTo>
                <a:lnTo>
                  <a:pt x="4142" y="259"/>
                </a:lnTo>
                <a:lnTo>
                  <a:pt x="4144" y="247"/>
                </a:lnTo>
                <a:lnTo>
                  <a:pt x="4147" y="236"/>
                </a:lnTo>
                <a:lnTo>
                  <a:pt x="4150" y="224"/>
                </a:lnTo>
                <a:lnTo>
                  <a:pt x="4150" y="213"/>
                </a:lnTo>
                <a:lnTo>
                  <a:pt x="4150" y="200"/>
                </a:lnTo>
                <a:lnTo>
                  <a:pt x="4147" y="189"/>
                </a:lnTo>
                <a:lnTo>
                  <a:pt x="4144" y="177"/>
                </a:lnTo>
                <a:lnTo>
                  <a:pt x="4142" y="167"/>
                </a:lnTo>
                <a:lnTo>
                  <a:pt x="4136" y="157"/>
                </a:lnTo>
                <a:lnTo>
                  <a:pt x="4131" y="147"/>
                </a:lnTo>
                <a:lnTo>
                  <a:pt x="4124" y="138"/>
                </a:lnTo>
                <a:lnTo>
                  <a:pt x="4117" y="130"/>
                </a:lnTo>
                <a:lnTo>
                  <a:pt x="4108" y="122"/>
                </a:lnTo>
                <a:lnTo>
                  <a:pt x="4100" y="115"/>
                </a:lnTo>
                <a:lnTo>
                  <a:pt x="4091" y="110"/>
                </a:lnTo>
                <a:lnTo>
                  <a:pt x="4081" y="105"/>
                </a:lnTo>
                <a:lnTo>
                  <a:pt x="4071" y="101"/>
                </a:lnTo>
                <a:lnTo>
                  <a:pt x="4059" y="98"/>
                </a:lnTo>
                <a:lnTo>
                  <a:pt x="4049" y="97"/>
                </a:lnTo>
                <a:lnTo>
                  <a:pt x="4038" y="97"/>
                </a:lnTo>
                <a:close/>
                <a:moveTo>
                  <a:pt x="3818" y="324"/>
                </a:moveTo>
                <a:lnTo>
                  <a:pt x="3818" y="324"/>
                </a:lnTo>
                <a:lnTo>
                  <a:pt x="3856" y="324"/>
                </a:lnTo>
                <a:lnTo>
                  <a:pt x="3856" y="0"/>
                </a:lnTo>
                <a:lnTo>
                  <a:pt x="3818" y="0"/>
                </a:lnTo>
                <a:lnTo>
                  <a:pt x="3818" y="324"/>
                </a:lnTo>
                <a:close/>
                <a:moveTo>
                  <a:pt x="3720" y="324"/>
                </a:moveTo>
                <a:lnTo>
                  <a:pt x="3720" y="324"/>
                </a:lnTo>
                <a:lnTo>
                  <a:pt x="3758" y="324"/>
                </a:lnTo>
                <a:lnTo>
                  <a:pt x="3758" y="102"/>
                </a:lnTo>
                <a:lnTo>
                  <a:pt x="3720" y="102"/>
                </a:lnTo>
                <a:lnTo>
                  <a:pt x="3720" y="324"/>
                </a:lnTo>
                <a:close/>
                <a:moveTo>
                  <a:pt x="3738" y="62"/>
                </a:moveTo>
                <a:lnTo>
                  <a:pt x="3738" y="62"/>
                </a:lnTo>
                <a:lnTo>
                  <a:pt x="3744" y="61"/>
                </a:lnTo>
                <a:lnTo>
                  <a:pt x="3748" y="59"/>
                </a:lnTo>
                <a:lnTo>
                  <a:pt x="3753" y="58"/>
                </a:lnTo>
                <a:lnTo>
                  <a:pt x="3757" y="54"/>
                </a:lnTo>
                <a:lnTo>
                  <a:pt x="3760" y="51"/>
                </a:lnTo>
                <a:lnTo>
                  <a:pt x="3763" y="46"/>
                </a:lnTo>
                <a:lnTo>
                  <a:pt x="3764" y="41"/>
                </a:lnTo>
                <a:lnTo>
                  <a:pt x="3764" y="36"/>
                </a:lnTo>
                <a:lnTo>
                  <a:pt x="3764" y="31"/>
                </a:lnTo>
                <a:lnTo>
                  <a:pt x="3763" y="26"/>
                </a:lnTo>
                <a:lnTo>
                  <a:pt x="3760" y="22"/>
                </a:lnTo>
                <a:lnTo>
                  <a:pt x="3757" y="18"/>
                </a:lnTo>
                <a:lnTo>
                  <a:pt x="3753" y="15"/>
                </a:lnTo>
                <a:lnTo>
                  <a:pt x="3748" y="12"/>
                </a:lnTo>
                <a:lnTo>
                  <a:pt x="3744" y="10"/>
                </a:lnTo>
                <a:lnTo>
                  <a:pt x="3738" y="9"/>
                </a:lnTo>
                <a:lnTo>
                  <a:pt x="3734" y="10"/>
                </a:lnTo>
                <a:lnTo>
                  <a:pt x="3728" y="12"/>
                </a:lnTo>
                <a:lnTo>
                  <a:pt x="3724" y="15"/>
                </a:lnTo>
                <a:lnTo>
                  <a:pt x="3720" y="18"/>
                </a:lnTo>
                <a:lnTo>
                  <a:pt x="3717" y="22"/>
                </a:lnTo>
                <a:lnTo>
                  <a:pt x="3715" y="26"/>
                </a:lnTo>
                <a:lnTo>
                  <a:pt x="3714" y="31"/>
                </a:lnTo>
                <a:lnTo>
                  <a:pt x="3712" y="36"/>
                </a:lnTo>
                <a:lnTo>
                  <a:pt x="3714" y="41"/>
                </a:lnTo>
                <a:lnTo>
                  <a:pt x="3715" y="46"/>
                </a:lnTo>
                <a:lnTo>
                  <a:pt x="3717" y="51"/>
                </a:lnTo>
                <a:lnTo>
                  <a:pt x="3720" y="54"/>
                </a:lnTo>
                <a:lnTo>
                  <a:pt x="3724" y="58"/>
                </a:lnTo>
                <a:lnTo>
                  <a:pt x="3728" y="59"/>
                </a:lnTo>
                <a:lnTo>
                  <a:pt x="3734" y="61"/>
                </a:lnTo>
                <a:lnTo>
                  <a:pt x="3738" y="62"/>
                </a:lnTo>
                <a:close/>
                <a:moveTo>
                  <a:pt x="3612" y="140"/>
                </a:moveTo>
                <a:lnTo>
                  <a:pt x="3612" y="140"/>
                </a:lnTo>
                <a:lnTo>
                  <a:pt x="3612" y="102"/>
                </a:lnTo>
                <a:lnTo>
                  <a:pt x="3574" y="102"/>
                </a:lnTo>
                <a:lnTo>
                  <a:pt x="3574" y="324"/>
                </a:lnTo>
                <a:lnTo>
                  <a:pt x="3612" y="324"/>
                </a:lnTo>
                <a:lnTo>
                  <a:pt x="3612" y="206"/>
                </a:lnTo>
                <a:lnTo>
                  <a:pt x="3613" y="197"/>
                </a:lnTo>
                <a:lnTo>
                  <a:pt x="3614" y="189"/>
                </a:lnTo>
                <a:lnTo>
                  <a:pt x="3616" y="180"/>
                </a:lnTo>
                <a:lnTo>
                  <a:pt x="3619" y="173"/>
                </a:lnTo>
                <a:lnTo>
                  <a:pt x="3622" y="167"/>
                </a:lnTo>
                <a:lnTo>
                  <a:pt x="3626" y="161"/>
                </a:lnTo>
                <a:lnTo>
                  <a:pt x="3630" y="157"/>
                </a:lnTo>
                <a:lnTo>
                  <a:pt x="3635" y="153"/>
                </a:lnTo>
                <a:lnTo>
                  <a:pt x="3645" y="145"/>
                </a:lnTo>
                <a:lnTo>
                  <a:pt x="3656" y="141"/>
                </a:lnTo>
                <a:lnTo>
                  <a:pt x="3669" y="138"/>
                </a:lnTo>
                <a:lnTo>
                  <a:pt x="3682" y="138"/>
                </a:lnTo>
                <a:lnTo>
                  <a:pt x="3682" y="98"/>
                </a:lnTo>
                <a:lnTo>
                  <a:pt x="3671" y="98"/>
                </a:lnTo>
                <a:lnTo>
                  <a:pt x="3661" y="99"/>
                </a:lnTo>
                <a:lnTo>
                  <a:pt x="3650" y="102"/>
                </a:lnTo>
                <a:lnTo>
                  <a:pt x="3642" y="107"/>
                </a:lnTo>
                <a:lnTo>
                  <a:pt x="3633" y="112"/>
                </a:lnTo>
                <a:lnTo>
                  <a:pt x="3625" y="120"/>
                </a:lnTo>
                <a:lnTo>
                  <a:pt x="3619" y="128"/>
                </a:lnTo>
                <a:lnTo>
                  <a:pt x="3612" y="140"/>
                </a:lnTo>
                <a:close/>
                <a:moveTo>
                  <a:pt x="3410" y="292"/>
                </a:moveTo>
                <a:lnTo>
                  <a:pt x="3410" y="292"/>
                </a:lnTo>
                <a:lnTo>
                  <a:pt x="3401" y="292"/>
                </a:lnTo>
                <a:lnTo>
                  <a:pt x="3394" y="290"/>
                </a:lnTo>
                <a:lnTo>
                  <a:pt x="3386" y="289"/>
                </a:lnTo>
                <a:lnTo>
                  <a:pt x="3378" y="286"/>
                </a:lnTo>
                <a:lnTo>
                  <a:pt x="3371" y="283"/>
                </a:lnTo>
                <a:lnTo>
                  <a:pt x="3365" y="279"/>
                </a:lnTo>
                <a:lnTo>
                  <a:pt x="3360" y="275"/>
                </a:lnTo>
                <a:lnTo>
                  <a:pt x="3354" y="269"/>
                </a:lnTo>
                <a:lnTo>
                  <a:pt x="3348" y="263"/>
                </a:lnTo>
                <a:lnTo>
                  <a:pt x="3344" y="257"/>
                </a:lnTo>
                <a:lnTo>
                  <a:pt x="3339" y="252"/>
                </a:lnTo>
                <a:lnTo>
                  <a:pt x="3337" y="245"/>
                </a:lnTo>
                <a:lnTo>
                  <a:pt x="3334" y="237"/>
                </a:lnTo>
                <a:lnTo>
                  <a:pt x="3332" y="229"/>
                </a:lnTo>
                <a:lnTo>
                  <a:pt x="3331" y="222"/>
                </a:lnTo>
                <a:lnTo>
                  <a:pt x="3331" y="213"/>
                </a:lnTo>
                <a:lnTo>
                  <a:pt x="3331" y="204"/>
                </a:lnTo>
                <a:lnTo>
                  <a:pt x="3332" y="196"/>
                </a:lnTo>
                <a:lnTo>
                  <a:pt x="3334" y="189"/>
                </a:lnTo>
                <a:lnTo>
                  <a:pt x="3337" y="181"/>
                </a:lnTo>
                <a:lnTo>
                  <a:pt x="3339" y="174"/>
                </a:lnTo>
                <a:lnTo>
                  <a:pt x="3344" y="168"/>
                </a:lnTo>
                <a:lnTo>
                  <a:pt x="3348" y="161"/>
                </a:lnTo>
                <a:lnTo>
                  <a:pt x="3354" y="155"/>
                </a:lnTo>
                <a:lnTo>
                  <a:pt x="3360" y="151"/>
                </a:lnTo>
                <a:lnTo>
                  <a:pt x="3365" y="147"/>
                </a:lnTo>
                <a:lnTo>
                  <a:pt x="3371" y="143"/>
                </a:lnTo>
                <a:lnTo>
                  <a:pt x="3378" y="140"/>
                </a:lnTo>
                <a:lnTo>
                  <a:pt x="3386" y="137"/>
                </a:lnTo>
                <a:lnTo>
                  <a:pt x="3394" y="135"/>
                </a:lnTo>
                <a:lnTo>
                  <a:pt x="3401" y="134"/>
                </a:lnTo>
                <a:lnTo>
                  <a:pt x="3410" y="134"/>
                </a:lnTo>
                <a:lnTo>
                  <a:pt x="3419" y="134"/>
                </a:lnTo>
                <a:lnTo>
                  <a:pt x="3426" y="135"/>
                </a:lnTo>
                <a:lnTo>
                  <a:pt x="3433" y="137"/>
                </a:lnTo>
                <a:lnTo>
                  <a:pt x="3442" y="140"/>
                </a:lnTo>
                <a:lnTo>
                  <a:pt x="3447" y="143"/>
                </a:lnTo>
                <a:lnTo>
                  <a:pt x="3455" y="147"/>
                </a:lnTo>
                <a:lnTo>
                  <a:pt x="3460" y="151"/>
                </a:lnTo>
                <a:lnTo>
                  <a:pt x="3466" y="155"/>
                </a:lnTo>
                <a:lnTo>
                  <a:pt x="3470" y="161"/>
                </a:lnTo>
                <a:lnTo>
                  <a:pt x="3475" y="168"/>
                </a:lnTo>
                <a:lnTo>
                  <a:pt x="3479" y="174"/>
                </a:lnTo>
                <a:lnTo>
                  <a:pt x="3482" y="181"/>
                </a:lnTo>
                <a:lnTo>
                  <a:pt x="3485" y="189"/>
                </a:lnTo>
                <a:lnTo>
                  <a:pt x="3488" y="196"/>
                </a:lnTo>
                <a:lnTo>
                  <a:pt x="3488" y="204"/>
                </a:lnTo>
                <a:lnTo>
                  <a:pt x="3489" y="213"/>
                </a:lnTo>
                <a:lnTo>
                  <a:pt x="3488" y="222"/>
                </a:lnTo>
                <a:lnTo>
                  <a:pt x="3488" y="229"/>
                </a:lnTo>
                <a:lnTo>
                  <a:pt x="3485" y="237"/>
                </a:lnTo>
                <a:lnTo>
                  <a:pt x="3482" y="245"/>
                </a:lnTo>
                <a:lnTo>
                  <a:pt x="3479" y="252"/>
                </a:lnTo>
                <a:lnTo>
                  <a:pt x="3475" y="257"/>
                </a:lnTo>
                <a:lnTo>
                  <a:pt x="3470" y="263"/>
                </a:lnTo>
                <a:lnTo>
                  <a:pt x="3466" y="269"/>
                </a:lnTo>
                <a:lnTo>
                  <a:pt x="3460" y="275"/>
                </a:lnTo>
                <a:lnTo>
                  <a:pt x="3455" y="279"/>
                </a:lnTo>
                <a:lnTo>
                  <a:pt x="3447" y="283"/>
                </a:lnTo>
                <a:lnTo>
                  <a:pt x="3442" y="286"/>
                </a:lnTo>
                <a:lnTo>
                  <a:pt x="3433" y="289"/>
                </a:lnTo>
                <a:lnTo>
                  <a:pt x="3426" y="290"/>
                </a:lnTo>
                <a:lnTo>
                  <a:pt x="3419" y="292"/>
                </a:lnTo>
                <a:lnTo>
                  <a:pt x="3410" y="292"/>
                </a:lnTo>
                <a:close/>
                <a:moveTo>
                  <a:pt x="3414" y="97"/>
                </a:moveTo>
                <a:lnTo>
                  <a:pt x="3414" y="97"/>
                </a:lnTo>
                <a:lnTo>
                  <a:pt x="3401" y="97"/>
                </a:lnTo>
                <a:lnTo>
                  <a:pt x="3388" y="99"/>
                </a:lnTo>
                <a:lnTo>
                  <a:pt x="3377" y="102"/>
                </a:lnTo>
                <a:lnTo>
                  <a:pt x="3365" y="108"/>
                </a:lnTo>
                <a:lnTo>
                  <a:pt x="3355" y="114"/>
                </a:lnTo>
                <a:lnTo>
                  <a:pt x="3347" y="121"/>
                </a:lnTo>
                <a:lnTo>
                  <a:pt x="3338" y="130"/>
                </a:lnTo>
                <a:lnTo>
                  <a:pt x="3331" y="140"/>
                </a:lnTo>
                <a:lnTo>
                  <a:pt x="3331" y="102"/>
                </a:lnTo>
                <a:lnTo>
                  <a:pt x="3292" y="102"/>
                </a:lnTo>
                <a:lnTo>
                  <a:pt x="3292" y="413"/>
                </a:lnTo>
                <a:lnTo>
                  <a:pt x="3331" y="413"/>
                </a:lnTo>
                <a:lnTo>
                  <a:pt x="3331" y="285"/>
                </a:lnTo>
                <a:lnTo>
                  <a:pt x="3338" y="295"/>
                </a:lnTo>
                <a:lnTo>
                  <a:pt x="3347" y="303"/>
                </a:lnTo>
                <a:lnTo>
                  <a:pt x="3355" y="311"/>
                </a:lnTo>
                <a:lnTo>
                  <a:pt x="3365" y="318"/>
                </a:lnTo>
                <a:lnTo>
                  <a:pt x="3377" y="322"/>
                </a:lnTo>
                <a:lnTo>
                  <a:pt x="3388" y="326"/>
                </a:lnTo>
                <a:lnTo>
                  <a:pt x="3401" y="328"/>
                </a:lnTo>
                <a:lnTo>
                  <a:pt x="3414" y="329"/>
                </a:lnTo>
                <a:lnTo>
                  <a:pt x="3426" y="329"/>
                </a:lnTo>
                <a:lnTo>
                  <a:pt x="3437" y="326"/>
                </a:lnTo>
                <a:lnTo>
                  <a:pt x="3449" y="324"/>
                </a:lnTo>
                <a:lnTo>
                  <a:pt x="3459" y="321"/>
                </a:lnTo>
                <a:lnTo>
                  <a:pt x="3468" y="315"/>
                </a:lnTo>
                <a:lnTo>
                  <a:pt x="3478" y="309"/>
                </a:lnTo>
                <a:lnTo>
                  <a:pt x="3486" y="303"/>
                </a:lnTo>
                <a:lnTo>
                  <a:pt x="3494" y="296"/>
                </a:lnTo>
                <a:lnTo>
                  <a:pt x="3502" y="288"/>
                </a:lnTo>
                <a:lnTo>
                  <a:pt x="3508" y="279"/>
                </a:lnTo>
                <a:lnTo>
                  <a:pt x="3514" y="269"/>
                </a:lnTo>
                <a:lnTo>
                  <a:pt x="3518" y="259"/>
                </a:lnTo>
                <a:lnTo>
                  <a:pt x="3522" y="247"/>
                </a:lnTo>
                <a:lnTo>
                  <a:pt x="3525" y="236"/>
                </a:lnTo>
                <a:lnTo>
                  <a:pt x="3527" y="224"/>
                </a:lnTo>
                <a:lnTo>
                  <a:pt x="3527" y="213"/>
                </a:lnTo>
                <a:lnTo>
                  <a:pt x="3527" y="200"/>
                </a:lnTo>
                <a:lnTo>
                  <a:pt x="3525" y="189"/>
                </a:lnTo>
                <a:lnTo>
                  <a:pt x="3522" y="177"/>
                </a:lnTo>
                <a:lnTo>
                  <a:pt x="3518" y="167"/>
                </a:lnTo>
                <a:lnTo>
                  <a:pt x="3514" y="157"/>
                </a:lnTo>
                <a:lnTo>
                  <a:pt x="3508" y="147"/>
                </a:lnTo>
                <a:lnTo>
                  <a:pt x="3502" y="138"/>
                </a:lnTo>
                <a:lnTo>
                  <a:pt x="3494" y="130"/>
                </a:lnTo>
                <a:lnTo>
                  <a:pt x="3486" y="122"/>
                </a:lnTo>
                <a:lnTo>
                  <a:pt x="3478" y="115"/>
                </a:lnTo>
                <a:lnTo>
                  <a:pt x="3468" y="110"/>
                </a:lnTo>
                <a:lnTo>
                  <a:pt x="3459" y="105"/>
                </a:lnTo>
                <a:lnTo>
                  <a:pt x="3449" y="101"/>
                </a:lnTo>
                <a:lnTo>
                  <a:pt x="3437" y="98"/>
                </a:lnTo>
                <a:lnTo>
                  <a:pt x="3426" y="97"/>
                </a:lnTo>
                <a:lnTo>
                  <a:pt x="3414" y="97"/>
                </a:lnTo>
                <a:close/>
                <a:moveTo>
                  <a:pt x="3122" y="161"/>
                </a:moveTo>
                <a:lnTo>
                  <a:pt x="3122" y="161"/>
                </a:lnTo>
                <a:lnTo>
                  <a:pt x="3123" y="154"/>
                </a:lnTo>
                <a:lnTo>
                  <a:pt x="3125" y="148"/>
                </a:lnTo>
                <a:lnTo>
                  <a:pt x="3129" y="144"/>
                </a:lnTo>
                <a:lnTo>
                  <a:pt x="3134" y="140"/>
                </a:lnTo>
                <a:lnTo>
                  <a:pt x="3141" y="137"/>
                </a:lnTo>
                <a:lnTo>
                  <a:pt x="3146" y="134"/>
                </a:lnTo>
                <a:lnTo>
                  <a:pt x="3154" y="133"/>
                </a:lnTo>
                <a:lnTo>
                  <a:pt x="3161" y="133"/>
                </a:lnTo>
                <a:lnTo>
                  <a:pt x="3168" y="133"/>
                </a:lnTo>
                <a:lnTo>
                  <a:pt x="3175" y="134"/>
                </a:lnTo>
                <a:lnTo>
                  <a:pt x="3182" y="135"/>
                </a:lnTo>
                <a:lnTo>
                  <a:pt x="3190" y="138"/>
                </a:lnTo>
                <a:lnTo>
                  <a:pt x="3195" y="143"/>
                </a:lnTo>
                <a:lnTo>
                  <a:pt x="3201" y="147"/>
                </a:lnTo>
                <a:lnTo>
                  <a:pt x="3206" y="154"/>
                </a:lnTo>
                <a:lnTo>
                  <a:pt x="3208" y="160"/>
                </a:lnTo>
                <a:lnTo>
                  <a:pt x="3242" y="143"/>
                </a:lnTo>
                <a:lnTo>
                  <a:pt x="3236" y="133"/>
                </a:lnTo>
                <a:lnTo>
                  <a:pt x="3229" y="122"/>
                </a:lnTo>
                <a:lnTo>
                  <a:pt x="3220" y="115"/>
                </a:lnTo>
                <a:lnTo>
                  <a:pt x="3210" y="108"/>
                </a:lnTo>
                <a:lnTo>
                  <a:pt x="3200" y="104"/>
                </a:lnTo>
                <a:lnTo>
                  <a:pt x="3187" y="99"/>
                </a:lnTo>
                <a:lnTo>
                  <a:pt x="3175" y="97"/>
                </a:lnTo>
                <a:lnTo>
                  <a:pt x="3161" y="97"/>
                </a:lnTo>
                <a:lnTo>
                  <a:pt x="3145" y="98"/>
                </a:lnTo>
                <a:lnTo>
                  <a:pt x="3131" y="101"/>
                </a:lnTo>
                <a:lnTo>
                  <a:pt x="3116" y="107"/>
                </a:lnTo>
                <a:lnTo>
                  <a:pt x="3105" y="114"/>
                </a:lnTo>
                <a:lnTo>
                  <a:pt x="3100" y="120"/>
                </a:lnTo>
                <a:lnTo>
                  <a:pt x="3096" y="124"/>
                </a:lnTo>
                <a:lnTo>
                  <a:pt x="3092" y="130"/>
                </a:lnTo>
                <a:lnTo>
                  <a:pt x="3089" y="135"/>
                </a:lnTo>
                <a:lnTo>
                  <a:pt x="3086" y="141"/>
                </a:lnTo>
                <a:lnTo>
                  <a:pt x="3085" y="148"/>
                </a:lnTo>
                <a:lnTo>
                  <a:pt x="3083" y="155"/>
                </a:lnTo>
                <a:lnTo>
                  <a:pt x="3083" y="163"/>
                </a:lnTo>
                <a:lnTo>
                  <a:pt x="3083" y="170"/>
                </a:lnTo>
                <a:lnTo>
                  <a:pt x="3085" y="176"/>
                </a:lnTo>
                <a:lnTo>
                  <a:pt x="3086" y="181"/>
                </a:lnTo>
                <a:lnTo>
                  <a:pt x="3087" y="187"/>
                </a:lnTo>
                <a:lnTo>
                  <a:pt x="3095" y="197"/>
                </a:lnTo>
                <a:lnTo>
                  <a:pt x="3102" y="206"/>
                </a:lnTo>
                <a:lnTo>
                  <a:pt x="3112" y="211"/>
                </a:lnTo>
                <a:lnTo>
                  <a:pt x="3122" y="217"/>
                </a:lnTo>
                <a:lnTo>
                  <a:pt x="3134" y="222"/>
                </a:lnTo>
                <a:lnTo>
                  <a:pt x="3145" y="224"/>
                </a:lnTo>
                <a:lnTo>
                  <a:pt x="3168" y="232"/>
                </a:lnTo>
                <a:lnTo>
                  <a:pt x="3188" y="239"/>
                </a:lnTo>
                <a:lnTo>
                  <a:pt x="3195" y="243"/>
                </a:lnTo>
                <a:lnTo>
                  <a:pt x="3201" y="249"/>
                </a:lnTo>
                <a:lnTo>
                  <a:pt x="3204" y="252"/>
                </a:lnTo>
                <a:lnTo>
                  <a:pt x="3206" y="255"/>
                </a:lnTo>
                <a:lnTo>
                  <a:pt x="3207" y="259"/>
                </a:lnTo>
                <a:lnTo>
                  <a:pt x="3207" y="263"/>
                </a:lnTo>
                <a:lnTo>
                  <a:pt x="3207" y="270"/>
                </a:lnTo>
                <a:lnTo>
                  <a:pt x="3204" y="276"/>
                </a:lnTo>
                <a:lnTo>
                  <a:pt x="3200" y="282"/>
                </a:lnTo>
                <a:lnTo>
                  <a:pt x="3194" y="286"/>
                </a:lnTo>
                <a:lnTo>
                  <a:pt x="3188" y="289"/>
                </a:lnTo>
                <a:lnTo>
                  <a:pt x="3180" y="292"/>
                </a:lnTo>
                <a:lnTo>
                  <a:pt x="3172" y="292"/>
                </a:lnTo>
                <a:lnTo>
                  <a:pt x="3164" y="293"/>
                </a:lnTo>
                <a:lnTo>
                  <a:pt x="3154" y="292"/>
                </a:lnTo>
                <a:lnTo>
                  <a:pt x="3144" y="290"/>
                </a:lnTo>
                <a:lnTo>
                  <a:pt x="3135" y="288"/>
                </a:lnTo>
                <a:lnTo>
                  <a:pt x="3128" y="283"/>
                </a:lnTo>
                <a:lnTo>
                  <a:pt x="3122" y="279"/>
                </a:lnTo>
                <a:lnTo>
                  <a:pt x="3116" y="273"/>
                </a:lnTo>
                <a:lnTo>
                  <a:pt x="3112" y="266"/>
                </a:lnTo>
                <a:lnTo>
                  <a:pt x="3108" y="259"/>
                </a:lnTo>
                <a:lnTo>
                  <a:pt x="3074" y="278"/>
                </a:lnTo>
                <a:lnTo>
                  <a:pt x="3080" y="289"/>
                </a:lnTo>
                <a:lnTo>
                  <a:pt x="3087" y="299"/>
                </a:lnTo>
                <a:lnTo>
                  <a:pt x="3096" y="308"/>
                </a:lnTo>
                <a:lnTo>
                  <a:pt x="3108" y="315"/>
                </a:lnTo>
                <a:lnTo>
                  <a:pt x="3119" y="321"/>
                </a:lnTo>
                <a:lnTo>
                  <a:pt x="3132" y="325"/>
                </a:lnTo>
                <a:lnTo>
                  <a:pt x="3148" y="328"/>
                </a:lnTo>
                <a:lnTo>
                  <a:pt x="3164" y="329"/>
                </a:lnTo>
                <a:lnTo>
                  <a:pt x="3181" y="328"/>
                </a:lnTo>
                <a:lnTo>
                  <a:pt x="3197" y="325"/>
                </a:lnTo>
                <a:lnTo>
                  <a:pt x="3210" y="319"/>
                </a:lnTo>
                <a:lnTo>
                  <a:pt x="3223" y="312"/>
                </a:lnTo>
                <a:lnTo>
                  <a:pt x="3229" y="306"/>
                </a:lnTo>
                <a:lnTo>
                  <a:pt x="3233" y="302"/>
                </a:lnTo>
                <a:lnTo>
                  <a:pt x="3237" y="296"/>
                </a:lnTo>
                <a:lnTo>
                  <a:pt x="3240" y="290"/>
                </a:lnTo>
                <a:lnTo>
                  <a:pt x="3243" y="285"/>
                </a:lnTo>
                <a:lnTo>
                  <a:pt x="3244" y="278"/>
                </a:lnTo>
                <a:lnTo>
                  <a:pt x="3246" y="270"/>
                </a:lnTo>
                <a:lnTo>
                  <a:pt x="3246" y="263"/>
                </a:lnTo>
                <a:lnTo>
                  <a:pt x="3246" y="256"/>
                </a:lnTo>
                <a:lnTo>
                  <a:pt x="3244" y="249"/>
                </a:lnTo>
                <a:lnTo>
                  <a:pt x="3243" y="243"/>
                </a:lnTo>
                <a:lnTo>
                  <a:pt x="3242" y="237"/>
                </a:lnTo>
                <a:lnTo>
                  <a:pt x="3234" y="227"/>
                </a:lnTo>
                <a:lnTo>
                  <a:pt x="3227" y="219"/>
                </a:lnTo>
                <a:lnTo>
                  <a:pt x="3217" y="213"/>
                </a:lnTo>
                <a:lnTo>
                  <a:pt x="3207" y="207"/>
                </a:lnTo>
                <a:lnTo>
                  <a:pt x="3195" y="203"/>
                </a:lnTo>
                <a:lnTo>
                  <a:pt x="3184" y="200"/>
                </a:lnTo>
                <a:lnTo>
                  <a:pt x="3161" y="193"/>
                </a:lnTo>
                <a:lnTo>
                  <a:pt x="3141" y="186"/>
                </a:lnTo>
                <a:lnTo>
                  <a:pt x="3134" y="181"/>
                </a:lnTo>
                <a:lnTo>
                  <a:pt x="3128" y="177"/>
                </a:lnTo>
                <a:lnTo>
                  <a:pt x="3125" y="173"/>
                </a:lnTo>
                <a:lnTo>
                  <a:pt x="3123" y="170"/>
                </a:lnTo>
                <a:lnTo>
                  <a:pt x="3122" y="166"/>
                </a:lnTo>
                <a:lnTo>
                  <a:pt x="3122" y="161"/>
                </a:lnTo>
                <a:close/>
                <a:moveTo>
                  <a:pt x="2949" y="97"/>
                </a:moveTo>
                <a:lnTo>
                  <a:pt x="2949" y="97"/>
                </a:lnTo>
                <a:lnTo>
                  <a:pt x="2938" y="97"/>
                </a:lnTo>
                <a:lnTo>
                  <a:pt x="2926" y="98"/>
                </a:lnTo>
                <a:lnTo>
                  <a:pt x="2916" y="101"/>
                </a:lnTo>
                <a:lnTo>
                  <a:pt x="2907" y="105"/>
                </a:lnTo>
                <a:lnTo>
                  <a:pt x="2899" y="111"/>
                </a:lnTo>
                <a:lnTo>
                  <a:pt x="2890" y="117"/>
                </a:lnTo>
                <a:lnTo>
                  <a:pt x="2883" y="125"/>
                </a:lnTo>
                <a:lnTo>
                  <a:pt x="2877" y="134"/>
                </a:lnTo>
                <a:lnTo>
                  <a:pt x="2877" y="102"/>
                </a:lnTo>
                <a:lnTo>
                  <a:pt x="2838" y="102"/>
                </a:lnTo>
                <a:lnTo>
                  <a:pt x="2838" y="324"/>
                </a:lnTo>
                <a:lnTo>
                  <a:pt x="2877" y="324"/>
                </a:lnTo>
                <a:lnTo>
                  <a:pt x="2877" y="206"/>
                </a:lnTo>
                <a:lnTo>
                  <a:pt x="2877" y="189"/>
                </a:lnTo>
                <a:lnTo>
                  <a:pt x="2882" y="173"/>
                </a:lnTo>
                <a:lnTo>
                  <a:pt x="2884" y="166"/>
                </a:lnTo>
                <a:lnTo>
                  <a:pt x="2887" y="160"/>
                </a:lnTo>
                <a:lnTo>
                  <a:pt x="2892" y="154"/>
                </a:lnTo>
                <a:lnTo>
                  <a:pt x="2896" y="150"/>
                </a:lnTo>
                <a:lnTo>
                  <a:pt x="2905" y="143"/>
                </a:lnTo>
                <a:lnTo>
                  <a:pt x="2916" y="137"/>
                </a:lnTo>
                <a:lnTo>
                  <a:pt x="2928" y="134"/>
                </a:lnTo>
                <a:lnTo>
                  <a:pt x="2941" y="133"/>
                </a:lnTo>
                <a:lnTo>
                  <a:pt x="2954" y="134"/>
                </a:lnTo>
                <a:lnTo>
                  <a:pt x="2964" y="137"/>
                </a:lnTo>
                <a:lnTo>
                  <a:pt x="2974" y="141"/>
                </a:lnTo>
                <a:lnTo>
                  <a:pt x="2981" y="148"/>
                </a:lnTo>
                <a:lnTo>
                  <a:pt x="2988" y="155"/>
                </a:lnTo>
                <a:lnTo>
                  <a:pt x="2992" y="166"/>
                </a:lnTo>
                <a:lnTo>
                  <a:pt x="2995" y="177"/>
                </a:lnTo>
                <a:lnTo>
                  <a:pt x="2997" y="190"/>
                </a:lnTo>
                <a:lnTo>
                  <a:pt x="2997" y="324"/>
                </a:lnTo>
                <a:lnTo>
                  <a:pt x="3034" y="324"/>
                </a:lnTo>
                <a:lnTo>
                  <a:pt x="3034" y="187"/>
                </a:lnTo>
                <a:lnTo>
                  <a:pt x="3034" y="177"/>
                </a:lnTo>
                <a:lnTo>
                  <a:pt x="3033" y="167"/>
                </a:lnTo>
                <a:lnTo>
                  <a:pt x="3031" y="158"/>
                </a:lnTo>
                <a:lnTo>
                  <a:pt x="3028" y="150"/>
                </a:lnTo>
                <a:lnTo>
                  <a:pt x="3026" y="141"/>
                </a:lnTo>
                <a:lnTo>
                  <a:pt x="3021" y="134"/>
                </a:lnTo>
                <a:lnTo>
                  <a:pt x="3017" y="127"/>
                </a:lnTo>
                <a:lnTo>
                  <a:pt x="3011" y="121"/>
                </a:lnTo>
                <a:lnTo>
                  <a:pt x="3005" y="115"/>
                </a:lnTo>
                <a:lnTo>
                  <a:pt x="2998" y="110"/>
                </a:lnTo>
                <a:lnTo>
                  <a:pt x="2991" y="105"/>
                </a:lnTo>
                <a:lnTo>
                  <a:pt x="2984" y="102"/>
                </a:lnTo>
                <a:lnTo>
                  <a:pt x="2975" y="99"/>
                </a:lnTo>
                <a:lnTo>
                  <a:pt x="2968" y="98"/>
                </a:lnTo>
                <a:lnTo>
                  <a:pt x="2958" y="97"/>
                </a:lnTo>
                <a:lnTo>
                  <a:pt x="2949" y="97"/>
                </a:lnTo>
                <a:close/>
                <a:moveTo>
                  <a:pt x="2683" y="133"/>
                </a:moveTo>
                <a:lnTo>
                  <a:pt x="2683" y="133"/>
                </a:lnTo>
                <a:lnTo>
                  <a:pt x="2696" y="134"/>
                </a:lnTo>
                <a:lnTo>
                  <a:pt x="2707" y="137"/>
                </a:lnTo>
                <a:lnTo>
                  <a:pt x="2719" y="141"/>
                </a:lnTo>
                <a:lnTo>
                  <a:pt x="2729" y="148"/>
                </a:lnTo>
                <a:lnTo>
                  <a:pt x="2738" y="157"/>
                </a:lnTo>
                <a:lnTo>
                  <a:pt x="2745" y="168"/>
                </a:lnTo>
                <a:lnTo>
                  <a:pt x="2750" y="181"/>
                </a:lnTo>
                <a:lnTo>
                  <a:pt x="2755" y="197"/>
                </a:lnTo>
                <a:lnTo>
                  <a:pt x="2606" y="197"/>
                </a:lnTo>
                <a:lnTo>
                  <a:pt x="2609" y="183"/>
                </a:lnTo>
                <a:lnTo>
                  <a:pt x="2615" y="170"/>
                </a:lnTo>
                <a:lnTo>
                  <a:pt x="2622" y="160"/>
                </a:lnTo>
                <a:lnTo>
                  <a:pt x="2631" y="150"/>
                </a:lnTo>
                <a:lnTo>
                  <a:pt x="2641" y="143"/>
                </a:lnTo>
                <a:lnTo>
                  <a:pt x="2654" y="137"/>
                </a:lnTo>
                <a:lnTo>
                  <a:pt x="2668" y="134"/>
                </a:lnTo>
                <a:lnTo>
                  <a:pt x="2683" y="133"/>
                </a:lnTo>
                <a:close/>
                <a:moveTo>
                  <a:pt x="2606" y="230"/>
                </a:moveTo>
                <a:lnTo>
                  <a:pt x="2606" y="230"/>
                </a:lnTo>
                <a:lnTo>
                  <a:pt x="2792" y="230"/>
                </a:lnTo>
                <a:lnTo>
                  <a:pt x="2794" y="222"/>
                </a:lnTo>
                <a:lnTo>
                  <a:pt x="2794" y="213"/>
                </a:lnTo>
                <a:lnTo>
                  <a:pt x="2792" y="201"/>
                </a:lnTo>
                <a:lnTo>
                  <a:pt x="2791" y="190"/>
                </a:lnTo>
                <a:lnTo>
                  <a:pt x="2789" y="180"/>
                </a:lnTo>
                <a:lnTo>
                  <a:pt x="2785" y="168"/>
                </a:lnTo>
                <a:lnTo>
                  <a:pt x="2781" y="158"/>
                </a:lnTo>
                <a:lnTo>
                  <a:pt x="2776" y="148"/>
                </a:lnTo>
                <a:lnTo>
                  <a:pt x="2771" y="140"/>
                </a:lnTo>
                <a:lnTo>
                  <a:pt x="2763" y="131"/>
                </a:lnTo>
                <a:lnTo>
                  <a:pt x="2756" y="124"/>
                </a:lnTo>
                <a:lnTo>
                  <a:pt x="2748" y="117"/>
                </a:lnTo>
                <a:lnTo>
                  <a:pt x="2738" y="111"/>
                </a:lnTo>
                <a:lnTo>
                  <a:pt x="2729" y="105"/>
                </a:lnTo>
                <a:lnTo>
                  <a:pt x="2717" y="101"/>
                </a:lnTo>
                <a:lnTo>
                  <a:pt x="2707" y="98"/>
                </a:lnTo>
                <a:lnTo>
                  <a:pt x="2696" y="97"/>
                </a:lnTo>
                <a:lnTo>
                  <a:pt x="2683" y="97"/>
                </a:lnTo>
                <a:lnTo>
                  <a:pt x="2670" y="97"/>
                </a:lnTo>
                <a:lnTo>
                  <a:pt x="2658" y="98"/>
                </a:lnTo>
                <a:lnTo>
                  <a:pt x="2647" y="101"/>
                </a:lnTo>
                <a:lnTo>
                  <a:pt x="2635" y="105"/>
                </a:lnTo>
                <a:lnTo>
                  <a:pt x="2625" y="110"/>
                </a:lnTo>
                <a:lnTo>
                  <a:pt x="2615" y="115"/>
                </a:lnTo>
                <a:lnTo>
                  <a:pt x="2606" y="122"/>
                </a:lnTo>
                <a:lnTo>
                  <a:pt x="2598" y="130"/>
                </a:lnTo>
                <a:lnTo>
                  <a:pt x="2591" y="138"/>
                </a:lnTo>
                <a:lnTo>
                  <a:pt x="2585" y="147"/>
                </a:lnTo>
                <a:lnTo>
                  <a:pt x="2579" y="157"/>
                </a:lnTo>
                <a:lnTo>
                  <a:pt x="2575" y="167"/>
                </a:lnTo>
                <a:lnTo>
                  <a:pt x="2570" y="177"/>
                </a:lnTo>
                <a:lnTo>
                  <a:pt x="2569" y="189"/>
                </a:lnTo>
                <a:lnTo>
                  <a:pt x="2566" y="200"/>
                </a:lnTo>
                <a:lnTo>
                  <a:pt x="2566" y="213"/>
                </a:lnTo>
                <a:lnTo>
                  <a:pt x="2566" y="224"/>
                </a:lnTo>
                <a:lnTo>
                  <a:pt x="2569" y="237"/>
                </a:lnTo>
                <a:lnTo>
                  <a:pt x="2570" y="249"/>
                </a:lnTo>
                <a:lnTo>
                  <a:pt x="2575" y="259"/>
                </a:lnTo>
                <a:lnTo>
                  <a:pt x="2579" y="269"/>
                </a:lnTo>
                <a:lnTo>
                  <a:pt x="2585" y="279"/>
                </a:lnTo>
                <a:lnTo>
                  <a:pt x="2592" y="288"/>
                </a:lnTo>
                <a:lnTo>
                  <a:pt x="2599" y="296"/>
                </a:lnTo>
                <a:lnTo>
                  <a:pt x="2608" y="303"/>
                </a:lnTo>
                <a:lnTo>
                  <a:pt x="2617" y="311"/>
                </a:lnTo>
                <a:lnTo>
                  <a:pt x="2627" y="316"/>
                </a:lnTo>
                <a:lnTo>
                  <a:pt x="2637" y="321"/>
                </a:lnTo>
                <a:lnTo>
                  <a:pt x="2648" y="324"/>
                </a:lnTo>
                <a:lnTo>
                  <a:pt x="2660" y="326"/>
                </a:lnTo>
                <a:lnTo>
                  <a:pt x="2673" y="329"/>
                </a:lnTo>
                <a:lnTo>
                  <a:pt x="2686" y="329"/>
                </a:lnTo>
                <a:lnTo>
                  <a:pt x="2702" y="328"/>
                </a:lnTo>
                <a:lnTo>
                  <a:pt x="2717" y="326"/>
                </a:lnTo>
                <a:lnTo>
                  <a:pt x="2730" y="322"/>
                </a:lnTo>
                <a:lnTo>
                  <a:pt x="2743" y="315"/>
                </a:lnTo>
                <a:lnTo>
                  <a:pt x="2755" y="308"/>
                </a:lnTo>
                <a:lnTo>
                  <a:pt x="2766" y="299"/>
                </a:lnTo>
                <a:lnTo>
                  <a:pt x="2775" y="290"/>
                </a:lnTo>
                <a:lnTo>
                  <a:pt x="2784" y="279"/>
                </a:lnTo>
                <a:lnTo>
                  <a:pt x="2750" y="260"/>
                </a:lnTo>
                <a:lnTo>
                  <a:pt x="2746" y="267"/>
                </a:lnTo>
                <a:lnTo>
                  <a:pt x="2740" y="273"/>
                </a:lnTo>
                <a:lnTo>
                  <a:pt x="2733" y="279"/>
                </a:lnTo>
                <a:lnTo>
                  <a:pt x="2726" y="283"/>
                </a:lnTo>
                <a:lnTo>
                  <a:pt x="2717" y="288"/>
                </a:lnTo>
                <a:lnTo>
                  <a:pt x="2707" y="290"/>
                </a:lnTo>
                <a:lnTo>
                  <a:pt x="2697" y="292"/>
                </a:lnTo>
                <a:lnTo>
                  <a:pt x="2686" y="293"/>
                </a:lnTo>
                <a:lnTo>
                  <a:pt x="2671" y="292"/>
                </a:lnTo>
                <a:lnTo>
                  <a:pt x="2657" y="289"/>
                </a:lnTo>
                <a:lnTo>
                  <a:pt x="2645" y="283"/>
                </a:lnTo>
                <a:lnTo>
                  <a:pt x="2634" y="276"/>
                </a:lnTo>
                <a:lnTo>
                  <a:pt x="2624" y="267"/>
                </a:lnTo>
                <a:lnTo>
                  <a:pt x="2615" y="257"/>
                </a:lnTo>
                <a:lnTo>
                  <a:pt x="2609" y="245"/>
                </a:lnTo>
                <a:lnTo>
                  <a:pt x="2606" y="230"/>
                </a:lnTo>
                <a:close/>
                <a:moveTo>
                  <a:pt x="2481" y="336"/>
                </a:moveTo>
                <a:lnTo>
                  <a:pt x="2481" y="336"/>
                </a:lnTo>
                <a:lnTo>
                  <a:pt x="2481" y="349"/>
                </a:lnTo>
                <a:lnTo>
                  <a:pt x="2478" y="358"/>
                </a:lnTo>
                <a:lnTo>
                  <a:pt x="2475" y="367"/>
                </a:lnTo>
                <a:lnTo>
                  <a:pt x="2470" y="372"/>
                </a:lnTo>
                <a:lnTo>
                  <a:pt x="2464" y="377"/>
                </a:lnTo>
                <a:lnTo>
                  <a:pt x="2455" y="380"/>
                </a:lnTo>
                <a:lnTo>
                  <a:pt x="2445" y="381"/>
                </a:lnTo>
                <a:lnTo>
                  <a:pt x="2434" y="381"/>
                </a:lnTo>
                <a:lnTo>
                  <a:pt x="2434" y="418"/>
                </a:lnTo>
                <a:lnTo>
                  <a:pt x="2444" y="418"/>
                </a:lnTo>
                <a:lnTo>
                  <a:pt x="2454" y="418"/>
                </a:lnTo>
                <a:lnTo>
                  <a:pt x="2462" y="417"/>
                </a:lnTo>
                <a:lnTo>
                  <a:pt x="2471" y="415"/>
                </a:lnTo>
                <a:lnTo>
                  <a:pt x="2478" y="413"/>
                </a:lnTo>
                <a:lnTo>
                  <a:pt x="2486" y="410"/>
                </a:lnTo>
                <a:lnTo>
                  <a:pt x="2493" y="405"/>
                </a:lnTo>
                <a:lnTo>
                  <a:pt x="2498" y="400"/>
                </a:lnTo>
                <a:lnTo>
                  <a:pt x="2503" y="395"/>
                </a:lnTo>
                <a:lnTo>
                  <a:pt x="2507" y="388"/>
                </a:lnTo>
                <a:lnTo>
                  <a:pt x="2511" y="382"/>
                </a:lnTo>
                <a:lnTo>
                  <a:pt x="2514" y="374"/>
                </a:lnTo>
                <a:lnTo>
                  <a:pt x="2517" y="365"/>
                </a:lnTo>
                <a:lnTo>
                  <a:pt x="2519" y="357"/>
                </a:lnTo>
                <a:lnTo>
                  <a:pt x="2520" y="346"/>
                </a:lnTo>
                <a:lnTo>
                  <a:pt x="2520" y="336"/>
                </a:lnTo>
                <a:lnTo>
                  <a:pt x="2520" y="102"/>
                </a:lnTo>
                <a:lnTo>
                  <a:pt x="2481" y="102"/>
                </a:lnTo>
                <a:lnTo>
                  <a:pt x="2481" y="336"/>
                </a:lnTo>
                <a:close/>
                <a:moveTo>
                  <a:pt x="2501" y="62"/>
                </a:moveTo>
                <a:lnTo>
                  <a:pt x="2501" y="62"/>
                </a:lnTo>
                <a:lnTo>
                  <a:pt x="2506" y="61"/>
                </a:lnTo>
                <a:lnTo>
                  <a:pt x="2511" y="59"/>
                </a:lnTo>
                <a:lnTo>
                  <a:pt x="2516" y="58"/>
                </a:lnTo>
                <a:lnTo>
                  <a:pt x="2519" y="54"/>
                </a:lnTo>
                <a:lnTo>
                  <a:pt x="2523" y="51"/>
                </a:lnTo>
                <a:lnTo>
                  <a:pt x="2524" y="46"/>
                </a:lnTo>
                <a:lnTo>
                  <a:pt x="2526" y="41"/>
                </a:lnTo>
                <a:lnTo>
                  <a:pt x="2527" y="36"/>
                </a:lnTo>
                <a:lnTo>
                  <a:pt x="2526" y="31"/>
                </a:lnTo>
                <a:lnTo>
                  <a:pt x="2524" y="26"/>
                </a:lnTo>
                <a:lnTo>
                  <a:pt x="2523" y="22"/>
                </a:lnTo>
                <a:lnTo>
                  <a:pt x="2519" y="18"/>
                </a:lnTo>
                <a:lnTo>
                  <a:pt x="2516" y="15"/>
                </a:lnTo>
                <a:lnTo>
                  <a:pt x="2511" y="12"/>
                </a:lnTo>
                <a:lnTo>
                  <a:pt x="2506" y="10"/>
                </a:lnTo>
                <a:lnTo>
                  <a:pt x="2501" y="9"/>
                </a:lnTo>
                <a:lnTo>
                  <a:pt x="2496" y="10"/>
                </a:lnTo>
                <a:lnTo>
                  <a:pt x="2491" y="12"/>
                </a:lnTo>
                <a:lnTo>
                  <a:pt x="2486" y="15"/>
                </a:lnTo>
                <a:lnTo>
                  <a:pt x="2483" y="18"/>
                </a:lnTo>
                <a:lnTo>
                  <a:pt x="2480" y="22"/>
                </a:lnTo>
                <a:lnTo>
                  <a:pt x="2477" y="26"/>
                </a:lnTo>
                <a:lnTo>
                  <a:pt x="2475" y="31"/>
                </a:lnTo>
                <a:lnTo>
                  <a:pt x="2475" y="36"/>
                </a:lnTo>
                <a:lnTo>
                  <a:pt x="2475" y="41"/>
                </a:lnTo>
                <a:lnTo>
                  <a:pt x="2477" y="46"/>
                </a:lnTo>
                <a:lnTo>
                  <a:pt x="2480" y="51"/>
                </a:lnTo>
                <a:lnTo>
                  <a:pt x="2483" y="54"/>
                </a:lnTo>
                <a:lnTo>
                  <a:pt x="2486" y="58"/>
                </a:lnTo>
                <a:lnTo>
                  <a:pt x="2491" y="59"/>
                </a:lnTo>
                <a:lnTo>
                  <a:pt x="2496" y="61"/>
                </a:lnTo>
                <a:lnTo>
                  <a:pt x="2501" y="62"/>
                </a:lnTo>
                <a:close/>
                <a:moveTo>
                  <a:pt x="2318" y="133"/>
                </a:moveTo>
                <a:lnTo>
                  <a:pt x="2318" y="133"/>
                </a:lnTo>
                <a:lnTo>
                  <a:pt x="2331" y="134"/>
                </a:lnTo>
                <a:lnTo>
                  <a:pt x="2343" y="137"/>
                </a:lnTo>
                <a:lnTo>
                  <a:pt x="2354" y="141"/>
                </a:lnTo>
                <a:lnTo>
                  <a:pt x="2365" y="148"/>
                </a:lnTo>
                <a:lnTo>
                  <a:pt x="2373" y="157"/>
                </a:lnTo>
                <a:lnTo>
                  <a:pt x="2380" y="168"/>
                </a:lnTo>
                <a:lnTo>
                  <a:pt x="2386" y="181"/>
                </a:lnTo>
                <a:lnTo>
                  <a:pt x="2390" y="197"/>
                </a:lnTo>
                <a:lnTo>
                  <a:pt x="2242" y="197"/>
                </a:lnTo>
                <a:lnTo>
                  <a:pt x="2245" y="183"/>
                </a:lnTo>
                <a:lnTo>
                  <a:pt x="2251" y="170"/>
                </a:lnTo>
                <a:lnTo>
                  <a:pt x="2258" y="160"/>
                </a:lnTo>
                <a:lnTo>
                  <a:pt x="2267" y="150"/>
                </a:lnTo>
                <a:lnTo>
                  <a:pt x="2278" y="143"/>
                </a:lnTo>
                <a:lnTo>
                  <a:pt x="2290" y="137"/>
                </a:lnTo>
                <a:lnTo>
                  <a:pt x="2304" y="134"/>
                </a:lnTo>
                <a:lnTo>
                  <a:pt x="2318" y="133"/>
                </a:lnTo>
                <a:close/>
                <a:moveTo>
                  <a:pt x="2242" y="230"/>
                </a:moveTo>
                <a:lnTo>
                  <a:pt x="2242" y="230"/>
                </a:lnTo>
                <a:lnTo>
                  <a:pt x="2428" y="230"/>
                </a:lnTo>
                <a:lnTo>
                  <a:pt x="2429" y="222"/>
                </a:lnTo>
                <a:lnTo>
                  <a:pt x="2429" y="213"/>
                </a:lnTo>
                <a:lnTo>
                  <a:pt x="2429" y="201"/>
                </a:lnTo>
                <a:lnTo>
                  <a:pt x="2428" y="190"/>
                </a:lnTo>
                <a:lnTo>
                  <a:pt x="2425" y="180"/>
                </a:lnTo>
                <a:lnTo>
                  <a:pt x="2422" y="168"/>
                </a:lnTo>
                <a:lnTo>
                  <a:pt x="2418" y="158"/>
                </a:lnTo>
                <a:lnTo>
                  <a:pt x="2412" y="148"/>
                </a:lnTo>
                <a:lnTo>
                  <a:pt x="2406" y="140"/>
                </a:lnTo>
                <a:lnTo>
                  <a:pt x="2399" y="131"/>
                </a:lnTo>
                <a:lnTo>
                  <a:pt x="2392" y="124"/>
                </a:lnTo>
                <a:lnTo>
                  <a:pt x="2383" y="117"/>
                </a:lnTo>
                <a:lnTo>
                  <a:pt x="2375" y="111"/>
                </a:lnTo>
                <a:lnTo>
                  <a:pt x="2365" y="105"/>
                </a:lnTo>
                <a:lnTo>
                  <a:pt x="2354" y="101"/>
                </a:lnTo>
                <a:lnTo>
                  <a:pt x="2343" y="98"/>
                </a:lnTo>
                <a:lnTo>
                  <a:pt x="2331" y="97"/>
                </a:lnTo>
                <a:lnTo>
                  <a:pt x="2318" y="97"/>
                </a:lnTo>
                <a:lnTo>
                  <a:pt x="2306" y="97"/>
                </a:lnTo>
                <a:lnTo>
                  <a:pt x="2294" y="98"/>
                </a:lnTo>
                <a:lnTo>
                  <a:pt x="2282" y="101"/>
                </a:lnTo>
                <a:lnTo>
                  <a:pt x="2271" y="105"/>
                </a:lnTo>
                <a:lnTo>
                  <a:pt x="2261" y="110"/>
                </a:lnTo>
                <a:lnTo>
                  <a:pt x="2251" y="115"/>
                </a:lnTo>
                <a:lnTo>
                  <a:pt x="2242" y="122"/>
                </a:lnTo>
                <a:lnTo>
                  <a:pt x="2235" y="130"/>
                </a:lnTo>
                <a:lnTo>
                  <a:pt x="2228" y="138"/>
                </a:lnTo>
                <a:lnTo>
                  <a:pt x="2221" y="147"/>
                </a:lnTo>
                <a:lnTo>
                  <a:pt x="2215" y="157"/>
                </a:lnTo>
                <a:lnTo>
                  <a:pt x="2210" y="167"/>
                </a:lnTo>
                <a:lnTo>
                  <a:pt x="2208" y="177"/>
                </a:lnTo>
                <a:lnTo>
                  <a:pt x="2205" y="189"/>
                </a:lnTo>
                <a:lnTo>
                  <a:pt x="2203" y="200"/>
                </a:lnTo>
                <a:lnTo>
                  <a:pt x="2202" y="213"/>
                </a:lnTo>
                <a:lnTo>
                  <a:pt x="2203" y="224"/>
                </a:lnTo>
                <a:lnTo>
                  <a:pt x="2205" y="237"/>
                </a:lnTo>
                <a:lnTo>
                  <a:pt x="2208" y="249"/>
                </a:lnTo>
                <a:lnTo>
                  <a:pt x="2210" y="259"/>
                </a:lnTo>
                <a:lnTo>
                  <a:pt x="2215" y="269"/>
                </a:lnTo>
                <a:lnTo>
                  <a:pt x="2221" y="279"/>
                </a:lnTo>
                <a:lnTo>
                  <a:pt x="2228" y="288"/>
                </a:lnTo>
                <a:lnTo>
                  <a:pt x="2235" y="296"/>
                </a:lnTo>
                <a:lnTo>
                  <a:pt x="2244" y="303"/>
                </a:lnTo>
                <a:lnTo>
                  <a:pt x="2252" y="311"/>
                </a:lnTo>
                <a:lnTo>
                  <a:pt x="2262" y="316"/>
                </a:lnTo>
                <a:lnTo>
                  <a:pt x="2272" y="321"/>
                </a:lnTo>
                <a:lnTo>
                  <a:pt x="2284" y="324"/>
                </a:lnTo>
                <a:lnTo>
                  <a:pt x="2295" y="326"/>
                </a:lnTo>
                <a:lnTo>
                  <a:pt x="2308" y="329"/>
                </a:lnTo>
                <a:lnTo>
                  <a:pt x="2321" y="329"/>
                </a:lnTo>
                <a:lnTo>
                  <a:pt x="2337" y="328"/>
                </a:lnTo>
                <a:lnTo>
                  <a:pt x="2353" y="326"/>
                </a:lnTo>
                <a:lnTo>
                  <a:pt x="2366" y="322"/>
                </a:lnTo>
                <a:lnTo>
                  <a:pt x="2379" y="315"/>
                </a:lnTo>
                <a:lnTo>
                  <a:pt x="2392" y="308"/>
                </a:lnTo>
                <a:lnTo>
                  <a:pt x="2402" y="299"/>
                </a:lnTo>
                <a:lnTo>
                  <a:pt x="2411" y="290"/>
                </a:lnTo>
                <a:lnTo>
                  <a:pt x="2419" y="279"/>
                </a:lnTo>
                <a:lnTo>
                  <a:pt x="2386" y="260"/>
                </a:lnTo>
                <a:lnTo>
                  <a:pt x="2382" y="267"/>
                </a:lnTo>
                <a:lnTo>
                  <a:pt x="2376" y="273"/>
                </a:lnTo>
                <a:lnTo>
                  <a:pt x="2369" y="279"/>
                </a:lnTo>
                <a:lnTo>
                  <a:pt x="2362" y="283"/>
                </a:lnTo>
                <a:lnTo>
                  <a:pt x="2353" y="288"/>
                </a:lnTo>
                <a:lnTo>
                  <a:pt x="2343" y="290"/>
                </a:lnTo>
                <a:lnTo>
                  <a:pt x="2333" y="292"/>
                </a:lnTo>
                <a:lnTo>
                  <a:pt x="2323" y="293"/>
                </a:lnTo>
                <a:lnTo>
                  <a:pt x="2307" y="292"/>
                </a:lnTo>
                <a:lnTo>
                  <a:pt x="2294" y="289"/>
                </a:lnTo>
                <a:lnTo>
                  <a:pt x="2281" y="283"/>
                </a:lnTo>
                <a:lnTo>
                  <a:pt x="2270" y="276"/>
                </a:lnTo>
                <a:lnTo>
                  <a:pt x="2259" y="267"/>
                </a:lnTo>
                <a:lnTo>
                  <a:pt x="2252" y="257"/>
                </a:lnTo>
                <a:lnTo>
                  <a:pt x="2245" y="245"/>
                </a:lnTo>
                <a:lnTo>
                  <a:pt x="2242" y="230"/>
                </a:lnTo>
                <a:close/>
                <a:moveTo>
                  <a:pt x="2117" y="324"/>
                </a:moveTo>
                <a:lnTo>
                  <a:pt x="2117" y="324"/>
                </a:lnTo>
                <a:lnTo>
                  <a:pt x="2156" y="324"/>
                </a:lnTo>
                <a:lnTo>
                  <a:pt x="2156" y="0"/>
                </a:lnTo>
                <a:lnTo>
                  <a:pt x="2117" y="0"/>
                </a:lnTo>
                <a:lnTo>
                  <a:pt x="2117" y="324"/>
                </a:lnTo>
                <a:close/>
                <a:moveTo>
                  <a:pt x="1954" y="292"/>
                </a:moveTo>
                <a:lnTo>
                  <a:pt x="1954" y="292"/>
                </a:lnTo>
                <a:lnTo>
                  <a:pt x="1946" y="290"/>
                </a:lnTo>
                <a:lnTo>
                  <a:pt x="1938" y="290"/>
                </a:lnTo>
                <a:lnTo>
                  <a:pt x="1930" y="288"/>
                </a:lnTo>
                <a:lnTo>
                  <a:pt x="1922" y="286"/>
                </a:lnTo>
                <a:lnTo>
                  <a:pt x="1917" y="282"/>
                </a:lnTo>
                <a:lnTo>
                  <a:pt x="1910" y="279"/>
                </a:lnTo>
                <a:lnTo>
                  <a:pt x="1904" y="273"/>
                </a:lnTo>
                <a:lnTo>
                  <a:pt x="1898" y="269"/>
                </a:lnTo>
                <a:lnTo>
                  <a:pt x="1894" y="263"/>
                </a:lnTo>
                <a:lnTo>
                  <a:pt x="1889" y="257"/>
                </a:lnTo>
                <a:lnTo>
                  <a:pt x="1885" y="250"/>
                </a:lnTo>
                <a:lnTo>
                  <a:pt x="1882" y="245"/>
                </a:lnTo>
                <a:lnTo>
                  <a:pt x="1879" y="236"/>
                </a:lnTo>
                <a:lnTo>
                  <a:pt x="1876" y="229"/>
                </a:lnTo>
                <a:lnTo>
                  <a:pt x="1876" y="222"/>
                </a:lnTo>
                <a:lnTo>
                  <a:pt x="1875" y="213"/>
                </a:lnTo>
                <a:lnTo>
                  <a:pt x="1876" y="204"/>
                </a:lnTo>
                <a:lnTo>
                  <a:pt x="1876" y="197"/>
                </a:lnTo>
                <a:lnTo>
                  <a:pt x="1879" y="189"/>
                </a:lnTo>
                <a:lnTo>
                  <a:pt x="1882" y="181"/>
                </a:lnTo>
                <a:lnTo>
                  <a:pt x="1885" y="174"/>
                </a:lnTo>
                <a:lnTo>
                  <a:pt x="1889" y="168"/>
                </a:lnTo>
                <a:lnTo>
                  <a:pt x="1894" y="163"/>
                </a:lnTo>
                <a:lnTo>
                  <a:pt x="1898" y="157"/>
                </a:lnTo>
                <a:lnTo>
                  <a:pt x="1904" y="151"/>
                </a:lnTo>
                <a:lnTo>
                  <a:pt x="1910" y="147"/>
                </a:lnTo>
                <a:lnTo>
                  <a:pt x="1917" y="143"/>
                </a:lnTo>
                <a:lnTo>
                  <a:pt x="1922" y="140"/>
                </a:lnTo>
                <a:lnTo>
                  <a:pt x="1930" y="137"/>
                </a:lnTo>
                <a:lnTo>
                  <a:pt x="1938" y="135"/>
                </a:lnTo>
                <a:lnTo>
                  <a:pt x="1946" y="134"/>
                </a:lnTo>
                <a:lnTo>
                  <a:pt x="1954" y="134"/>
                </a:lnTo>
                <a:lnTo>
                  <a:pt x="1961" y="134"/>
                </a:lnTo>
                <a:lnTo>
                  <a:pt x="1970" y="135"/>
                </a:lnTo>
                <a:lnTo>
                  <a:pt x="1977" y="137"/>
                </a:lnTo>
                <a:lnTo>
                  <a:pt x="1984" y="140"/>
                </a:lnTo>
                <a:lnTo>
                  <a:pt x="1992" y="143"/>
                </a:lnTo>
                <a:lnTo>
                  <a:pt x="1999" y="147"/>
                </a:lnTo>
                <a:lnTo>
                  <a:pt x="2005" y="151"/>
                </a:lnTo>
                <a:lnTo>
                  <a:pt x="2010" y="157"/>
                </a:lnTo>
                <a:lnTo>
                  <a:pt x="2015" y="163"/>
                </a:lnTo>
                <a:lnTo>
                  <a:pt x="2019" y="168"/>
                </a:lnTo>
                <a:lnTo>
                  <a:pt x="2023" y="174"/>
                </a:lnTo>
                <a:lnTo>
                  <a:pt x="2026" y="181"/>
                </a:lnTo>
                <a:lnTo>
                  <a:pt x="2029" y="189"/>
                </a:lnTo>
                <a:lnTo>
                  <a:pt x="2030" y="197"/>
                </a:lnTo>
                <a:lnTo>
                  <a:pt x="2032" y="204"/>
                </a:lnTo>
                <a:lnTo>
                  <a:pt x="2032" y="213"/>
                </a:lnTo>
                <a:lnTo>
                  <a:pt x="2032" y="222"/>
                </a:lnTo>
                <a:lnTo>
                  <a:pt x="2030" y="229"/>
                </a:lnTo>
                <a:lnTo>
                  <a:pt x="2029" y="236"/>
                </a:lnTo>
                <a:lnTo>
                  <a:pt x="2026" y="245"/>
                </a:lnTo>
                <a:lnTo>
                  <a:pt x="2023" y="250"/>
                </a:lnTo>
                <a:lnTo>
                  <a:pt x="2019" y="257"/>
                </a:lnTo>
                <a:lnTo>
                  <a:pt x="2015" y="263"/>
                </a:lnTo>
                <a:lnTo>
                  <a:pt x="2010" y="269"/>
                </a:lnTo>
                <a:lnTo>
                  <a:pt x="2005" y="273"/>
                </a:lnTo>
                <a:lnTo>
                  <a:pt x="1999" y="279"/>
                </a:lnTo>
                <a:lnTo>
                  <a:pt x="1992" y="282"/>
                </a:lnTo>
                <a:lnTo>
                  <a:pt x="1984" y="286"/>
                </a:lnTo>
                <a:lnTo>
                  <a:pt x="1977" y="288"/>
                </a:lnTo>
                <a:lnTo>
                  <a:pt x="1970" y="290"/>
                </a:lnTo>
                <a:lnTo>
                  <a:pt x="1961" y="290"/>
                </a:lnTo>
                <a:lnTo>
                  <a:pt x="1954" y="292"/>
                </a:lnTo>
                <a:close/>
                <a:moveTo>
                  <a:pt x="1954" y="329"/>
                </a:moveTo>
                <a:lnTo>
                  <a:pt x="1954" y="329"/>
                </a:lnTo>
                <a:lnTo>
                  <a:pt x="1966" y="329"/>
                </a:lnTo>
                <a:lnTo>
                  <a:pt x="1977" y="326"/>
                </a:lnTo>
                <a:lnTo>
                  <a:pt x="1989" y="324"/>
                </a:lnTo>
                <a:lnTo>
                  <a:pt x="1999" y="321"/>
                </a:lnTo>
                <a:lnTo>
                  <a:pt x="2010" y="315"/>
                </a:lnTo>
                <a:lnTo>
                  <a:pt x="2019" y="309"/>
                </a:lnTo>
                <a:lnTo>
                  <a:pt x="2029" y="303"/>
                </a:lnTo>
                <a:lnTo>
                  <a:pt x="2036" y="296"/>
                </a:lnTo>
                <a:lnTo>
                  <a:pt x="2045" y="288"/>
                </a:lnTo>
                <a:lnTo>
                  <a:pt x="2051" y="279"/>
                </a:lnTo>
                <a:lnTo>
                  <a:pt x="2056" y="269"/>
                </a:lnTo>
                <a:lnTo>
                  <a:pt x="2062" y="259"/>
                </a:lnTo>
                <a:lnTo>
                  <a:pt x="2066" y="247"/>
                </a:lnTo>
                <a:lnTo>
                  <a:pt x="2069" y="236"/>
                </a:lnTo>
                <a:lnTo>
                  <a:pt x="2071" y="224"/>
                </a:lnTo>
                <a:lnTo>
                  <a:pt x="2071" y="213"/>
                </a:lnTo>
                <a:lnTo>
                  <a:pt x="2071" y="200"/>
                </a:lnTo>
                <a:lnTo>
                  <a:pt x="2069" y="189"/>
                </a:lnTo>
                <a:lnTo>
                  <a:pt x="2066" y="177"/>
                </a:lnTo>
                <a:lnTo>
                  <a:pt x="2062" y="167"/>
                </a:lnTo>
                <a:lnTo>
                  <a:pt x="2056" y="157"/>
                </a:lnTo>
                <a:lnTo>
                  <a:pt x="2051" y="147"/>
                </a:lnTo>
                <a:lnTo>
                  <a:pt x="2045" y="138"/>
                </a:lnTo>
                <a:lnTo>
                  <a:pt x="2036" y="130"/>
                </a:lnTo>
                <a:lnTo>
                  <a:pt x="2029" y="122"/>
                </a:lnTo>
                <a:lnTo>
                  <a:pt x="2019" y="115"/>
                </a:lnTo>
                <a:lnTo>
                  <a:pt x="2010" y="110"/>
                </a:lnTo>
                <a:lnTo>
                  <a:pt x="1999" y="105"/>
                </a:lnTo>
                <a:lnTo>
                  <a:pt x="1989" y="101"/>
                </a:lnTo>
                <a:lnTo>
                  <a:pt x="1977" y="98"/>
                </a:lnTo>
                <a:lnTo>
                  <a:pt x="1966" y="97"/>
                </a:lnTo>
                <a:lnTo>
                  <a:pt x="1954" y="97"/>
                </a:lnTo>
                <a:lnTo>
                  <a:pt x="1941" y="97"/>
                </a:lnTo>
                <a:lnTo>
                  <a:pt x="1930" y="98"/>
                </a:lnTo>
                <a:lnTo>
                  <a:pt x="1920" y="101"/>
                </a:lnTo>
                <a:lnTo>
                  <a:pt x="1908" y="105"/>
                </a:lnTo>
                <a:lnTo>
                  <a:pt x="1898" y="110"/>
                </a:lnTo>
                <a:lnTo>
                  <a:pt x="1888" y="115"/>
                </a:lnTo>
                <a:lnTo>
                  <a:pt x="1879" y="122"/>
                </a:lnTo>
                <a:lnTo>
                  <a:pt x="1871" y="130"/>
                </a:lnTo>
                <a:lnTo>
                  <a:pt x="1863" y="138"/>
                </a:lnTo>
                <a:lnTo>
                  <a:pt x="1856" y="147"/>
                </a:lnTo>
                <a:lnTo>
                  <a:pt x="1850" y="157"/>
                </a:lnTo>
                <a:lnTo>
                  <a:pt x="1846" y="167"/>
                </a:lnTo>
                <a:lnTo>
                  <a:pt x="1842" y="177"/>
                </a:lnTo>
                <a:lnTo>
                  <a:pt x="1839" y="189"/>
                </a:lnTo>
                <a:lnTo>
                  <a:pt x="1838" y="200"/>
                </a:lnTo>
                <a:lnTo>
                  <a:pt x="1838" y="213"/>
                </a:lnTo>
                <a:lnTo>
                  <a:pt x="1838" y="224"/>
                </a:lnTo>
                <a:lnTo>
                  <a:pt x="1839" y="236"/>
                </a:lnTo>
                <a:lnTo>
                  <a:pt x="1842" y="247"/>
                </a:lnTo>
                <a:lnTo>
                  <a:pt x="1846" y="259"/>
                </a:lnTo>
                <a:lnTo>
                  <a:pt x="1850" y="269"/>
                </a:lnTo>
                <a:lnTo>
                  <a:pt x="1856" y="279"/>
                </a:lnTo>
                <a:lnTo>
                  <a:pt x="1863" y="288"/>
                </a:lnTo>
                <a:lnTo>
                  <a:pt x="1871" y="296"/>
                </a:lnTo>
                <a:lnTo>
                  <a:pt x="1879" y="303"/>
                </a:lnTo>
                <a:lnTo>
                  <a:pt x="1888" y="309"/>
                </a:lnTo>
                <a:lnTo>
                  <a:pt x="1898" y="315"/>
                </a:lnTo>
                <a:lnTo>
                  <a:pt x="1908" y="321"/>
                </a:lnTo>
                <a:lnTo>
                  <a:pt x="1920" y="324"/>
                </a:lnTo>
                <a:lnTo>
                  <a:pt x="1930" y="326"/>
                </a:lnTo>
                <a:lnTo>
                  <a:pt x="1941" y="329"/>
                </a:lnTo>
                <a:lnTo>
                  <a:pt x="1954" y="329"/>
                </a:lnTo>
                <a:close/>
                <a:moveTo>
                  <a:pt x="1833" y="324"/>
                </a:moveTo>
                <a:lnTo>
                  <a:pt x="1833" y="324"/>
                </a:lnTo>
                <a:lnTo>
                  <a:pt x="1724" y="209"/>
                </a:lnTo>
                <a:lnTo>
                  <a:pt x="1830" y="102"/>
                </a:lnTo>
                <a:lnTo>
                  <a:pt x="1780" y="102"/>
                </a:lnTo>
                <a:lnTo>
                  <a:pt x="1685" y="200"/>
                </a:lnTo>
                <a:lnTo>
                  <a:pt x="1685" y="13"/>
                </a:lnTo>
                <a:lnTo>
                  <a:pt x="1646" y="13"/>
                </a:lnTo>
                <a:lnTo>
                  <a:pt x="1646" y="324"/>
                </a:lnTo>
                <a:lnTo>
                  <a:pt x="1685" y="324"/>
                </a:lnTo>
                <a:lnTo>
                  <a:pt x="1685" y="219"/>
                </a:lnTo>
                <a:lnTo>
                  <a:pt x="1786" y="324"/>
                </a:lnTo>
                <a:lnTo>
                  <a:pt x="1833" y="324"/>
                </a:lnTo>
                <a:close/>
                <a:moveTo>
                  <a:pt x="1469" y="292"/>
                </a:moveTo>
                <a:lnTo>
                  <a:pt x="1469" y="292"/>
                </a:lnTo>
                <a:lnTo>
                  <a:pt x="1462" y="292"/>
                </a:lnTo>
                <a:lnTo>
                  <a:pt x="1453" y="290"/>
                </a:lnTo>
                <a:lnTo>
                  <a:pt x="1446" y="289"/>
                </a:lnTo>
                <a:lnTo>
                  <a:pt x="1439" y="286"/>
                </a:lnTo>
                <a:lnTo>
                  <a:pt x="1431" y="283"/>
                </a:lnTo>
                <a:lnTo>
                  <a:pt x="1424" y="279"/>
                </a:lnTo>
                <a:lnTo>
                  <a:pt x="1418" y="275"/>
                </a:lnTo>
                <a:lnTo>
                  <a:pt x="1413" y="269"/>
                </a:lnTo>
                <a:lnTo>
                  <a:pt x="1408" y="263"/>
                </a:lnTo>
                <a:lnTo>
                  <a:pt x="1404" y="257"/>
                </a:lnTo>
                <a:lnTo>
                  <a:pt x="1400" y="252"/>
                </a:lnTo>
                <a:lnTo>
                  <a:pt x="1397" y="245"/>
                </a:lnTo>
                <a:lnTo>
                  <a:pt x="1394" y="237"/>
                </a:lnTo>
                <a:lnTo>
                  <a:pt x="1393" y="229"/>
                </a:lnTo>
                <a:lnTo>
                  <a:pt x="1391" y="222"/>
                </a:lnTo>
                <a:lnTo>
                  <a:pt x="1391" y="213"/>
                </a:lnTo>
                <a:lnTo>
                  <a:pt x="1391" y="204"/>
                </a:lnTo>
                <a:lnTo>
                  <a:pt x="1393" y="196"/>
                </a:lnTo>
                <a:lnTo>
                  <a:pt x="1394" y="189"/>
                </a:lnTo>
                <a:lnTo>
                  <a:pt x="1397" y="181"/>
                </a:lnTo>
                <a:lnTo>
                  <a:pt x="1400" y="174"/>
                </a:lnTo>
                <a:lnTo>
                  <a:pt x="1404" y="168"/>
                </a:lnTo>
                <a:lnTo>
                  <a:pt x="1408" y="161"/>
                </a:lnTo>
                <a:lnTo>
                  <a:pt x="1413" y="155"/>
                </a:lnTo>
                <a:lnTo>
                  <a:pt x="1418" y="151"/>
                </a:lnTo>
                <a:lnTo>
                  <a:pt x="1424" y="147"/>
                </a:lnTo>
                <a:lnTo>
                  <a:pt x="1431" y="143"/>
                </a:lnTo>
                <a:lnTo>
                  <a:pt x="1439" y="140"/>
                </a:lnTo>
                <a:lnTo>
                  <a:pt x="1446" y="137"/>
                </a:lnTo>
                <a:lnTo>
                  <a:pt x="1453" y="135"/>
                </a:lnTo>
                <a:lnTo>
                  <a:pt x="1462" y="134"/>
                </a:lnTo>
                <a:lnTo>
                  <a:pt x="1469" y="134"/>
                </a:lnTo>
                <a:lnTo>
                  <a:pt x="1478" y="134"/>
                </a:lnTo>
                <a:lnTo>
                  <a:pt x="1486" y="135"/>
                </a:lnTo>
                <a:lnTo>
                  <a:pt x="1493" y="137"/>
                </a:lnTo>
                <a:lnTo>
                  <a:pt x="1501" y="140"/>
                </a:lnTo>
                <a:lnTo>
                  <a:pt x="1508" y="143"/>
                </a:lnTo>
                <a:lnTo>
                  <a:pt x="1514" y="147"/>
                </a:lnTo>
                <a:lnTo>
                  <a:pt x="1521" y="151"/>
                </a:lnTo>
                <a:lnTo>
                  <a:pt x="1525" y="155"/>
                </a:lnTo>
                <a:lnTo>
                  <a:pt x="1531" y="161"/>
                </a:lnTo>
                <a:lnTo>
                  <a:pt x="1535" y="168"/>
                </a:lnTo>
                <a:lnTo>
                  <a:pt x="1539" y="174"/>
                </a:lnTo>
                <a:lnTo>
                  <a:pt x="1542" y="181"/>
                </a:lnTo>
                <a:lnTo>
                  <a:pt x="1545" y="189"/>
                </a:lnTo>
                <a:lnTo>
                  <a:pt x="1547" y="196"/>
                </a:lnTo>
                <a:lnTo>
                  <a:pt x="1548" y="204"/>
                </a:lnTo>
                <a:lnTo>
                  <a:pt x="1548" y="213"/>
                </a:lnTo>
                <a:lnTo>
                  <a:pt x="1548" y="222"/>
                </a:lnTo>
                <a:lnTo>
                  <a:pt x="1547" y="229"/>
                </a:lnTo>
                <a:lnTo>
                  <a:pt x="1545" y="237"/>
                </a:lnTo>
                <a:lnTo>
                  <a:pt x="1542" y="245"/>
                </a:lnTo>
                <a:lnTo>
                  <a:pt x="1539" y="252"/>
                </a:lnTo>
                <a:lnTo>
                  <a:pt x="1535" y="257"/>
                </a:lnTo>
                <a:lnTo>
                  <a:pt x="1531" y="263"/>
                </a:lnTo>
                <a:lnTo>
                  <a:pt x="1525" y="269"/>
                </a:lnTo>
                <a:lnTo>
                  <a:pt x="1521" y="275"/>
                </a:lnTo>
                <a:lnTo>
                  <a:pt x="1514" y="279"/>
                </a:lnTo>
                <a:lnTo>
                  <a:pt x="1508" y="283"/>
                </a:lnTo>
                <a:lnTo>
                  <a:pt x="1501" y="286"/>
                </a:lnTo>
                <a:lnTo>
                  <a:pt x="1493" y="289"/>
                </a:lnTo>
                <a:lnTo>
                  <a:pt x="1486" y="290"/>
                </a:lnTo>
                <a:lnTo>
                  <a:pt x="1478" y="292"/>
                </a:lnTo>
                <a:lnTo>
                  <a:pt x="1469" y="292"/>
                </a:lnTo>
                <a:close/>
                <a:moveTo>
                  <a:pt x="1548" y="102"/>
                </a:moveTo>
                <a:lnTo>
                  <a:pt x="1548" y="102"/>
                </a:lnTo>
                <a:lnTo>
                  <a:pt x="1548" y="140"/>
                </a:lnTo>
                <a:lnTo>
                  <a:pt x="1541" y="130"/>
                </a:lnTo>
                <a:lnTo>
                  <a:pt x="1534" y="121"/>
                </a:lnTo>
                <a:lnTo>
                  <a:pt x="1524" y="114"/>
                </a:lnTo>
                <a:lnTo>
                  <a:pt x="1514" y="108"/>
                </a:lnTo>
                <a:lnTo>
                  <a:pt x="1503" y="102"/>
                </a:lnTo>
                <a:lnTo>
                  <a:pt x="1490" y="99"/>
                </a:lnTo>
                <a:lnTo>
                  <a:pt x="1478" y="97"/>
                </a:lnTo>
                <a:lnTo>
                  <a:pt x="1465" y="97"/>
                </a:lnTo>
                <a:lnTo>
                  <a:pt x="1453" y="97"/>
                </a:lnTo>
                <a:lnTo>
                  <a:pt x="1442" y="98"/>
                </a:lnTo>
                <a:lnTo>
                  <a:pt x="1431" y="101"/>
                </a:lnTo>
                <a:lnTo>
                  <a:pt x="1421" y="105"/>
                </a:lnTo>
                <a:lnTo>
                  <a:pt x="1411" y="110"/>
                </a:lnTo>
                <a:lnTo>
                  <a:pt x="1401" y="115"/>
                </a:lnTo>
                <a:lnTo>
                  <a:pt x="1393" y="122"/>
                </a:lnTo>
                <a:lnTo>
                  <a:pt x="1385" y="130"/>
                </a:lnTo>
                <a:lnTo>
                  <a:pt x="1378" y="138"/>
                </a:lnTo>
                <a:lnTo>
                  <a:pt x="1371" y="147"/>
                </a:lnTo>
                <a:lnTo>
                  <a:pt x="1365" y="157"/>
                </a:lnTo>
                <a:lnTo>
                  <a:pt x="1361" y="167"/>
                </a:lnTo>
                <a:lnTo>
                  <a:pt x="1357" y="177"/>
                </a:lnTo>
                <a:lnTo>
                  <a:pt x="1354" y="189"/>
                </a:lnTo>
                <a:lnTo>
                  <a:pt x="1352" y="200"/>
                </a:lnTo>
                <a:lnTo>
                  <a:pt x="1352" y="213"/>
                </a:lnTo>
                <a:lnTo>
                  <a:pt x="1352" y="224"/>
                </a:lnTo>
                <a:lnTo>
                  <a:pt x="1354" y="236"/>
                </a:lnTo>
                <a:lnTo>
                  <a:pt x="1357" y="247"/>
                </a:lnTo>
                <a:lnTo>
                  <a:pt x="1361" y="259"/>
                </a:lnTo>
                <a:lnTo>
                  <a:pt x="1365" y="269"/>
                </a:lnTo>
                <a:lnTo>
                  <a:pt x="1371" y="279"/>
                </a:lnTo>
                <a:lnTo>
                  <a:pt x="1378" y="288"/>
                </a:lnTo>
                <a:lnTo>
                  <a:pt x="1385" y="296"/>
                </a:lnTo>
                <a:lnTo>
                  <a:pt x="1393" y="303"/>
                </a:lnTo>
                <a:lnTo>
                  <a:pt x="1401" y="309"/>
                </a:lnTo>
                <a:lnTo>
                  <a:pt x="1411" y="315"/>
                </a:lnTo>
                <a:lnTo>
                  <a:pt x="1421" y="321"/>
                </a:lnTo>
                <a:lnTo>
                  <a:pt x="1431" y="324"/>
                </a:lnTo>
                <a:lnTo>
                  <a:pt x="1442" y="326"/>
                </a:lnTo>
                <a:lnTo>
                  <a:pt x="1453" y="329"/>
                </a:lnTo>
                <a:lnTo>
                  <a:pt x="1465" y="329"/>
                </a:lnTo>
                <a:lnTo>
                  <a:pt x="1478" y="328"/>
                </a:lnTo>
                <a:lnTo>
                  <a:pt x="1490" y="326"/>
                </a:lnTo>
                <a:lnTo>
                  <a:pt x="1503" y="322"/>
                </a:lnTo>
                <a:lnTo>
                  <a:pt x="1514" y="318"/>
                </a:lnTo>
                <a:lnTo>
                  <a:pt x="1524" y="311"/>
                </a:lnTo>
                <a:lnTo>
                  <a:pt x="1534" y="303"/>
                </a:lnTo>
                <a:lnTo>
                  <a:pt x="1541" y="295"/>
                </a:lnTo>
                <a:lnTo>
                  <a:pt x="1548" y="285"/>
                </a:lnTo>
                <a:lnTo>
                  <a:pt x="1548" y="324"/>
                </a:lnTo>
                <a:lnTo>
                  <a:pt x="1587" y="324"/>
                </a:lnTo>
                <a:lnTo>
                  <a:pt x="1587" y="102"/>
                </a:lnTo>
                <a:lnTo>
                  <a:pt x="1548" y="102"/>
                </a:lnTo>
                <a:close/>
                <a:moveTo>
                  <a:pt x="1224" y="97"/>
                </a:moveTo>
                <a:lnTo>
                  <a:pt x="1224" y="97"/>
                </a:lnTo>
                <a:lnTo>
                  <a:pt x="1213" y="97"/>
                </a:lnTo>
                <a:lnTo>
                  <a:pt x="1202" y="98"/>
                </a:lnTo>
                <a:lnTo>
                  <a:pt x="1192" y="101"/>
                </a:lnTo>
                <a:lnTo>
                  <a:pt x="1182" y="105"/>
                </a:lnTo>
                <a:lnTo>
                  <a:pt x="1174" y="111"/>
                </a:lnTo>
                <a:lnTo>
                  <a:pt x="1166" y="117"/>
                </a:lnTo>
                <a:lnTo>
                  <a:pt x="1159" y="125"/>
                </a:lnTo>
                <a:lnTo>
                  <a:pt x="1152" y="134"/>
                </a:lnTo>
                <a:lnTo>
                  <a:pt x="1152" y="102"/>
                </a:lnTo>
                <a:lnTo>
                  <a:pt x="1113" y="102"/>
                </a:lnTo>
                <a:lnTo>
                  <a:pt x="1113" y="324"/>
                </a:lnTo>
                <a:lnTo>
                  <a:pt x="1152" y="324"/>
                </a:lnTo>
                <a:lnTo>
                  <a:pt x="1152" y="206"/>
                </a:lnTo>
                <a:lnTo>
                  <a:pt x="1154" y="189"/>
                </a:lnTo>
                <a:lnTo>
                  <a:pt x="1158" y="173"/>
                </a:lnTo>
                <a:lnTo>
                  <a:pt x="1161" y="166"/>
                </a:lnTo>
                <a:lnTo>
                  <a:pt x="1164" y="160"/>
                </a:lnTo>
                <a:lnTo>
                  <a:pt x="1166" y="154"/>
                </a:lnTo>
                <a:lnTo>
                  <a:pt x="1171" y="150"/>
                </a:lnTo>
                <a:lnTo>
                  <a:pt x="1181" y="143"/>
                </a:lnTo>
                <a:lnTo>
                  <a:pt x="1192" y="137"/>
                </a:lnTo>
                <a:lnTo>
                  <a:pt x="1204" y="134"/>
                </a:lnTo>
                <a:lnTo>
                  <a:pt x="1217" y="133"/>
                </a:lnTo>
                <a:lnTo>
                  <a:pt x="1228" y="134"/>
                </a:lnTo>
                <a:lnTo>
                  <a:pt x="1240" y="137"/>
                </a:lnTo>
                <a:lnTo>
                  <a:pt x="1250" y="141"/>
                </a:lnTo>
                <a:lnTo>
                  <a:pt x="1257" y="148"/>
                </a:lnTo>
                <a:lnTo>
                  <a:pt x="1263" y="155"/>
                </a:lnTo>
                <a:lnTo>
                  <a:pt x="1269" y="166"/>
                </a:lnTo>
                <a:lnTo>
                  <a:pt x="1272" y="177"/>
                </a:lnTo>
                <a:lnTo>
                  <a:pt x="1272" y="190"/>
                </a:lnTo>
                <a:lnTo>
                  <a:pt x="1272" y="324"/>
                </a:lnTo>
                <a:lnTo>
                  <a:pt x="1310" y="324"/>
                </a:lnTo>
                <a:lnTo>
                  <a:pt x="1310" y="187"/>
                </a:lnTo>
                <a:lnTo>
                  <a:pt x="1310" y="177"/>
                </a:lnTo>
                <a:lnTo>
                  <a:pt x="1309" y="167"/>
                </a:lnTo>
                <a:lnTo>
                  <a:pt x="1308" y="158"/>
                </a:lnTo>
                <a:lnTo>
                  <a:pt x="1305" y="150"/>
                </a:lnTo>
                <a:lnTo>
                  <a:pt x="1300" y="141"/>
                </a:lnTo>
                <a:lnTo>
                  <a:pt x="1298" y="134"/>
                </a:lnTo>
                <a:lnTo>
                  <a:pt x="1292" y="127"/>
                </a:lnTo>
                <a:lnTo>
                  <a:pt x="1287" y="121"/>
                </a:lnTo>
                <a:lnTo>
                  <a:pt x="1282" y="115"/>
                </a:lnTo>
                <a:lnTo>
                  <a:pt x="1274" y="110"/>
                </a:lnTo>
                <a:lnTo>
                  <a:pt x="1267" y="105"/>
                </a:lnTo>
                <a:lnTo>
                  <a:pt x="1260" y="102"/>
                </a:lnTo>
                <a:lnTo>
                  <a:pt x="1251" y="99"/>
                </a:lnTo>
                <a:lnTo>
                  <a:pt x="1243" y="98"/>
                </a:lnTo>
                <a:lnTo>
                  <a:pt x="1234" y="97"/>
                </a:lnTo>
                <a:lnTo>
                  <a:pt x="1224" y="97"/>
                </a:lnTo>
                <a:close/>
                <a:moveTo>
                  <a:pt x="1030" y="328"/>
                </a:moveTo>
                <a:lnTo>
                  <a:pt x="1030" y="328"/>
                </a:lnTo>
                <a:lnTo>
                  <a:pt x="1035" y="328"/>
                </a:lnTo>
                <a:lnTo>
                  <a:pt x="1041" y="326"/>
                </a:lnTo>
                <a:lnTo>
                  <a:pt x="1047" y="324"/>
                </a:lnTo>
                <a:lnTo>
                  <a:pt x="1051" y="321"/>
                </a:lnTo>
                <a:lnTo>
                  <a:pt x="1054" y="316"/>
                </a:lnTo>
                <a:lnTo>
                  <a:pt x="1057" y="311"/>
                </a:lnTo>
                <a:lnTo>
                  <a:pt x="1058" y="305"/>
                </a:lnTo>
                <a:lnTo>
                  <a:pt x="1058" y="299"/>
                </a:lnTo>
                <a:lnTo>
                  <a:pt x="1058" y="293"/>
                </a:lnTo>
                <a:lnTo>
                  <a:pt x="1057" y="289"/>
                </a:lnTo>
                <a:lnTo>
                  <a:pt x="1054" y="283"/>
                </a:lnTo>
                <a:lnTo>
                  <a:pt x="1051" y="279"/>
                </a:lnTo>
                <a:lnTo>
                  <a:pt x="1047" y="276"/>
                </a:lnTo>
                <a:lnTo>
                  <a:pt x="1041" y="273"/>
                </a:lnTo>
                <a:lnTo>
                  <a:pt x="1035" y="272"/>
                </a:lnTo>
                <a:lnTo>
                  <a:pt x="1030" y="270"/>
                </a:lnTo>
                <a:lnTo>
                  <a:pt x="1024" y="272"/>
                </a:lnTo>
                <a:lnTo>
                  <a:pt x="1018" y="273"/>
                </a:lnTo>
                <a:lnTo>
                  <a:pt x="1014" y="276"/>
                </a:lnTo>
                <a:lnTo>
                  <a:pt x="1010" y="279"/>
                </a:lnTo>
                <a:lnTo>
                  <a:pt x="1007" y="283"/>
                </a:lnTo>
                <a:lnTo>
                  <a:pt x="1004" y="289"/>
                </a:lnTo>
                <a:lnTo>
                  <a:pt x="1002" y="293"/>
                </a:lnTo>
                <a:lnTo>
                  <a:pt x="1001" y="299"/>
                </a:lnTo>
                <a:lnTo>
                  <a:pt x="1002" y="305"/>
                </a:lnTo>
                <a:lnTo>
                  <a:pt x="1004" y="311"/>
                </a:lnTo>
                <a:lnTo>
                  <a:pt x="1007" y="316"/>
                </a:lnTo>
                <a:lnTo>
                  <a:pt x="1010" y="321"/>
                </a:lnTo>
                <a:lnTo>
                  <a:pt x="1014" y="324"/>
                </a:lnTo>
                <a:lnTo>
                  <a:pt x="1018" y="326"/>
                </a:lnTo>
                <a:lnTo>
                  <a:pt x="1024" y="328"/>
                </a:lnTo>
                <a:lnTo>
                  <a:pt x="1030" y="328"/>
                </a:lnTo>
                <a:close/>
                <a:moveTo>
                  <a:pt x="966" y="102"/>
                </a:moveTo>
                <a:lnTo>
                  <a:pt x="966" y="102"/>
                </a:lnTo>
                <a:lnTo>
                  <a:pt x="917" y="270"/>
                </a:lnTo>
                <a:lnTo>
                  <a:pt x="864" y="102"/>
                </a:lnTo>
                <a:lnTo>
                  <a:pt x="827" y="102"/>
                </a:lnTo>
                <a:lnTo>
                  <a:pt x="775" y="270"/>
                </a:lnTo>
                <a:lnTo>
                  <a:pt x="726" y="102"/>
                </a:lnTo>
                <a:lnTo>
                  <a:pt x="686" y="102"/>
                </a:lnTo>
                <a:lnTo>
                  <a:pt x="755" y="324"/>
                </a:lnTo>
                <a:lnTo>
                  <a:pt x="794" y="324"/>
                </a:lnTo>
                <a:lnTo>
                  <a:pt x="845" y="160"/>
                </a:lnTo>
                <a:lnTo>
                  <a:pt x="897" y="324"/>
                </a:lnTo>
                <a:lnTo>
                  <a:pt x="938" y="324"/>
                </a:lnTo>
                <a:lnTo>
                  <a:pt x="1007" y="102"/>
                </a:lnTo>
                <a:lnTo>
                  <a:pt x="966" y="102"/>
                </a:lnTo>
                <a:close/>
                <a:moveTo>
                  <a:pt x="624" y="102"/>
                </a:moveTo>
                <a:lnTo>
                  <a:pt x="624" y="102"/>
                </a:lnTo>
                <a:lnTo>
                  <a:pt x="575" y="270"/>
                </a:lnTo>
                <a:lnTo>
                  <a:pt x="521" y="102"/>
                </a:lnTo>
                <a:lnTo>
                  <a:pt x="485" y="102"/>
                </a:lnTo>
                <a:lnTo>
                  <a:pt x="432" y="270"/>
                </a:lnTo>
                <a:lnTo>
                  <a:pt x="383" y="102"/>
                </a:lnTo>
                <a:lnTo>
                  <a:pt x="343" y="102"/>
                </a:lnTo>
                <a:lnTo>
                  <a:pt x="412" y="324"/>
                </a:lnTo>
                <a:lnTo>
                  <a:pt x="451" y="324"/>
                </a:lnTo>
                <a:lnTo>
                  <a:pt x="504" y="160"/>
                </a:lnTo>
                <a:lnTo>
                  <a:pt x="556" y="324"/>
                </a:lnTo>
                <a:lnTo>
                  <a:pt x="595" y="324"/>
                </a:lnTo>
                <a:lnTo>
                  <a:pt x="664" y="102"/>
                </a:lnTo>
                <a:lnTo>
                  <a:pt x="624" y="102"/>
                </a:lnTo>
                <a:close/>
                <a:moveTo>
                  <a:pt x="281" y="102"/>
                </a:moveTo>
                <a:lnTo>
                  <a:pt x="281" y="102"/>
                </a:lnTo>
                <a:lnTo>
                  <a:pt x="232" y="270"/>
                </a:lnTo>
                <a:lnTo>
                  <a:pt x="180" y="102"/>
                </a:lnTo>
                <a:lnTo>
                  <a:pt x="143" y="102"/>
                </a:lnTo>
                <a:lnTo>
                  <a:pt x="89" y="270"/>
                </a:lnTo>
                <a:lnTo>
                  <a:pt x="40" y="102"/>
                </a:lnTo>
                <a:lnTo>
                  <a:pt x="0" y="102"/>
                </a:lnTo>
                <a:lnTo>
                  <a:pt x="69" y="324"/>
                </a:lnTo>
                <a:lnTo>
                  <a:pt x="110" y="324"/>
                </a:lnTo>
                <a:lnTo>
                  <a:pt x="161" y="160"/>
                </a:lnTo>
                <a:lnTo>
                  <a:pt x="213" y="324"/>
                </a:lnTo>
                <a:lnTo>
                  <a:pt x="252" y="324"/>
                </a:lnTo>
                <a:lnTo>
                  <a:pt x="321" y="102"/>
                </a:lnTo>
                <a:lnTo>
                  <a:pt x="281" y="1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5" name="Skupina 1064">
            <a:extLst>
              <a:ext uri="{FF2B5EF4-FFF2-40B4-BE49-F238E27FC236}">
                <a16:creationId xmlns:a16="http://schemas.microsoft.com/office/drawing/2014/main" id="{28687763-0AAB-594D-5CD1-220B1AB2F886}"/>
              </a:ext>
            </a:extLst>
          </p:cNvPr>
          <p:cNvGrpSpPr/>
          <p:nvPr/>
        </p:nvGrpSpPr>
        <p:grpSpPr>
          <a:xfrm>
            <a:off x="658813" y="3203575"/>
            <a:ext cx="4930775" cy="1236663"/>
            <a:chOff x="658813" y="3203575"/>
            <a:chExt cx="4930775" cy="1236663"/>
          </a:xfrm>
        </p:grpSpPr>
        <p:sp>
          <p:nvSpPr>
            <p:cNvPr id="1056" name="Freeform 60">
              <a:extLst>
                <a:ext uri="{FF2B5EF4-FFF2-40B4-BE49-F238E27FC236}">
                  <a16:creationId xmlns:a16="http://schemas.microsoft.com/office/drawing/2014/main" id="{D92F7977-7015-6586-C4BB-CAD5DACB10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438" y="3786188"/>
              <a:ext cx="2851150" cy="654050"/>
            </a:xfrm>
            <a:custGeom>
              <a:avLst/>
              <a:gdLst>
                <a:gd name="T0" fmla="*/ 5198 w 5390"/>
                <a:gd name="T1" fmla="*/ 1199 h 1235"/>
                <a:gd name="T2" fmla="*/ 5338 w 5390"/>
                <a:gd name="T3" fmla="*/ 1086 h 1235"/>
                <a:gd name="T4" fmla="*/ 5390 w 5390"/>
                <a:gd name="T5" fmla="*/ 905 h 1235"/>
                <a:gd name="T6" fmla="*/ 5119 w 5390"/>
                <a:gd name="T7" fmla="*/ 966 h 1235"/>
                <a:gd name="T8" fmla="*/ 4966 w 5390"/>
                <a:gd name="T9" fmla="*/ 995 h 1235"/>
                <a:gd name="T10" fmla="*/ 4884 w 5390"/>
                <a:gd name="T11" fmla="*/ 906 h 1235"/>
                <a:gd name="T12" fmla="*/ 4657 w 5390"/>
                <a:gd name="T13" fmla="*/ 1011 h 1235"/>
                <a:gd name="T14" fmla="*/ 4759 w 5390"/>
                <a:gd name="T15" fmla="*/ 1156 h 1235"/>
                <a:gd name="T16" fmla="*/ 4936 w 5390"/>
                <a:gd name="T17" fmla="*/ 1229 h 1235"/>
                <a:gd name="T18" fmla="*/ 3908 w 5390"/>
                <a:gd name="T19" fmla="*/ 971 h 1235"/>
                <a:gd name="T20" fmla="*/ 3776 w 5390"/>
                <a:gd name="T21" fmla="*/ 742 h 1235"/>
                <a:gd name="T22" fmla="*/ 3908 w 5390"/>
                <a:gd name="T23" fmla="*/ 515 h 1235"/>
                <a:gd name="T24" fmla="*/ 4176 w 5390"/>
                <a:gd name="T25" fmla="*/ 527 h 1235"/>
                <a:gd name="T26" fmla="*/ 4285 w 5390"/>
                <a:gd name="T27" fmla="*/ 771 h 1235"/>
                <a:gd name="T28" fmla="*/ 4133 w 5390"/>
                <a:gd name="T29" fmla="*/ 981 h 1235"/>
                <a:gd name="T30" fmla="*/ 4156 w 5390"/>
                <a:gd name="T31" fmla="*/ 1221 h 1235"/>
                <a:gd name="T32" fmla="*/ 4383 w 5390"/>
                <a:gd name="T33" fmla="*/ 1093 h 1235"/>
                <a:gd name="T34" fmla="*/ 4513 w 5390"/>
                <a:gd name="T35" fmla="*/ 867 h 1235"/>
                <a:gd name="T36" fmla="*/ 4506 w 5390"/>
                <a:gd name="T37" fmla="*/ 594 h 1235"/>
                <a:gd name="T38" fmla="*/ 4366 w 5390"/>
                <a:gd name="T39" fmla="*/ 376 h 1235"/>
                <a:gd name="T40" fmla="*/ 4131 w 5390"/>
                <a:gd name="T41" fmla="*/ 260 h 1235"/>
                <a:gd name="T42" fmla="*/ 3859 w 5390"/>
                <a:gd name="T43" fmla="*/ 279 h 1235"/>
                <a:gd name="T44" fmla="*/ 3647 w 5390"/>
                <a:gd name="T45" fmla="*/ 426 h 1235"/>
                <a:gd name="T46" fmla="*/ 3539 w 5390"/>
                <a:gd name="T47" fmla="*/ 666 h 1235"/>
                <a:gd name="T48" fmla="*/ 3573 w 5390"/>
                <a:gd name="T49" fmla="*/ 936 h 1235"/>
                <a:gd name="T50" fmla="*/ 3732 w 5390"/>
                <a:gd name="T51" fmla="*/ 1139 h 1235"/>
                <a:gd name="T52" fmla="*/ 3980 w 5390"/>
                <a:gd name="T53" fmla="*/ 1233 h 1235"/>
                <a:gd name="T54" fmla="*/ 3168 w 5390"/>
                <a:gd name="T55" fmla="*/ 846 h 1235"/>
                <a:gd name="T56" fmla="*/ 3217 w 5390"/>
                <a:gd name="T57" fmla="*/ 910 h 1235"/>
                <a:gd name="T58" fmla="*/ 3182 w 5390"/>
                <a:gd name="T59" fmla="*/ 986 h 1235"/>
                <a:gd name="T60" fmla="*/ 3152 w 5390"/>
                <a:gd name="T61" fmla="*/ 497 h 1235"/>
                <a:gd name="T62" fmla="*/ 3185 w 5390"/>
                <a:gd name="T63" fmla="*/ 577 h 1235"/>
                <a:gd name="T64" fmla="*/ 2985 w 5390"/>
                <a:gd name="T65" fmla="*/ 635 h 1235"/>
                <a:gd name="T66" fmla="*/ 3400 w 5390"/>
                <a:gd name="T67" fmla="*/ 658 h 1235"/>
                <a:gd name="T68" fmla="*/ 3427 w 5390"/>
                <a:gd name="T69" fmla="*/ 508 h 1235"/>
                <a:gd name="T70" fmla="*/ 3371 w 5390"/>
                <a:gd name="T71" fmla="*/ 370 h 1235"/>
                <a:gd name="T72" fmla="*/ 3116 w 5390"/>
                <a:gd name="T73" fmla="*/ 270 h 1235"/>
                <a:gd name="T74" fmla="*/ 3351 w 5390"/>
                <a:gd name="T75" fmla="*/ 1156 h 1235"/>
                <a:gd name="T76" fmla="*/ 3443 w 5390"/>
                <a:gd name="T77" fmla="*/ 1040 h 1235"/>
                <a:gd name="T78" fmla="*/ 3452 w 5390"/>
                <a:gd name="T79" fmla="*/ 870 h 1235"/>
                <a:gd name="T80" fmla="*/ 3354 w 5390"/>
                <a:gd name="T81" fmla="*/ 735 h 1235"/>
                <a:gd name="T82" fmla="*/ 1667 w 5390"/>
                <a:gd name="T83" fmla="*/ 1215 h 1235"/>
                <a:gd name="T84" fmla="*/ 1233 w 5390"/>
                <a:gd name="T85" fmla="*/ 501 h 1235"/>
                <a:gd name="T86" fmla="*/ 1292 w 5390"/>
                <a:gd name="T87" fmla="*/ 589 h 1235"/>
                <a:gd name="T88" fmla="*/ 1250 w 5390"/>
                <a:gd name="T89" fmla="*/ 689 h 1235"/>
                <a:gd name="T90" fmla="*/ 1568 w 5390"/>
                <a:gd name="T91" fmla="*/ 1215 h 1235"/>
                <a:gd name="T92" fmla="*/ 1509 w 5390"/>
                <a:gd name="T93" fmla="*/ 718 h 1235"/>
                <a:gd name="T94" fmla="*/ 1525 w 5390"/>
                <a:gd name="T95" fmla="*/ 511 h 1235"/>
                <a:gd name="T96" fmla="*/ 1436 w 5390"/>
                <a:gd name="T97" fmla="*/ 362 h 1235"/>
                <a:gd name="T98" fmla="*/ 1280 w 5390"/>
                <a:gd name="T99" fmla="*/ 280 h 1235"/>
                <a:gd name="T100" fmla="*/ 1309 w 5390"/>
                <a:gd name="T101" fmla="*/ 1215 h 1235"/>
                <a:gd name="T102" fmla="*/ 367 w 5390"/>
                <a:gd name="T103" fmla="*/ 702 h 1235"/>
                <a:gd name="T104" fmla="*/ 436 w 5390"/>
                <a:gd name="T105" fmla="*/ 528 h 1235"/>
                <a:gd name="T106" fmla="*/ 459 w 5390"/>
                <a:gd name="T107" fmla="*/ 632 h 1235"/>
                <a:gd name="T108" fmla="*/ 387 w 5390"/>
                <a:gd name="T109" fmla="*/ 701 h 1235"/>
                <a:gd name="T110" fmla="*/ 403 w 5390"/>
                <a:gd name="T111" fmla="*/ 930 h 1235"/>
                <a:gd name="T112" fmla="*/ 572 w 5390"/>
                <a:gd name="T113" fmla="*/ 869 h 1235"/>
                <a:gd name="T114" fmla="*/ 680 w 5390"/>
                <a:gd name="T115" fmla="*/ 735 h 1235"/>
                <a:gd name="T116" fmla="*/ 703 w 5390"/>
                <a:gd name="T117" fmla="*/ 547 h 1235"/>
                <a:gd name="T118" fmla="*/ 629 w 5390"/>
                <a:gd name="T119" fmla="*/ 386 h 1235"/>
                <a:gd name="T120" fmla="*/ 485 w 5390"/>
                <a:gd name="T121" fmla="*/ 289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90" h="1235">
                  <a:moveTo>
                    <a:pt x="5015" y="1235"/>
                  </a:moveTo>
                  <a:lnTo>
                    <a:pt x="5036" y="1235"/>
                  </a:lnTo>
                  <a:lnTo>
                    <a:pt x="5056" y="1233"/>
                  </a:lnTo>
                  <a:lnTo>
                    <a:pt x="5074" y="1232"/>
                  </a:lnTo>
                  <a:lnTo>
                    <a:pt x="5095" y="1229"/>
                  </a:lnTo>
                  <a:lnTo>
                    <a:pt x="5113" y="1226"/>
                  </a:lnTo>
                  <a:lnTo>
                    <a:pt x="5131" y="1222"/>
                  </a:lnTo>
                  <a:lnTo>
                    <a:pt x="5149" y="1218"/>
                  </a:lnTo>
                  <a:lnTo>
                    <a:pt x="5165" y="1212"/>
                  </a:lnTo>
                  <a:lnTo>
                    <a:pt x="5182" y="1206"/>
                  </a:lnTo>
                  <a:lnTo>
                    <a:pt x="5198" y="1199"/>
                  </a:lnTo>
                  <a:lnTo>
                    <a:pt x="5214" y="1192"/>
                  </a:lnTo>
                  <a:lnTo>
                    <a:pt x="5230" y="1185"/>
                  </a:lnTo>
                  <a:lnTo>
                    <a:pt x="5244" y="1176"/>
                  </a:lnTo>
                  <a:lnTo>
                    <a:pt x="5259" y="1166"/>
                  </a:lnTo>
                  <a:lnTo>
                    <a:pt x="5272" y="1156"/>
                  </a:lnTo>
                  <a:lnTo>
                    <a:pt x="5285" y="1146"/>
                  </a:lnTo>
                  <a:lnTo>
                    <a:pt x="5296" y="1134"/>
                  </a:lnTo>
                  <a:lnTo>
                    <a:pt x="5308" y="1123"/>
                  </a:lnTo>
                  <a:lnTo>
                    <a:pt x="5319" y="1111"/>
                  </a:lnTo>
                  <a:lnTo>
                    <a:pt x="5329" y="1098"/>
                  </a:lnTo>
                  <a:lnTo>
                    <a:pt x="5338" y="1086"/>
                  </a:lnTo>
                  <a:lnTo>
                    <a:pt x="5347" y="1071"/>
                  </a:lnTo>
                  <a:lnTo>
                    <a:pt x="5355" y="1057"/>
                  </a:lnTo>
                  <a:lnTo>
                    <a:pt x="5362" y="1041"/>
                  </a:lnTo>
                  <a:lnTo>
                    <a:pt x="5368" y="1027"/>
                  </a:lnTo>
                  <a:lnTo>
                    <a:pt x="5374" y="1011"/>
                  </a:lnTo>
                  <a:lnTo>
                    <a:pt x="5380" y="994"/>
                  </a:lnTo>
                  <a:lnTo>
                    <a:pt x="5383" y="976"/>
                  </a:lnTo>
                  <a:lnTo>
                    <a:pt x="5387" y="959"/>
                  </a:lnTo>
                  <a:lnTo>
                    <a:pt x="5388" y="942"/>
                  </a:lnTo>
                  <a:lnTo>
                    <a:pt x="5390" y="923"/>
                  </a:lnTo>
                  <a:lnTo>
                    <a:pt x="5390" y="905"/>
                  </a:lnTo>
                  <a:lnTo>
                    <a:pt x="5390" y="270"/>
                  </a:lnTo>
                  <a:lnTo>
                    <a:pt x="5148" y="270"/>
                  </a:lnTo>
                  <a:lnTo>
                    <a:pt x="5148" y="882"/>
                  </a:lnTo>
                  <a:lnTo>
                    <a:pt x="5148" y="895"/>
                  </a:lnTo>
                  <a:lnTo>
                    <a:pt x="5146" y="906"/>
                  </a:lnTo>
                  <a:lnTo>
                    <a:pt x="5144" y="918"/>
                  </a:lnTo>
                  <a:lnTo>
                    <a:pt x="5141" y="929"/>
                  </a:lnTo>
                  <a:lnTo>
                    <a:pt x="5138" y="939"/>
                  </a:lnTo>
                  <a:lnTo>
                    <a:pt x="5132" y="949"/>
                  </a:lnTo>
                  <a:lnTo>
                    <a:pt x="5126" y="958"/>
                  </a:lnTo>
                  <a:lnTo>
                    <a:pt x="5119" y="966"/>
                  </a:lnTo>
                  <a:lnTo>
                    <a:pt x="5110" y="974"/>
                  </a:lnTo>
                  <a:lnTo>
                    <a:pt x="5100" y="981"/>
                  </a:lnTo>
                  <a:lnTo>
                    <a:pt x="5090" y="986"/>
                  </a:lnTo>
                  <a:lnTo>
                    <a:pt x="5077" y="991"/>
                  </a:lnTo>
                  <a:lnTo>
                    <a:pt x="5064" y="995"/>
                  </a:lnTo>
                  <a:lnTo>
                    <a:pt x="5050" y="998"/>
                  </a:lnTo>
                  <a:lnTo>
                    <a:pt x="5033" y="999"/>
                  </a:lnTo>
                  <a:lnTo>
                    <a:pt x="5015" y="1001"/>
                  </a:lnTo>
                  <a:lnTo>
                    <a:pt x="4998" y="999"/>
                  </a:lnTo>
                  <a:lnTo>
                    <a:pt x="4981" y="998"/>
                  </a:lnTo>
                  <a:lnTo>
                    <a:pt x="4966" y="995"/>
                  </a:lnTo>
                  <a:lnTo>
                    <a:pt x="4954" y="991"/>
                  </a:lnTo>
                  <a:lnTo>
                    <a:pt x="4941" y="986"/>
                  </a:lnTo>
                  <a:lnTo>
                    <a:pt x="4930" y="981"/>
                  </a:lnTo>
                  <a:lnTo>
                    <a:pt x="4920" y="974"/>
                  </a:lnTo>
                  <a:lnTo>
                    <a:pt x="4912" y="966"/>
                  </a:lnTo>
                  <a:lnTo>
                    <a:pt x="4905" y="958"/>
                  </a:lnTo>
                  <a:lnTo>
                    <a:pt x="4899" y="949"/>
                  </a:lnTo>
                  <a:lnTo>
                    <a:pt x="4893" y="939"/>
                  </a:lnTo>
                  <a:lnTo>
                    <a:pt x="4890" y="929"/>
                  </a:lnTo>
                  <a:lnTo>
                    <a:pt x="4886" y="918"/>
                  </a:lnTo>
                  <a:lnTo>
                    <a:pt x="4884" y="906"/>
                  </a:lnTo>
                  <a:lnTo>
                    <a:pt x="4883" y="895"/>
                  </a:lnTo>
                  <a:lnTo>
                    <a:pt x="4883" y="882"/>
                  </a:lnTo>
                  <a:lnTo>
                    <a:pt x="4883" y="270"/>
                  </a:lnTo>
                  <a:lnTo>
                    <a:pt x="4641" y="270"/>
                  </a:lnTo>
                  <a:lnTo>
                    <a:pt x="4641" y="905"/>
                  </a:lnTo>
                  <a:lnTo>
                    <a:pt x="4641" y="923"/>
                  </a:lnTo>
                  <a:lnTo>
                    <a:pt x="4642" y="942"/>
                  </a:lnTo>
                  <a:lnTo>
                    <a:pt x="4644" y="959"/>
                  </a:lnTo>
                  <a:lnTo>
                    <a:pt x="4648" y="976"/>
                  </a:lnTo>
                  <a:lnTo>
                    <a:pt x="4651" y="994"/>
                  </a:lnTo>
                  <a:lnTo>
                    <a:pt x="4657" y="1011"/>
                  </a:lnTo>
                  <a:lnTo>
                    <a:pt x="4661" y="1027"/>
                  </a:lnTo>
                  <a:lnTo>
                    <a:pt x="4668" y="1041"/>
                  </a:lnTo>
                  <a:lnTo>
                    <a:pt x="4676" y="1057"/>
                  </a:lnTo>
                  <a:lnTo>
                    <a:pt x="4683" y="1071"/>
                  </a:lnTo>
                  <a:lnTo>
                    <a:pt x="4691" y="1086"/>
                  </a:lnTo>
                  <a:lnTo>
                    <a:pt x="4702" y="1098"/>
                  </a:lnTo>
                  <a:lnTo>
                    <a:pt x="4712" y="1111"/>
                  </a:lnTo>
                  <a:lnTo>
                    <a:pt x="4723" y="1123"/>
                  </a:lnTo>
                  <a:lnTo>
                    <a:pt x="4735" y="1134"/>
                  </a:lnTo>
                  <a:lnTo>
                    <a:pt x="4746" y="1146"/>
                  </a:lnTo>
                  <a:lnTo>
                    <a:pt x="4759" y="1156"/>
                  </a:lnTo>
                  <a:lnTo>
                    <a:pt x="4772" y="1166"/>
                  </a:lnTo>
                  <a:lnTo>
                    <a:pt x="4786" y="1176"/>
                  </a:lnTo>
                  <a:lnTo>
                    <a:pt x="4801" y="1185"/>
                  </a:lnTo>
                  <a:lnTo>
                    <a:pt x="4817" y="1192"/>
                  </a:lnTo>
                  <a:lnTo>
                    <a:pt x="4831" y="1199"/>
                  </a:lnTo>
                  <a:lnTo>
                    <a:pt x="4848" y="1206"/>
                  </a:lnTo>
                  <a:lnTo>
                    <a:pt x="4864" y="1212"/>
                  </a:lnTo>
                  <a:lnTo>
                    <a:pt x="4882" y="1218"/>
                  </a:lnTo>
                  <a:lnTo>
                    <a:pt x="4900" y="1222"/>
                  </a:lnTo>
                  <a:lnTo>
                    <a:pt x="4918" y="1226"/>
                  </a:lnTo>
                  <a:lnTo>
                    <a:pt x="4936" y="1229"/>
                  </a:lnTo>
                  <a:lnTo>
                    <a:pt x="4956" y="1232"/>
                  </a:lnTo>
                  <a:lnTo>
                    <a:pt x="4975" y="1233"/>
                  </a:lnTo>
                  <a:lnTo>
                    <a:pt x="4995" y="1235"/>
                  </a:lnTo>
                  <a:lnTo>
                    <a:pt x="5015" y="1235"/>
                  </a:lnTo>
                  <a:close/>
                  <a:moveTo>
                    <a:pt x="4030" y="999"/>
                  </a:moveTo>
                  <a:lnTo>
                    <a:pt x="4030" y="999"/>
                  </a:lnTo>
                  <a:lnTo>
                    <a:pt x="4005" y="998"/>
                  </a:lnTo>
                  <a:lnTo>
                    <a:pt x="3979" y="994"/>
                  </a:lnTo>
                  <a:lnTo>
                    <a:pt x="3954" y="988"/>
                  </a:lnTo>
                  <a:lnTo>
                    <a:pt x="3930" y="981"/>
                  </a:lnTo>
                  <a:lnTo>
                    <a:pt x="3908" y="971"/>
                  </a:lnTo>
                  <a:lnTo>
                    <a:pt x="3886" y="958"/>
                  </a:lnTo>
                  <a:lnTo>
                    <a:pt x="3866" y="943"/>
                  </a:lnTo>
                  <a:lnTo>
                    <a:pt x="3849" y="928"/>
                  </a:lnTo>
                  <a:lnTo>
                    <a:pt x="3833" y="910"/>
                  </a:lnTo>
                  <a:lnTo>
                    <a:pt x="3817" y="890"/>
                  </a:lnTo>
                  <a:lnTo>
                    <a:pt x="3806" y="869"/>
                  </a:lnTo>
                  <a:lnTo>
                    <a:pt x="3794" y="846"/>
                  </a:lnTo>
                  <a:lnTo>
                    <a:pt x="3787" y="823"/>
                  </a:lnTo>
                  <a:lnTo>
                    <a:pt x="3780" y="797"/>
                  </a:lnTo>
                  <a:lnTo>
                    <a:pt x="3777" y="771"/>
                  </a:lnTo>
                  <a:lnTo>
                    <a:pt x="3776" y="742"/>
                  </a:lnTo>
                  <a:lnTo>
                    <a:pt x="3777" y="715"/>
                  </a:lnTo>
                  <a:lnTo>
                    <a:pt x="3780" y="688"/>
                  </a:lnTo>
                  <a:lnTo>
                    <a:pt x="3787" y="663"/>
                  </a:lnTo>
                  <a:lnTo>
                    <a:pt x="3794" y="639"/>
                  </a:lnTo>
                  <a:lnTo>
                    <a:pt x="3806" y="616"/>
                  </a:lnTo>
                  <a:lnTo>
                    <a:pt x="3817" y="594"/>
                  </a:lnTo>
                  <a:lnTo>
                    <a:pt x="3833" y="576"/>
                  </a:lnTo>
                  <a:lnTo>
                    <a:pt x="3849" y="557"/>
                  </a:lnTo>
                  <a:lnTo>
                    <a:pt x="3866" y="541"/>
                  </a:lnTo>
                  <a:lnTo>
                    <a:pt x="3886" y="527"/>
                  </a:lnTo>
                  <a:lnTo>
                    <a:pt x="3908" y="515"/>
                  </a:lnTo>
                  <a:lnTo>
                    <a:pt x="3930" y="505"/>
                  </a:lnTo>
                  <a:lnTo>
                    <a:pt x="3954" y="497"/>
                  </a:lnTo>
                  <a:lnTo>
                    <a:pt x="3979" y="491"/>
                  </a:lnTo>
                  <a:lnTo>
                    <a:pt x="4005" y="487"/>
                  </a:lnTo>
                  <a:lnTo>
                    <a:pt x="4030" y="487"/>
                  </a:lnTo>
                  <a:lnTo>
                    <a:pt x="4058" y="487"/>
                  </a:lnTo>
                  <a:lnTo>
                    <a:pt x="4084" y="491"/>
                  </a:lnTo>
                  <a:lnTo>
                    <a:pt x="4108" y="497"/>
                  </a:lnTo>
                  <a:lnTo>
                    <a:pt x="4133" y="505"/>
                  </a:lnTo>
                  <a:lnTo>
                    <a:pt x="4154" y="515"/>
                  </a:lnTo>
                  <a:lnTo>
                    <a:pt x="4176" y="527"/>
                  </a:lnTo>
                  <a:lnTo>
                    <a:pt x="4196" y="541"/>
                  </a:lnTo>
                  <a:lnTo>
                    <a:pt x="4213" y="557"/>
                  </a:lnTo>
                  <a:lnTo>
                    <a:pt x="4229" y="576"/>
                  </a:lnTo>
                  <a:lnTo>
                    <a:pt x="4244" y="594"/>
                  </a:lnTo>
                  <a:lnTo>
                    <a:pt x="4257" y="616"/>
                  </a:lnTo>
                  <a:lnTo>
                    <a:pt x="4268" y="639"/>
                  </a:lnTo>
                  <a:lnTo>
                    <a:pt x="4275" y="663"/>
                  </a:lnTo>
                  <a:lnTo>
                    <a:pt x="4282" y="688"/>
                  </a:lnTo>
                  <a:lnTo>
                    <a:pt x="4285" y="715"/>
                  </a:lnTo>
                  <a:lnTo>
                    <a:pt x="4287" y="742"/>
                  </a:lnTo>
                  <a:lnTo>
                    <a:pt x="4285" y="771"/>
                  </a:lnTo>
                  <a:lnTo>
                    <a:pt x="4282" y="797"/>
                  </a:lnTo>
                  <a:lnTo>
                    <a:pt x="4275" y="823"/>
                  </a:lnTo>
                  <a:lnTo>
                    <a:pt x="4268" y="846"/>
                  </a:lnTo>
                  <a:lnTo>
                    <a:pt x="4257" y="869"/>
                  </a:lnTo>
                  <a:lnTo>
                    <a:pt x="4244" y="890"/>
                  </a:lnTo>
                  <a:lnTo>
                    <a:pt x="4229" y="910"/>
                  </a:lnTo>
                  <a:lnTo>
                    <a:pt x="4213" y="928"/>
                  </a:lnTo>
                  <a:lnTo>
                    <a:pt x="4196" y="943"/>
                  </a:lnTo>
                  <a:lnTo>
                    <a:pt x="4176" y="958"/>
                  </a:lnTo>
                  <a:lnTo>
                    <a:pt x="4154" y="971"/>
                  </a:lnTo>
                  <a:lnTo>
                    <a:pt x="4133" y="981"/>
                  </a:lnTo>
                  <a:lnTo>
                    <a:pt x="4108" y="988"/>
                  </a:lnTo>
                  <a:lnTo>
                    <a:pt x="4084" y="994"/>
                  </a:lnTo>
                  <a:lnTo>
                    <a:pt x="4058" y="998"/>
                  </a:lnTo>
                  <a:lnTo>
                    <a:pt x="4030" y="999"/>
                  </a:lnTo>
                  <a:close/>
                  <a:moveTo>
                    <a:pt x="4030" y="1235"/>
                  </a:moveTo>
                  <a:lnTo>
                    <a:pt x="4030" y="1235"/>
                  </a:lnTo>
                  <a:lnTo>
                    <a:pt x="4056" y="1235"/>
                  </a:lnTo>
                  <a:lnTo>
                    <a:pt x="4082" y="1233"/>
                  </a:lnTo>
                  <a:lnTo>
                    <a:pt x="4107" y="1229"/>
                  </a:lnTo>
                  <a:lnTo>
                    <a:pt x="4131" y="1226"/>
                  </a:lnTo>
                  <a:lnTo>
                    <a:pt x="4156" y="1221"/>
                  </a:lnTo>
                  <a:lnTo>
                    <a:pt x="4180" y="1213"/>
                  </a:lnTo>
                  <a:lnTo>
                    <a:pt x="4203" y="1206"/>
                  </a:lnTo>
                  <a:lnTo>
                    <a:pt x="4225" y="1198"/>
                  </a:lnTo>
                  <a:lnTo>
                    <a:pt x="4248" y="1187"/>
                  </a:lnTo>
                  <a:lnTo>
                    <a:pt x="4268" y="1177"/>
                  </a:lnTo>
                  <a:lnTo>
                    <a:pt x="4290" y="1166"/>
                  </a:lnTo>
                  <a:lnTo>
                    <a:pt x="4310" y="1153"/>
                  </a:lnTo>
                  <a:lnTo>
                    <a:pt x="4329" y="1139"/>
                  </a:lnTo>
                  <a:lnTo>
                    <a:pt x="4347" y="1124"/>
                  </a:lnTo>
                  <a:lnTo>
                    <a:pt x="4366" y="1110"/>
                  </a:lnTo>
                  <a:lnTo>
                    <a:pt x="4383" y="1093"/>
                  </a:lnTo>
                  <a:lnTo>
                    <a:pt x="4399" y="1077"/>
                  </a:lnTo>
                  <a:lnTo>
                    <a:pt x="4415" y="1058"/>
                  </a:lnTo>
                  <a:lnTo>
                    <a:pt x="4429" y="1040"/>
                  </a:lnTo>
                  <a:lnTo>
                    <a:pt x="4444" y="1021"/>
                  </a:lnTo>
                  <a:lnTo>
                    <a:pt x="4457" y="1001"/>
                  </a:lnTo>
                  <a:lnTo>
                    <a:pt x="4468" y="981"/>
                  </a:lnTo>
                  <a:lnTo>
                    <a:pt x="4480" y="959"/>
                  </a:lnTo>
                  <a:lnTo>
                    <a:pt x="4490" y="936"/>
                  </a:lnTo>
                  <a:lnTo>
                    <a:pt x="4498" y="915"/>
                  </a:lnTo>
                  <a:lnTo>
                    <a:pt x="4506" y="892"/>
                  </a:lnTo>
                  <a:lnTo>
                    <a:pt x="4513" y="867"/>
                  </a:lnTo>
                  <a:lnTo>
                    <a:pt x="4519" y="844"/>
                  </a:lnTo>
                  <a:lnTo>
                    <a:pt x="4523" y="818"/>
                  </a:lnTo>
                  <a:lnTo>
                    <a:pt x="4526" y="794"/>
                  </a:lnTo>
                  <a:lnTo>
                    <a:pt x="4527" y="768"/>
                  </a:lnTo>
                  <a:lnTo>
                    <a:pt x="4527" y="742"/>
                  </a:lnTo>
                  <a:lnTo>
                    <a:pt x="4527" y="716"/>
                  </a:lnTo>
                  <a:lnTo>
                    <a:pt x="4526" y="691"/>
                  </a:lnTo>
                  <a:lnTo>
                    <a:pt x="4523" y="666"/>
                  </a:lnTo>
                  <a:lnTo>
                    <a:pt x="4519" y="642"/>
                  </a:lnTo>
                  <a:lnTo>
                    <a:pt x="4513" y="617"/>
                  </a:lnTo>
                  <a:lnTo>
                    <a:pt x="4506" y="594"/>
                  </a:lnTo>
                  <a:lnTo>
                    <a:pt x="4498" y="571"/>
                  </a:lnTo>
                  <a:lnTo>
                    <a:pt x="4490" y="548"/>
                  </a:lnTo>
                  <a:lnTo>
                    <a:pt x="4480" y="527"/>
                  </a:lnTo>
                  <a:lnTo>
                    <a:pt x="4468" y="505"/>
                  </a:lnTo>
                  <a:lnTo>
                    <a:pt x="4457" y="484"/>
                  </a:lnTo>
                  <a:lnTo>
                    <a:pt x="4444" y="464"/>
                  </a:lnTo>
                  <a:lnTo>
                    <a:pt x="4429" y="445"/>
                  </a:lnTo>
                  <a:lnTo>
                    <a:pt x="4415" y="426"/>
                  </a:lnTo>
                  <a:lnTo>
                    <a:pt x="4399" y="409"/>
                  </a:lnTo>
                  <a:lnTo>
                    <a:pt x="4383" y="392"/>
                  </a:lnTo>
                  <a:lnTo>
                    <a:pt x="4366" y="376"/>
                  </a:lnTo>
                  <a:lnTo>
                    <a:pt x="4347" y="360"/>
                  </a:lnTo>
                  <a:lnTo>
                    <a:pt x="4329" y="346"/>
                  </a:lnTo>
                  <a:lnTo>
                    <a:pt x="4310" y="333"/>
                  </a:lnTo>
                  <a:lnTo>
                    <a:pt x="4290" y="320"/>
                  </a:lnTo>
                  <a:lnTo>
                    <a:pt x="4268" y="309"/>
                  </a:lnTo>
                  <a:lnTo>
                    <a:pt x="4248" y="297"/>
                  </a:lnTo>
                  <a:lnTo>
                    <a:pt x="4225" y="287"/>
                  </a:lnTo>
                  <a:lnTo>
                    <a:pt x="4203" y="279"/>
                  </a:lnTo>
                  <a:lnTo>
                    <a:pt x="4180" y="271"/>
                  </a:lnTo>
                  <a:lnTo>
                    <a:pt x="4156" y="266"/>
                  </a:lnTo>
                  <a:lnTo>
                    <a:pt x="4131" y="260"/>
                  </a:lnTo>
                  <a:lnTo>
                    <a:pt x="4107" y="256"/>
                  </a:lnTo>
                  <a:lnTo>
                    <a:pt x="4082" y="253"/>
                  </a:lnTo>
                  <a:lnTo>
                    <a:pt x="4056" y="250"/>
                  </a:lnTo>
                  <a:lnTo>
                    <a:pt x="4030" y="250"/>
                  </a:lnTo>
                  <a:lnTo>
                    <a:pt x="4006" y="250"/>
                  </a:lnTo>
                  <a:lnTo>
                    <a:pt x="3980" y="253"/>
                  </a:lnTo>
                  <a:lnTo>
                    <a:pt x="3956" y="256"/>
                  </a:lnTo>
                  <a:lnTo>
                    <a:pt x="3931" y="260"/>
                  </a:lnTo>
                  <a:lnTo>
                    <a:pt x="3907" y="266"/>
                  </a:lnTo>
                  <a:lnTo>
                    <a:pt x="3882" y="271"/>
                  </a:lnTo>
                  <a:lnTo>
                    <a:pt x="3859" y="279"/>
                  </a:lnTo>
                  <a:lnTo>
                    <a:pt x="3838" y="287"/>
                  </a:lnTo>
                  <a:lnTo>
                    <a:pt x="3814" y="297"/>
                  </a:lnTo>
                  <a:lnTo>
                    <a:pt x="3793" y="309"/>
                  </a:lnTo>
                  <a:lnTo>
                    <a:pt x="3773" y="320"/>
                  </a:lnTo>
                  <a:lnTo>
                    <a:pt x="3753" y="333"/>
                  </a:lnTo>
                  <a:lnTo>
                    <a:pt x="3732" y="346"/>
                  </a:lnTo>
                  <a:lnTo>
                    <a:pt x="3714" y="360"/>
                  </a:lnTo>
                  <a:lnTo>
                    <a:pt x="3696" y="376"/>
                  </a:lnTo>
                  <a:lnTo>
                    <a:pt x="3679" y="392"/>
                  </a:lnTo>
                  <a:lnTo>
                    <a:pt x="3663" y="409"/>
                  </a:lnTo>
                  <a:lnTo>
                    <a:pt x="3647" y="426"/>
                  </a:lnTo>
                  <a:lnTo>
                    <a:pt x="3633" y="445"/>
                  </a:lnTo>
                  <a:lnTo>
                    <a:pt x="3619" y="464"/>
                  </a:lnTo>
                  <a:lnTo>
                    <a:pt x="3606" y="484"/>
                  </a:lnTo>
                  <a:lnTo>
                    <a:pt x="3594" y="505"/>
                  </a:lnTo>
                  <a:lnTo>
                    <a:pt x="3583" y="527"/>
                  </a:lnTo>
                  <a:lnTo>
                    <a:pt x="3573" y="548"/>
                  </a:lnTo>
                  <a:lnTo>
                    <a:pt x="3564" y="571"/>
                  </a:lnTo>
                  <a:lnTo>
                    <a:pt x="3557" y="594"/>
                  </a:lnTo>
                  <a:lnTo>
                    <a:pt x="3550" y="617"/>
                  </a:lnTo>
                  <a:lnTo>
                    <a:pt x="3544" y="642"/>
                  </a:lnTo>
                  <a:lnTo>
                    <a:pt x="3539" y="666"/>
                  </a:lnTo>
                  <a:lnTo>
                    <a:pt x="3537" y="691"/>
                  </a:lnTo>
                  <a:lnTo>
                    <a:pt x="3535" y="716"/>
                  </a:lnTo>
                  <a:lnTo>
                    <a:pt x="3534" y="742"/>
                  </a:lnTo>
                  <a:lnTo>
                    <a:pt x="3535" y="768"/>
                  </a:lnTo>
                  <a:lnTo>
                    <a:pt x="3537" y="794"/>
                  </a:lnTo>
                  <a:lnTo>
                    <a:pt x="3539" y="818"/>
                  </a:lnTo>
                  <a:lnTo>
                    <a:pt x="3544" y="844"/>
                  </a:lnTo>
                  <a:lnTo>
                    <a:pt x="3550" y="867"/>
                  </a:lnTo>
                  <a:lnTo>
                    <a:pt x="3557" y="892"/>
                  </a:lnTo>
                  <a:lnTo>
                    <a:pt x="3564" y="915"/>
                  </a:lnTo>
                  <a:lnTo>
                    <a:pt x="3573" y="936"/>
                  </a:lnTo>
                  <a:lnTo>
                    <a:pt x="3583" y="959"/>
                  </a:lnTo>
                  <a:lnTo>
                    <a:pt x="3594" y="981"/>
                  </a:lnTo>
                  <a:lnTo>
                    <a:pt x="3606" y="1001"/>
                  </a:lnTo>
                  <a:lnTo>
                    <a:pt x="3619" y="1021"/>
                  </a:lnTo>
                  <a:lnTo>
                    <a:pt x="3633" y="1040"/>
                  </a:lnTo>
                  <a:lnTo>
                    <a:pt x="3647" y="1058"/>
                  </a:lnTo>
                  <a:lnTo>
                    <a:pt x="3663" y="1077"/>
                  </a:lnTo>
                  <a:lnTo>
                    <a:pt x="3679" y="1093"/>
                  </a:lnTo>
                  <a:lnTo>
                    <a:pt x="3696" y="1110"/>
                  </a:lnTo>
                  <a:lnTo>
                    <a:pt x="3714" y="1124"/>
                  </a:lnTo>
                  <a:lnTo>
                    <a:pt x="3732" y="1139"/>
                  </a:lnTo>
                  <a:lnTo>
                    <a:pt x="3753" y="1153"/>
                  </a:lnTo>
                  <a:lnTo>
                    <a:pt x="3773" y="1166"/>
                  </a:lnTo>
                  <a:lnTo>
                    <a:pt x="3793" y="1177"/>
                  </a:lnTo>
                  <a:lnTo>
                    <a:pt x="3814" y="1187"/>
                  </a:lnTo>
                  <a:lnTo>
                    <a:pt x="3838" y="1198"/>
                  </a:lnTo>
                  <a:lnTo>
                    <a:pt x="3859" y="1206"/>
                  </a:lnTo>
                  <a:lnTo>
                    <a:pt x="3882" y="1213"/>
                  </a:lnTo>
                  <a:lnTo>
                    <a:pt x="3907" y="1221"/>
                  </a:lnTo>
                  <a:lnTo>
                    <a:pt x="3931" y="1226"/>
                  </a:lnTo>
                  <a:lnTo>
                    <a:pt x="3956" y="1229"/>
                  </a:lnTo>
                  <a:lnTo>
                    <a:pt x="3980" y="1233"/>
                  </a:lnTo>
                  <a:lnTo>
                    <a:pt x="4006" y="1235"/>
                  </a:lnTo>
                  <a:lnTo>
                    <a:pt x="4030" y="1235"/>
                  </a:lnTo>
                  <a:close/>
                  <a:moveTo>
                    <a:pt x="3135" y="999"/>
                  </a:moveTo>
                  <a:lnTo>
                    <a:pt x="3135" y="999"/>
                  </a:lnTo>
                  <a:lnTo>
                    <a:pt x="2985" y="999"/>
                  </a:lnTo>
                  <a:lnTo>
                    <a:pt x="2985" y="840"/>
                  </a:lnTo>
                  <a:lnTo>
                    <a:pt x="3135" y="840"/>
                  </a:lnTo>
                  <a:lnTo>
                    <a:pt x="3143" y="840"/>
                  </a:lnTo>
                  <a:lnTo>
                    <a:pt x="3152" y="841"/>
                  </a:lnTo>
                  <a:lnTo>
                    <a:pt x="3161" y="843"/>
                  </a:lnTo>
                  <a:lnTo>
                    <a:pt x="3168" y="846"/>
                  </a:lnTo>
                  <a:lnTo>
                    <a:pt x="3175" y="849"/>
                  </a:lnTo>
                  <a:lnTo>
                    <a:pt x="3182" y="851"/>
                  </a:lnTo>
                  <a:lnTo>
                    <a:pt x="3188" y="856"/>
                  </a:lnTo>
                  <a:lnTo>
                    <a:pt x="3194" y="862"/>
                  </a:lnTo>
                  <a:lnTo>
                    <a:pt x="3200" y="867"/>
                  </a:lnTo>
                  <a:lnTo>
                    <a:pt x="3204" y="873"/>
                  </a:lnTo>
                  <a:lnTo>
                    <a:pt x="3208" y="879"/>
                  </a:lnTo>
                  <a:lnTo>
                    <a:pt x="3211" y="886"/>
                  </a:lnTo>
                  <a:lnTo>
                    <a:pt x="3214" y="895"/>
                  </a:lnTo>
                  <a:lnTo>
                    <a:pt x="3215" y="902"/>
                  </a:lnTo>
                  <a:lnTo>
                    <a:pt x="3217" y="910"/>
                  </a:lnTo>
                  <a:lnTo>
                    <a:pt x="3217" y="919"/>
                  </a:lnTo>
                  <a:lnTo>
                    <a:pt x="3217" y="928"/>
                  </a:lnTo>
                  <a:lnTo>
                    <a:pt x="3215" y="936"/>
                  </a:lnTo>
                  <a:lnTo>
                    <a:pt x="3214" y="943"/>
                  </a:lnTo>
                  <a:lnTo>
                    <a:pt x="3211" y="951"/>
                  </a:lnTo>
                  <a:lnTo>
                    <a:pt x="3208" y="958"/>
                  </a:lnTo>
                  <a:lnTo>
                    <a:pt x="3204" y="965"/>
                  </a:lnTo>
                  <a:lnTo>
                    <a:pt x="3200" y="971"/>
                  </a:lnTo>
                  <a:lnTo>
                    <a:pt x="3194" y="976"/>
                  </a:lnTo>
                  <a:lnTo>
                    <a:pt x="3188" y="982"/>
                  </a:lnTo>
                  <a:lnTo>
                    <a:pt x="3182" y="986"/>
                  </a:lnTo>
                  <a:lnTo>
                    <a:pt x="3175" y="989"/>
                  </a:lnTo>
                  <a:lnTo>
                    <a:pt x="3168" y="994"/>
                  </a:lnTo>
                  <a:lnTo>
                    <a:pt x="3161" y="995"/>
                  </a:lnTo>
                  <a:lnTo>
                    <a:pt x="3152" y="998"/>
                  </a:lnTo>
                  <a:lnTo>
                    <a:pt x="3143" y="999"/>
                  </a:lnTo>
                  <a:lnTo>
                    <a:pt x="3135" y="999"/>
                  </a:lnTo>
                  <a:close/>
                  <a:moveTo>
                    <a:pt x="3109" y="487"/>
                  </a:moveTo>
                  <a:lnTo>
                    <a:pt x="3109" y="487"/>
                  </a:lnTo>
                  <a:lnTo>
                    <a:pt x="3125" y="487"/>
                  </a:lnTo>
                  <a:lnTo>
                    <a:pt x="3139" y="491"/>
                  </a:lnTo>
                  <a:lnTo>
                    <a:pt x="3152" y="497"/>
                  </a:lnTo>
                  <a:lnTo>
                    <a:pt x="3164" y="505"/>
                  </a:lnTo>
                  <a:lnTo>
                    <a:pt x="3169" y="511"/>
                  </a:lnTo>
                  <a:lnTo>
                    <a:pt x="3174" y="517"/>
                  </a:lnTo>
                  <a:lnTo>
                    <a:pt x="3177" y="523"/>
                  </a:lnTo>
                  <a:lnTo>
                    <a:pt x="3181" y="530"/>
                  </a:lnTo>
                  <a:lnTo>
                    <a:pt x="3182" y="537"/>
                  </a:lnTo>
                  <a:lnTo>
                    <a:pt x="3185" y="544"/>
                  </a:lnTo>
                  <a:lnTo>
                    <a:pt x="3187" y="551"/>
                  </a:lnTo>
                  <a:lnTo>
                    <a:pt x="3187" y="560"/>
                  </a:lnTo>
                  <a:lnTo>
                    <a:pt x="3187" y="569"/>
                  </a:lnTo>
                  <a:lnTo>
                    <a:pt x="3185" y="577"/>
                  </a:lnTo>
                  <a:lnTo>
                    <a:pt x="3182" y="586"/>
                  </a:lnTo>
                  <a:lnTo>
                    <a:pt x="3181" y="593"/>
                  </a:lnTo>
                  <a:lnTo>
                    <a:pt x="3177" y="599"/>
                  </a:lnTo>
                  <a:lnTo>
                    <a:pt x="3174" y="604"/>
                  </a:lnTo>
                  <a:lnTo>
                    <a:pt x="3168" y="610"/>
                  </a:lnTo>
                  <a:lnTo>
                    <a:pt x="3164" y="616"/>
                  </a:lnTo>
                  <a:lnTo>
                    <a:pt x="3152" y="625"/>
                  </a:lnTo>
                  <a:lnTo>
                    <a:pt x="3139" y="630"/>
                  </a:lnTo>
                  <a:lnTo>
                    <a:pt x="3125" y="633"/>
                  </a:lnTo>
                  <a:lnTo>
                    <a:pt x="3109" y="635"/>
                  </a:lnTo>
                  <a:lnTo>
                    <a:pt x="2985" y="635"/>
                  </a:lnTo>
                  <a:lnTo>
                    <a:pt x="2985" y="487"/>
                  </a:lnTo>
                  <a:lnTo>
                    <a:pt x="3109" y="487"/>
                  </a:lnTo>
                  <a:close/>
                  <a:moveTo>
                    <a:pt x="3341" y="727"/>
                  </a:moveTo>
                  <a:lnTo>
                    <a:pt x="3341" y="727"/>
                  </a:lnTo>
                  <a:lnTo>
                    <a:pt x="3351" y="718"/>
                  </a:lnTo>
                  <a:lnTo>
                    <a:pt x="3361" y="709"/>
                  </a:lnTo>
                  <a:lnTo>
                    <a:pt x="3370" y="699"/>
                  </a:lnTo>
                  <a:lnTo>
                    <a:pt x="3378" y="691"/>
                  </a:lnTo>
                  <a:lnTo>
                    <a:pt x="3385" y="681"/>
                  </a:lnTo>
                  <a:lnTo>
                    <a:pt x="3393" y="669"/>
                  </a:lnTo>
                  <a:lnTo>
                    <a:pt x="3400" y="658"/>
                  </a:lnTo>
                  <a:lnTo>
                    <a:pt x="3406" y="646"/>
                  </a:lnTo>
                  <a:lnTo>
                    <a:pt x="3411" y="635"/>
                  </a:lnTo>
                  <a:lnTo>
                    <a:pt x="3416" y="622"/>
                  </a:lnTo>
                  <a:lnTo>
                    <a:pt x="3420" y="609"/>
                  </a:lnTo>
                  <a:lnTo>
                    <a:pt x="3423" y="596"/>
                  </a:lnTo>
                  <a:lnTo>
                    <a:pt x="3426" y="583"/>
                  </a:lnTo>
                  <a:lnTo>
                    <a:pt x="3427" y="569"/>
                  </a:lnTo>
                  <a:lnTo>
                    <a:pt x="3429" y="554"/>
                  </a:lnTo>
                  <a:lnTo>
                    <a:pt x="3429" y="538"/>
                  </a:lnTo>
                  <a:lnTo>
                    <a:pt x="3429" y="523"/>
                  </a:lnTo>
                  <a:lnTo>
                    <a:pt x="3427" y="508"/>
                  </a:lnTo>
                  <a:lnTo>
                    <a:pt x="3426" y="494"/>
                  </a:lnTo>
                  <a:lnTo>
                    <a:pt x="3423" y="480"/>
                  </a:lnTo>
                  <a:lnTo>
                    <a:pt x="3420" y="465"/>
                  </a:lnTo>
                  <a:lnTo>
                    <a:pt x="3416" y="452"/>
                  </a:lnTo>
                  <a:lnTo>
                    <a:pt x="3411" y="439"/>
                  </a:lnTo>
                  <a:lnTo>
                    <a:pt x="3407" y="426"/>
                  </a:lnTo>
                  <a:lnTo>
                    <a:pt x="3401" y="413"/>
                  </a:lnTo>
                  <a:lnTo>
                    <a:pt x="3394" y="402"/>
                  </a:lnTo>
                  <a:lnTo>
                    <a:pt x="3387" y="391"/>
                  </a:lnTo>
                  <a:lnTo>
                    <a:pt x="3380" y="380"/>
                  </a:lnTo>
                  <a:lnTo>
                    <a:pt x="3371" y="370"/>
                  </a:lnTo>
                  <a:lnTo>
                    <a:pt x="3362" y="360"/>
                  </a:lnTo>
                  <a:lnTo>
                    <a:pt x="3352" y="350"/>
                  </a:lnTo>
                  <a:lnTo>
                    <a:pt x="3344" y="342"/>
                  </a:lnTo>
                  <a:lnTo>
                    <a:pt x="3322" y="326"/>
                  </a:lnTo>
                  <a:lnTo>
                    <a:pt x="3298" y="312"/>
                  </a:lnTo>
                  <a:lnTo>
                    <a:pt x="3272" y="299"/>
                  </a:lnTo>
                  <a:lnTo>
                    <a:pt x="3244" y="289"/>
                  </a:lnTo>
                  <a:lnTo>
                    <a:pt x="3215" y="280"/>
                  </a:lnTo>
                  <a:lnTo>
                    <a:pt x="3184" y="274"/>
                  </a:lnTo>
                  <a:lnTo>
                    <a:pt x="3151" y="271"/>
                  </a:lnTo>
                  <a:lnTo>
                    <a:pt x="3116" y="270"/>
                  </a:lnTo>
                  <a:lnTo>
                    <a:pt x="2742" y="270"/>
                  </a:lnTo>
                  <a:lnTo>
                    <a:pt x="2742" y="1215"/>
                  </a:lnTo>
                  <a:lnTo>
                    <a:pt x="3142" y="1215"/>
                  </a:lnTo>
                  <a:lnTo>
                    <a:pt x="3177" y="1213"/>
                  </a:lnTo>
                  <a:lnTo>
                    <a:pt x="3211" y="1210"/>
                  </a:lnTo>
                  <a:lnTo>
                    <a:pt x="3243" y="1203"/>
                  </a:lnTo>
                  <a:lnTo>
                    <a:pt x="3273" y="1195"/>
                  </a:lnTo>
                  <a:lnTo>
                    <a:pt x="3300" y="1185"/>
                  </a:lnTo>
                  <a:lnTo>
                    <a:pt x="3326" y="1172"/>
                  </a:lnTo>
                  <a:lnTo>
                    <a:pt x="3339" y="1165"/>
                  </a:lnTo>
                  <a:lnTo>
                    <a:pt x="3351" y="1156"/>
                  </a:lnTo>
                  <a:lnTo>
                    <a:pt x="3362" y="1149"/>
                  </a:lnTo>
                  <a:lnTo>
                    <a:pt x="3372" y="1140"/>
                  </a:lnTo>
                  <a:lnTo>
                    <a:pt x="3382" y="1130"/>
                  </a:lnTo>
                  <a:lnTo>
                    <a:pt x="3393" y="1120"/>
                  </a:lnTo>
                  <a:lnTo>
                    <a:pt x="3401" y="1110"/>
                  </a:lnTo>
                  <a:lnTo>
                    <a:pt x="3410" y="1100"/>
                  </a:lnTo>
                  <a:lnTo>
                    <a:pt x="3417" y="1088"/>
                  </a:lnTo>
                  <a:lnTo>
                    <a:pt x="3424" y="1077"/>
                  </a:lnTo>
                  <a:lnTo>
                    <a:pt x="3431" y="1064"/>
                  </a:lnTo>
                  <a:lnTo>
                    <a:pt x="3437" y="1053"/>
                  </a:lnTo>
                  <a:lnTo>
                    <a:pt x="3443" y="1040"/>
                  </a:lnTo>
                  <a:lnTo>
                    <a:pt x="3447" y="1027"/>
                  </a:lnTo>
                  <a:lnTo>
                    <a:pt x="3450" y="1012"/>
                  </a:lnTo>
                  <a:lnTo>
                    <a:pt x="3454" y="998"/>
                  </a:lnTo>
                  <a:lnTo>
                    <a:pt x="3456" y="984"/>
                  </a:lnTo>
                  <a:lnTo>
                    <a:pt x="3459" y="969"/>
                  </a:lnTo>
                  <a:lnTo>
                    <a:pt x="3459" y="953"/>
                  </a:lnTo>
                  <a:lnTo>
                    <a:pt x="3460" y="938"/>
                  </a:lnTo>
                  <a:lnTo>
                    <a:pt x="3459" y="920"/>
                  </a:lnTo>
                  <a:lnTo>
                    <a:pt x="3457" y="903"/>
                  </a:lnTo>
                  <a:lnTo>
                    <a:pt x="3454" y="887"/>
                  </a:lnTo>
                  <a:lnTo>
                    <a:pt x="3452" y="870"/>
                  </a:lnTo>
                  <a:lnTo>
                    <a:pt x="3447" y="856"/>
                  </a:lnTo>
                  <a:lnTo>
                    <a:pt x="3442" y="840"/>
                  </a:lnTo>
                  <a:lnTo>
                    <a:pt x="3434" y="826"/>
                  </a:lnTo>
                  <a:lnTo>
                    <a:pt x="3427" y="813"/>
                  </a:lnTo>
                  <a:lnTo>
                    <a:pt x="3420" y="800"/>
                  </a:lnTo>
                  <a:lnTo>
                    <a:pt x="3410" y="787"/>
                  </a:lnTo>
                  <a:lnTo>
                    <a:pt x="3401" y="775"/>
                  </a:lnTo>
                  <a:lnTo>
                    <a:pt x="3390" y="764"/>
                  </a:lnTo>
                  <a:lnTo>
                    <a:pt x="3378" y="754"/>
                  </a:lnTo>
                  <a:lnTo>
                    <a:pt x="3367" y="744"/>
                  </a:lnTo>
                  <a:lnTo>
                    <a:pt x="3354" y="735"/>
                  </a:lnTo>
                  <a:lnTo>
                    <a:pt x="3341" y="727"/>
                  </a:lnTo>
                  <a:close/>
                  <a:moveTo>
                    <a:pt x="2314" y="982"/>
                  </a:moveTo>
                  <a:lnTo>
                    <a:pt x="2314" y="982"/>
                  </a:lnTo>
                  <a:lnTo>
                    <a:pt x="2314" y="270"/>
                  </a:lnTo>
                  <a:lnTo>
                    <a:pt x="2072" y="270"/>
                  </a:lnTo>
                  <a:lnTo>
                    <a:pt x="2072" y="1215"/>
                  </a:lnTo>
                  <a:lnTo>
                    <a:pt x="2641" y="1215"/>
                  </a:lnTo>
                  <a:lnTo>
                    <a:pt x="2641" y="982"/>
                  </a:lnTo>
                  <a:lnTo>
                    <a:pt x="2314" y="982"/>
                  </a:lnTo>
                  <a:close/>
                  <a:moveTo>
                    <a:pt x="1667" y="1215"/>
                  </a:moveTo>
                  <a:lnTo>
                    <a:pt x="1667" y="1215"/>
                  </a:lnTo>
                  <a:lnTo>
                    <a:pt x="1909" y="1215"/>
                  </a:lnTo>
                  <a:lnTo>
                    <a:pt x="1909" y="270"/>
                  </a:lnTo>
                  <a:lnTo>
                    <a:pt x="1667" y="270"/>
                  </a:lnTo>
                  <a:lnTo>
                    <a:pt x="1667" y="1215"/>
                  </a:lnTo>
                  <a:close/>
                  <a:moveTo>
                    <a:pt x="1057" y="492"/>
                  </a:moveTo>
                  <a:lnTo>
                    <a:pt x="1057" y="492"/>
                  </a:lnTo>
                  <a:lnTo>
                    <a:pt x="1191" y="492"/>
                  </a:lnTo>
                  <a:lnTo>
                    <a:pt x="1202" y="494"/>
                  </a:lnTo>
                  <a:lnTo>
                    <a:pt x="1212" y="495"/>
                  </a:lnTo>
                  <a:lnTo>
                    <a:pt x="1222" y="497"/>
                  </a:lnTo>
                  <a:lnTo>
                    <a:pt x="1233" y="501"/>
                  </a:lnTo>
                  <a:lnTo>
                    <a:pt x="1241" y="505"/>
                  </a:lnTo>
                  <a:lnTo>
                    <a:pt x="1250" y="510"/>
                  </a:lnTo>
                  <a:lnTo>
                    <a:pt x="1257" y="515"/>
                  </a:lnTo>
                  <a:lnTo>
                    <a:pt x="1264" y="523"/>
                  </a:lnTo>
                  <a:lnTo>
                    <a:pt x="1270" y="530"/>
                  </a:lnTo>
                  <a:lnTo>
                    <a:pt x="1276" y="538"/>
                  </a:lnTo>
                  <a:lnTo>
                    <a:pt x="1282" y="547"/>
                  </a:lnTo>
                  <a:lnTo>
                    <a:pt x="1284" y="557"/>
                  </a:lnTo>
                  <a:lnTo>
                    <a:pt x="1289" y="567"/>
                  </a:lnTo>
                  <a:lnTo>
                    <a:pt x="1290" y="577"/>
                  </a:lnTo>
                  <a:lnTo>
                    <a:pt x="1292" y="589"/>
                  </a:lnTo>
                  <a:lnTo>
                    <a:pt x="1293" y="599"/>
                  </a:lnTo>
                  <a:lnTo>
                    <a:pt x="1292" y="612"/>
                  </a:lnTo>
                  <a:lnTo>
                    <a:pt x="1290" y="622"/>
                  </a:lnTo>
                  <a:lnTo>
                    <a:pt x="1289" y="633"/>
                  </a:lnTo>
                  <a:lnTo>
                    <a:pt x="1284" y="643"/>
                  </a:lnTo>
                  <a:lnTo>
                    <a:pt x="1282" y="652"/>
                  </a:lnTo>
                  <a:lnTo>
                    <a:pt x="1276" y="660"/>
                  </a:lnTo>
                  <a:lnTo>
                    <a:pt x="1270" y="669"/>
                  </a:lnTo>
                  <a:lnTo>
                    <a:pt x="1264" y="676"/>
                  </a:lnTo>
                  <a:lnTo>
                    <a:pt x="1257" y="683"/>
                  </a:lnTo>
                  <a:lnTo>
                    <a:pt x="1250" y="689"/>
                  </a:lnTo>
                  <a:lnTo>
                    <a:pt x="1241" y="694"/>
                  </a:lnTo>
                  <a:lnTo>
                    <a:pt x="1233" y="698"/>
                  </a:lnTo>
                  <a:lnTo>
                    <a:pt x="1222" y="701"/>
                  </a:lnTo>
                  <a:lnTo>
                    <a:pt x="1212" y="704"/>
                  </a:lnTo>
                  <a:lnTo>
                    <a:pt x="1202" y="705"/>
                  </a:lnTo>
                  <a:lnTo>
                    <a:pt x="1191" y="705"/>
                  </a:lnTo>
                  <a:lnTo>
                    <a:pt x="1057" y="705"/>
                  </a:lnTo>
                  <a:lnTo>
                    <a:pt x="1057" y="492"/>
                  </a:lnTo>
                  <a:close/>
                  <a:moveTo>
                    <a:pt x="1309" y="1215"/>
                  </a:moveTo>
                  <a:lnTo>
                    <a:pt x="1309" y="1215"/>
                  </a:lnTo>
                  <a:lnTo>
                    <a:pt x="1568" y="1215"/>
                  </a:lnTo>
                  <a:lnTo>
                    <a:pt x="1374" y="866"/>
                  </a:lnTo>
                  <a:lnTo>
                    <a:pt x="1391" y="854"/>
                  </a:lnTo>
                  <a:lnTo>
                    <a:pt x="1408" y="843"/>
                  </a:lnTo>
                  <a:lnTo>
                    <a:pt x="1424" y="830"/>
                  </a:lnTo>
                  <a:lnTo>
                    <a:pt x="1440" y="817"/>
                  </a:lnTo>
                  <a:lnTo>
                    <a:pt x="1454" y="803"/>
                  </a:lnTo>
                  <a:lnTo>
                    <a:pt x="1467" y="787"/>
                  </a:lnTo>
                  <a:lnTo>
                    <a:pt x="1480" y="771"/>
                  </a:lnTo>
                  <a:lnTo>
                    <a:pt x="1490" y="754"/>
                  </a:lnTo>
                  <a:lnTo>
                    <a:pt x="1500" y="737"/>
                  </a:lnTo>
                  <a:lnTo>
                    <a:pt x="1509" y="718"/>
                  </a:lnTo>
                  <a:lnTo>
                    <a:pt x="1518" y="699"/>
                  </a:lnTo>
                  <a:lnTo>
                    <a:pt x="1523" y="681"/>
                  </a:lnTo>
                  <a:lnTo>
                    <a:pt x="1528" y="660"/>
                  </a:lnTo>
                  <a:lnTo>
                    <a:pt x="1532" y="639"/>
                  </a:lnTo>
                  <a:lnTo>
                    <a:pt x="1534" y="619"/>
                  </a:lnTo>
                  <a:lnTo>
                    <a:pt x="1535" y="597"/>
                  </a:lnTo>
                  <a:lnTo>
                    <a:pt x="1535" y="579"/>
                  </a:lnTo>
                  <a:lnTo>
                    <a:pt x="1534" y="561"/>
                  </a:lnTo>
                  <a:lnTo>
                    <a:pt x="1531" y="544"/>
                  </a:lnTo>
                  <a:lnTo>
                    <a:pt x="1528" y="528"/>
                  </a:lnTo>
                  <a:lnTo>
                    <a:pt x="1525" y="511"/>
                  </a:lnTo>
                  <a:lnTo>
                    <a:pt x="1519" y="495"/>
                  </a:lnTo>
                  <a:lnTo>
                    <a:pt x="1515" y="481"/>
                  </a:lnTo>
                  <a:lnTo>
                    <a:pt x="1509" y="465"/>
                  </a:lnTo>
                  <a:lnTo>
                    <a:pt x="1502" y="451"/>
                  </a:lnTo>
                  <a:lnTo>
                    <a:pt x="1495" y="436"/>
                  </a:lnTo>
                  <a:lnTo>
                    <a:pt x="1486" y="424"/>
                  </a:lnTo>
                  <a:lnTo>
                    <a:pt x="1477" y="409"/>
                  </a:lnTo>
                  <a:lnTo>
                    <a:pt x="1469" y="398"/>
                  </a:lnTo>
                  <a:lnTo>
                    <a:pt x="1459" y="385"/>
                  </a:lnTo>
                  <a:lnTo>
                    <a:pt x="1447" y="373"/>
                  </a:lnTo>
                  <a:lnTo>
                    <a:pt x="1436" y="362"/>
                  </a:lnTo>
                  <a:lnTo>
                    <a:pt x="1424" y="352"/>
                  </a:lnTo>
                  <a:lnTo>
                    <a:pt x="1413" y="342"/>
                  </a:lnTo>
                  <a:lnTo>
                    <a:pt x="1400" y="332"/>
                  </a:lnTo>
                  <a:lnTo>
                    <a:pt x="1387" y="323"/>
                  </a:lnTo>
                  <a:lnTo>
                    <a:pt x="1372" y="314"/>
                  </a:lnTo>
                  <a:lnTo>
                    <a:pt x="1358" y="307"/>
                  </a:lnTo>
                  <a:lnTo>
                    <a:pt x="1343" y="300"/>
                  </a:lnTo>
                  <a:lnTo>
                    <a:pt x="1328" y="294"/>
                  </a:lnTo>
                  <a:lnTo>
                    <a:pt x="1312" y="289"/>
                  </a:lnTo>
                  <a:lnTo>
                    <a:pt x="1296" y="284"/>
                  </a:lnTo>
                  <a:lnTo>
                    <a:pt x="1280" y="280"/>
                  </a:lnTo>
                  <a:lnTo>
                    <a:pt x="1263" y="276"/>
                  </a:lnTo>
                  <a:lnTo>
                    <a:pt x="1247" y="274"/>
                  </a:lnTo>
                  <a:lnTo>
                    <a:pt x="1230" y="271"/>
                  </a:lnTo>
                  <a:lnTo>
                    <a:pt x="1211" y="270"/>
                  </a:lnTo>
                  <a:lnTo>
                    <a:pt x="1194" y="270"/>
                  </a:lnTo>
                  <a:lnTo>
                    <a:pt x="815" y="270"/>
                  </a:lnTo>
                  <a:lnTo>
                    <a:pt x="815" y="1215"/>
                  </a:lnTo>
                  <a:lnTo>
                    <a:pt x="1057" y="1215"/>
                  </a:lnTo>
                  <a:lnTo>
                    <a:pt x="1057" y="910"/>
                  </a:lnTo>
                  <a:lnTo>
                    <a:pt x="1143" y="910"/>
                  </a:lnTo>
                  <a:lnTo>
                    <a:pt x="1309" y="1215"/>
                  </a:lnTo>
                  <a:close/>
                  <a:moveTo>
                    <a:pt x="1014" y="210"/>
                  </a:moveTo>
                  <a:lnTo>
                    <a:pt x="1014" y="210"/>
                  </a:lnTo>
                  <a:lnTo>
                    <a:pt x="1240" y="210"/>
                  </a:lnTo>
                  <a:lnTo>
                    <a:pt x="1384" y="0"/>
                  </a:lnTo>
                  <a:lnTo>
                    <a:pt x="1181" y="0"/>
                  </a:lnTo>
                  <a:lnTo>
                    <a:pt x="1127" y="76"/>
                  </a:lnTo>
                  <a:lnTo>
                    <a:pt x="1073" y="0"/>
                  </a:lnTo>
                  <a:lnTo>
                    <a:pt x="870" y="0"/>
                  </a:lnTo>
                  <a:lnTo>
                    <a:pt x="1014" y="210"/>
                  </a:lnTo>
                  <a:close/>
                  <a:moveTo>
                    <a:pt x="367" y="702"/>
                  </a:moveTo>
                  <a:lnTo>
                    <a:pt x="367" y="702"/>
                  </a:lnTo>
                  <a:lnTo>
                    <a:pt x="242" y="702"/>
                  </a:lnTo>
                  <a:lnTo>
                    <a:pt x="242" y="501"/>
                  </a:lnTo>
                  <a:lnTo>
                    <a:pt x="367" y="501"/>
                  </a:lnTo>
                  <a:lnTo>
                    <a:pt x="377" y="501"/>
                  </a:lnTo>
                  <a:lnTo>
                    <a:pt x="387" y="503"/>
                  </a:lnTo>
                  <a:lnTo>
                    <a:pt x="397" y="505"/>
                  </a:lnTo>
                  <a:lnTo>
                    <a:pt x="406" y="508"/>
                  </a:lnTo>
                  <a:lnTo>
                    <a:pt x="415" y="513"/>
                  </a:lnTo>
                  <a:lnTo>
                    <a:pt x="422" y="517"/>
                  </a:lnTo>
                  <a:lnTo>
                    <a:pt x="429" y="523"/>
                  </a:lnTo>
                  <a:lnTo>
                    <a:pt x="436" y="528"/>
                  </a:lnTo>
                  <a:lnTo>
                    <a:pt x="442" y="536"/>
                  </a:lnTo>
                  <a:lnTo>
                    <a:pt x="448" y="543"/>
                  </a:lnTo>
                  <a:lnTo>
                    <a:pt x="452" y="551"/>
                  </a:lnTo>
                  <a:lnTo>
                    <a:pt x="456" y="560"/>
                  </a:lnTo>
                  <a:lnTo>
                    <a:pt x="459" y="570"/>
                  </a:lnTo>
                  <a:lnTo>
                    <a:pt x="462" y="580"/>
                  </a:lnTo>
                  <a:lnTo>
                    <a:pt x="464" y="590"/>
                  </a:lnTo>
                  <a:lnTo>
                    <a:pt x="464" y="600"/>
                  </a:lnTo>
                  <a:lnTo>
                    <a:pt x="464" y="612"/>
                  </a:lnTo>
                  <a:lnTo>
                    <a:pt x="462" y="622"/>
                  </a:lnTo>
                  <a:lnTo>
                    <a:pt x="459" y="632"/>
                  </a:lnTo>
                  <a:lnTo>
                    <a:pt x="456" y="642"/>
                  </a:lnTo>
                  <a:lnTo>
                    <a:pt x="452" y="650"/>
                  </a:lnTo>
                  <a:lnTo>
                    <a:pt x="448" y="659"/>
                  </a:lnTo>
                  <a:lnTo>
                    <a:pt x="442" y="666"/>
                  </a:lnTo>
                  <a:lnTo>
                    <a:pt x="436" y="673"/>
                  </a:lnTo>
                  <a:lnTo>
                    <a:pt x="429" y="681"/>
                  </a:lnTo>
                  <a:lnTo>
                    <a:pt x="422" y="686"/>
                  </a:lnTo>
                  <a:lnTo>
                    <a:pt x="415" y="691"/>
                  </a:lnTo>
                  <a:lnTo>
                    <a:pt x="406" y="695"/>
                  </a:lnTo>
                  <a:lnTo>
                    <a:pt x="397" y="698"/>
                  </a:lnTo>
                  <a:lnTo>
                    <a:pt x="387" y="701"/>
                  </a:lnTo>
                  <a:lnTo>
                    <a:pt x="377" y="702"/>
                  </a:lnTo>
                  <a:lnTo>
                    <a:pt x="367" y="702"/>
                  </a:lnTo>
                  <a:close/>
                  <a:moveTo>
                    <a:pt x="367" y="270"/>
                  </a:moveTo>
                  <a:lnTo>
                    <a:pt x="367" y="270"/>
                  </a:lnTo>
                  <a:lnTo>
                    <a:pt x="0" y="270"/>
                  </a:lnTo>
                  <a:lnTo>
                    <a:pt x="0" y="1215"/>
                  </a:lnTo>
                  <a:lnTo>
                    <a:pt x="242" y="1215"/>
                  </a:lnTo>
                  <a:lnTo>
                    <a:pt x="242" y="932"/>
                  </a:lnTo>
                  <a:lnTo>
                    <a:pt x="367" y="932"/>
                  </a:lnTo>
                  <a:lnTo>
                    <a:pt x="386" y="930"/>
                  </a:lnTo>
                  <a:lnTo>
                    <a:pt x="403" y="930"/>
                  </a:lnTo>
                  <a:lnTo>
                    <a:pt x="420" y="928"/>
                  </a:lnTo>
                  <a:lnTo>
                    <a:pt x="436" y="925"/>
                  </a:lnTo>
                  <a:lnTo>
                    <a:pt x="454" y="922"/>
                  </a:lnTo>
                  <a:lnTo>
                    <a:pt x="469" y="918"/>
                  </a:lnTo>
                  <a:lnTo>
                    <a:pt x="485" y="913"/>
                  </a:lnTo>
                  <a:lnTo>
                    <a:pt x="501" y="907"/>
                  </a:lnTo>
                  <a:lnTo>
                    <a:pt x="515" y="900"/>
                  </a:lnTo>
                  <a:lnTo>
                    <a:pt x="530" y="895"/>
                  </a:lnTo>
                  <a:lnTo>
                    <a:pt x="544" y="886"/>
                  </a:lnTo>
                  <a:lnTo>
                    <a:pt x="559" y="879"/>
                  </a:lnTo>
                  <a:lnTo>
                    <a:pt x="572" y="869"/>
                  </a:lnTo>
                  <a:lnTo>
                    <a:pt x="585" y="860"/>
                  </a:lnTo>
                  <a:lnTo>
                    <a:pt x="596" y="850"/>
                  </a:lnTo>
                  <a:lnTo>
                    <a:pt x="608" y="839"/>
                  </a:lnTo>
                  <a:lnTo>
                    <a:pt x="619" y="828"/>
                  </a:lnTo>
                  <a:lnTo>
                    <a:pt x="629" y="816"/>
                  </a:lnTo>
                  <a:lnTo>
                    <a:pt x="639" y="804"/>
                  </a:lnTo>
                  <a:lnTo>
                    <a:pt x="649" y="791"/>
                  </a:lnTo>
                  <a:lnTo>
                    <a:pt x="658" y="778"/>
                  </a:lnTo>
                  <a:lnTo>
                    <a:pt x="667" y="764"/>
                  </a:lnTo>
                  <a:lnTo>
                    <a:pt x="674" y="750"/>
                  </a:lnTo>
                  <a:lnTo>
                    <a:pt x="680" y="735"/>
                  </a:lnTo>
                  <a:lnTo>
                    <a:pt x="685" y="719"/>
                  </a:lnTo>
                  <a:lnTo>
                    <a:pt x="691" y="704"/>
                  </a:lnTo>
                  <a:lnTo>
                    <a:pt x="695" y="688"/>
                  </a:lnTo>
                  <a:lnTo>
                    <a:pt x="700" y="671"/>
                  </a:lnTo>
                  <a:lnTo>
                    <a:pt x="703" y="653"/>
                  </a:lnTo>
                  <a:lnTo>
                    <a:pt x="704" y="636"/>
                  </a:lnTo>
                  <a:lnTo>
                    <a:pt x="706" y="619"/>
                  </a:lnTo>
                  <a:lnTo>
                    <a:pt x="707" y="600"/>
                  </a:lnTo>
                  <a:lnTo>
                    <a:pt x="706" y="583"/>
                  </a:lnTo>
                  <a:lnTo>
                    <a:pt x="704" y="566"/>
                  </a:lnTo>
                  <a:lnTo>
                    <a:pt x="703" y="547"/>
                  </a:lnTo>
                  <a:lnTo>
                    <a:pt x="700" y="531"/>
                  </a:lnTo>
                  <a:lnTo>
                    <a:pt x="695" y="514"/>
                  </a:lnTo>
                  <a:lnTo>
                    <a:pt x="691" y="498"/>
                  </a:lnTo>
                  <a:lnTo>
                    <a:pt x="685" y="482"/>
                  </a:lnTo>
                  <a:lnTo>
                    <a:pt x="680" y="467"/>
                  </a:lnTo>
                  <a:lnTo>
                    <a:pt x="674" y="452"/>
                  </a:lnTo>
                  <a:lnTo>
                    <a:pt x="667" y="438"/>
                  </a:lnTo>
                  <a:lnTo>
                    <a:pt x="658" y="424"/>
                  </a:lnTo>
                  <a:lnTo>
                    <a:pt x="649" y="411"/>
                  </a:lnTo>
                  <a:lnTo>
                    <a:pt x="639" y="398"/>
                  </a:lnTo>
                  <a:lnTo>
                    <a:pt x="629" y="386"/>
                  </a:lnTo>
                  <a:lnTo>
                    <a:pt x="619" y="373"/>
                  </a:lnTo>
                  <a:lnTo>
                    <a:pt x="608" y="363"/>
                  </a:lnTo>
                  <a:lnTo>
                    <a:pt x="596" y="352"/>
                  </a:lnTo>
                  <a:lnTo>
                    <a:pt x="585" y="342"/>
                  </a:lnTo>
                  <a:lnTo>
                    <a:pt x="572" y="332"/>
                  </a:lnTo>
                  <a:lnTo>
                    <a:pt x="559" y="323"/>
                  </a:lnTo>
                  <a:lnTo>
                    <a:pt x="544" y="316"/>
                  </a:lnTo>
                  <a:lnTo>
                    <a:pt x="530" y="307"/>
                  </a:lnTo>
                  <a:lnTo>
                    <a:pt x="515" y="300"/>
                  </a:lnTo>
                  <a:lnTo>
                    <a:pt x="501" y="294"/>
                  </a:lnTo>
                  <a:lnTo>
                    <a:pt x="485" y="289"/>
                  </a:lnTo>
                  <a:lnTo>
                    <a:pt x="469" y="284"/>
                  </a:lnTo>
                  <a:lnTo>
                    <a:pt x="454" y="280"/>
                  </a:lnTo>
                  <a:lnTo>
                    <a:pt x="436" y="276"/>
                  </a:lnTo>
                  <a:lnTo>
                    <a:pt x="420" y="274"/>
                  </a:lnTo>
                  <a:lnTo>
                    <a:pt x="403" y="271"/>
                  </a:lnTo>
                  <a:lnTo>
                    <a:pt x="386" y="270"/>
                  </a:lnTo>
                  <a:lnTo>
                    <a:pt x="367" y="270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7" name="Freeform 61">
              <a:extLst>
                <a:ext uri="{FF2B5EF4-FFF2-40B4-BE49-F238E27FC236}">
                  <a16:creationId xmlns:a16="http://schemas.microsoft.com/office/drawing/2014/main" id="{9A7FB958-D9FA-FE32-9F69-1BA77B987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813" y="3919538"/>
              <a:ext cx="1828800" cy="519113"/>
            </a:xfrm>
            <a:custGeom>
              <a:avLst/>
              <a:gdLst>
                <a:gd name="T0" fmla="*/ 3258 w 3454"/>
                <a:gd name="T1" fmla="*/ 960 h 979"/>
                <a:gd name="T2" fmla="*/ 3374 w 3454"/>
                <a:gd name="T3" fmla="*/ 897 h 979"/>
                <a:gd name="T4" fmla="*/ 3417 w 3454"/>
                <a:gd name="T5" fmla="*/ 845 h 979"/>
                <a:gd name="T6" fmla="*/ 3444 w 3454"/>
                <a:gd name="T7" fmla="*/ 781 h 979"/>
                <a:gd name="T8" fmla="*/ 3454 w 3454"/>
                <a:gd name="T9" fmla="*/ 708 h 979"/>
                <a:gd name="T10" fmla="*/ 3443 w 3454"/>
                <a:gd name="T11" fmla="*/ 631 h 979"/>
                <a:gd name="T12" fmla="*/ 3412 w 3454"/>
                <a:gd name="T13" fmla="*/ 573 h 979"/>
                <a:gd name="T14" fmla="*/ 3332 w 3454"/>
                <a:gd name="T15" fmla="*/ 502 h 979"/>
                <a:gd name="T16" fmla="*/ 3133 w 3454"/>
                <a:gd name="T17" fmla="*/ 423 h 979"/>
                <a:gd name="T18" fmla="*/ 2996 w 3454"/>
                <a:gd name="T19" fmla="*/ 369 h 979"/>
                <a:gd name="T20" fmla="*/ 2946 w 3454"/>
                <a:gd name="T21" fmla="*/ 318 h 979"/>
                <a:gd name="T22" fmla="*/ 2934 w 3454"/>
                <a:gd name="T23" fmla="*/ 245 h 979"/>
                <a:gd name="T24" fmla="*/ 2962 w 3454"/>
                <a:gd name="T25" fmla="*/ 179 h 979"/>
                <a:gd name="T26" fmla="*/ 3021 w 3454"/>
                <a:gd name="T27" fmla="*/ 136 h 979"/>
                <a:gd name="T28" fmla="*/ 3106 w 3454"/>
                <a:gd name="T29" fmla="*/ 120 h 979"/>
                <a:gd name="T30" fmla="*/ 3199 w 3454"/>
                <a:gd name="T31" fmla="*/ 139 h 979"/>
                <a:gd name="T32" fmla="*/ 3268 w 3454"/>
                <a:gd name="T33" fmla="*/ 185 h 979"/>
                <a:gd name="T34" fmla="*/ 3314 w 3454"/>
                <a:gd name="T35" fmla="*/ 252 h 979"/>
                <a:gd name="T36" fmla="*/ 3391 w 3454"/>
                <a:gd name="T37" fmla="*/ 143 h 979"/>
                <a:gd name="T38" fmla="*/ 3304 w 3454"/>
                <a:gd name="T39" fmla="*/ 59 h 979"/>
                <a:gd name="T40" fmla="*/ 3189 w 3454"/>
                <a:gd name="T41" fmla="*/ 8 h 979"/>
                <a:gd name="T42" fmla="*/ 3048 w 3454"/>
                <a:gd name="T43" fmla="*/ 4 h 979"/>
                <a:gd name="T44" fmla="*/ 2918 w 3454"/>
                <a:gd name="T45" fmla="*/ 53 h 979"/>
                <a:gd name="T46" fmla="*/ 2845 w 3454"/>
                <a:gd name="T47" fmla="*/ 129 h 979"/>
                <a:gd name="T48" fmla="*/ 2818 w 3454"/>
                <a:gd name="T49" fmla="*/ 192 h 979"/>
                <a:gd name="T50" fmla="*/ 2808 w 3454"/>
                <a:gd name="T51" fmla="*/ 267 h 979"/>
                <a:gd name="T52" fmla="*/ 2818 w 3454"/>
                <a:gd name="T53" fmla="*/ 340 h 979"/>
                <a:gd name="T54" fmla="*/ 2846 w 3454"/>
                <a:gd name="T55" fmla="*/ 397 h 979"/>
                <a:gd name="T56" fmla="*/ 2921 w 3454"/>
                <a:gd name="T57" fmla="*/ 465 h 979"/>
                <a:gd name="T58" fmla="*/ 3106 w 3454"/>
                <a:gd name="T59" fmla="*/ 538 h 979"/>
                <a:gd name="T60" fmla="*/ 3254 w 3454"/>
                <a:gd name="T61" fmla="*/ 596 h 979"/>
                <a:gd name="T62" fmla="*/ 3314 w 3454"/>
                <a:gd name="T63" fmla="*/ 649 h 979"/>
                <a:gd name="T64" fmla="*/ 3329 w 3454"/>
                <a:gd name="T65" fmla="*/ 726 h 979"/>
                <a:gd name="T66" fmla="*/ 3302 w 3454"/>
                <a:gd name="T67" fmla="*/ 794 h 979"/>
                <a:gd name="T68" fmla="*/ 3235 w 3454"/>
                <a:gd name="T69" fmla="*/ 840 h 979"/>
                <a:gd name="T70" fmla="*/ 3129 w 3454"/>
                <a:gd name="T71" fmla="*/ 857 h 979"/>
                <a:gd name="T72" fmla="*/ 3016 w 3454"/>
                <a:gd name="T73" fmla="*/ 838 h 979"/>
                <a:gd name="T74" fmla="*/ 2934 w 3454"/>
                <a:gd name="T75" fmla="*/ 785 h 979"/>
                <a:gd name="T76" fmla="*/ 2882 w 3454"/>
                <a:gd name="T77" fmla="*/ 705 h 979"/>
                <a:gd name="T78" fmla="*/ 2803 w 3454"/>
                <a:gd name="T79" fmla="*/ 821 h 979"/>
                <a:gd name="T80" fmla="*/ 2898 w 3454"/>
                <a:gd name="T81" fmla="*/ 917 h 979"/>
                <a:gd name="T82" fmla="*/ 3031 w 3454"/>
                <a:gd name="T83" fmla="*/ 970 h 979"/>
                <a:gd name="T84" fmla="*/ 2139 w 3454"/>
                <a:gd name="T85" fmla="*/ 17 h 979"/>
                <a:gd name="T86" fmla="*/ 1676 w 3454"/>
                <a:gd name="T87" fmla="*/ 962 h 979"/>
                <a:gd name="T88" fmla="*/ 2139 w 3454"/>
                <a:gd name="T89" fmla="*/ 17 h 979"/>
                <a:gd name="T90" fmla="*/ 1345 w 3454"/>
                <a:gd name="T91" fmla="*/ 426 h 979"/>
                <a:gd name="T92" fmla="*/ 819 w 3454"/>
                <a:gd name="T93" fmla="*/ 17 h 979"/>
                <a:gd name="T94" fmla="*/ 296 w 3454"/>
                <a:gd name="T95" fmla="*/ 979 h 979"/>
                <a:gd name="T96" fmla="*/ 420 w 3454"/>
                <a:gd name="T97" fmla="*/ 962 h 979"/>
                <a:gd name="T98" fmla="*/ 509 w 3454"/>
                <a:gd name="T99" fmla="*/ 916 h 979"/>
                <a:gd name="T100" fmla="*/ 560 w 3454"/>
                <a:gd name="T101" fmla="*/ 866 h 979"/>
                <a:gd name="T102" fmla="*/ 596 w 3454"/>
                <a:gd name="T103" fmla="*/ 801 h 979"/>
                <a:gd name="T104" fmla="*/ 613 w 3454"/>
                <a:gd name="T105" fmla="*/ 721 h 979"/>
                <a:gd name="T106" fmla="*/ 491 w 3454"/>
                <a:gd name="T107" fmla="*/ 685 h 979"/>
                <a:gd name="T108" fmla="*/ 469 w 3454"/>
                <a:gd name="T109" fmla="*/ 777 h 979"/>
                <a:gd name="T110" fmla="*/ 409 w 3454"/>
                <a:gd name="T111" fmla="*/ 834 h 979"/>
                <a:gd name="T112" fmla="*/ 318 w 3454"/>
                <a:gd name="T113" fmla="*/ 856 h 979"/>
                <a:gd name="T114" fmla="*/ 233 w 3454"/>
                <a:gd name="T115" fmla="*/ 851 h 979"/>
                <a:gd name="T116" fmla="*/ 167 w 3454"/>
                <a:gd name="T117" fmla="*/ 824 h 979"/>
                <a:gd name="T118" fmla="*/ 121 w 3454"/>
                <a:gd name="T119" fmla="*/ 775 h 979"/>
                <a:gd name="T120" fmla="*/ 21 w 3454"/>
                <a:gd name="T121" fmla="*/ 850 h 979"/>
                <a:gd name="T122" fmla="*/ 99 w 3454"/>
                <a:gd name="T123" fmla="*/ 926 h 979"/>
                <a:gd name="T124" fmla="*/ 201 w 3454"/>
                <a:gd name="T125" fmla="*/ 96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4" h="979">
                  <a:moveTo>
                    <a:pt x="3126" y="979"/>
                  </a:moveTo>
                  <a:lnTo>
                    <a:pt x="3162" y="979"/>
                  </a:lnTo>
                  <a:lnTo>
                    <a:pt x="3196" y="975"/>
                  </a:lnTo>
                  <a:lnTo>
                    <a:pt x="3228" y="969"/>
                  </a:lnTo>
                  <a:lnTo>
                    <a:pt x="3258" y="960"/>
                  </a:lnTo>
                  <a:lnTo>
                    <a:pt x="3289" y="950"/>
                  </a:lnTo>
                  <a:lnTo>
                    <a:pt x="3314" y="937"/>
                  </a:lnTo>
                  <a:lnTo>
                    <a:pt x="3340" y="923"/>
                  </a:lnTo>
                  <a:lnTo>
                    <a:pt x="3362" y="906"/>
                  </a:lnTo>
                  <a:lnTo>
                    <a:pt x="3374" y="897"/>
                  </a:lnTo>
                  <a:lnTo>
                    <a:pt x="3384" y="887"/>
                  </a:lnTo>
                  <a:lnTo>
                    <a:pt x="3392" y="877"/>
                  </a:lnTo>
                  <a:lnTo>
                    <a:pt x="3401" y="867"/>
                  </a:lnTo>
                  <a:lnTo>
                    <a:pt x="3410" y="856"/>
                  </a:lnTo>
                  <a:lnTo>
                    <a:pt x="3417" y="845"/>
                  </a:lnTo>
                  <a:lnTo>
                    <a:pt x="3424" y="833"/>
                  </a:lnTo>
                  <a:lnTo>
                    <a:pt x="3430" y="821"/>
                  </a:lnTo>
                  <a:lnTo>
                    <a:pt x="3435" y="808"/>
                  </a:lnTo>
                  <a:lnTo>
                    <a:pt x="3440" y="795"/>
                  </a:lnTo>
                  <a:lnTo>
                    <a:pt x="3444" y="781"/>
                  </a:lnTo>
                  <a:lnTo>
                    <a:pt x="3447" y="768"/>
                  </a:lnTo>
                  <a:lnTo>
                    <a:pt x="3450" y="754"/>
                  </a:lnTo>
                  <a:lnTo>
                    <a:pt x="3453" y="739"/>
                  </a:lnTo>
                  <a:lnTo>
                    <a:pt x="3453" y="723"/>
                  </a:lnTo>
                  <a:lnTo>
                    <a:pt x="3454" y="708"/>
                  </a:lnTo>
                  <a:lnTo>
                    <a:pt x="3453" y="692"/>
                  </a:lnTo>
                  <a:lnTo>
                    <a:pt x="3451" y="676"/>
                  </a:lnTo>
                  <a:lnTo>
                    <a:pt x="3450" y="660"/>
                  </a:lnTo>
                  <a:lnTo>
                    <a:pt x="3447" y="646"/>
                  </a:lnTo>
                  <a:lnTo>
                    <a:pt x="3443" y="631"/>
                  </a:lnTo>
                  <a:lnTo>
                    <a:pt x="3438" y="619"/>
                  </a:lnTo>
                  <a:lnTo>
                    <a:pt x="3433" y="607"/>
                  </a:lnTo>
                  <a:lnTo>
                    <a:pt x="3427" y="594"/>
                  </a:lnTo>
                  <a:lnTo>
                    <a:pt x="3420" y="583"/>
                  </a:lnTo>
                  <a:lnTo>
                    <a:pt x="3412" y="573"/>
                  </a:lnTo>
                  <a:lnTo>
                    <a:pt x="3405" y="563"/>
                  </a:lnTo>
                  <a:lnTo>
                    <a:pt x="3395" y="553"/>
                  </a:lnTo>
                  <a:lnTo>
                    <a:pt x="3376" y="534"/>
                  </a:lnTo>
                  <a:lnTo>
                    <a:pt x="3355" y="518"/>
                  </a:lnTo>
                  <a:lnTo>
                    <a:pt x="3332" y="502"/>
                  </a:lnTo>
                  <a:lnTo>
                    <a:pt x="3307" y="489"/>
                  </a:lnTo>
                  <a:lnTo>
                    <a:pt x="3280" y="476"/>
                  </a:lnTo>
                  <a:lnTo>
                    <a:pt x="3253" y="465"/>
                  </a:lnTo>
                  <a:lnTo>
                    <a:pt x="3194" y="443"/>
                  </a:lnTo>
                  <a:lnTo>
                    <a:pt x="3133" y="423"/>
                  </a:lnTo>
                  <a:lnTo>
                    <a:pt x="3087" y="407"/>
                  </a:lnTo>
                  <a:lnTo>
                    <a:pt x="3045" y="393"/>
                  </a:lnTo>
                  <a:lnTo>
                    <a:pt x="3028" y="385"/>
                  </a:lnTo>
                  <a:lnTo>
                    <a:pt x="3012" y="377"/>
                  </a:lnTo>
                  <a:lnTo>
                    <a:pt x="2996" y="369"/>
                  </a:lnTo>
                  <a:lnTo>
                    <a:pt x="2983" y="360"/>
                  </a:lnTo>
                  <a:lnTo>
                    <a:pt x="2972" y="350"/>
                  </a:lnTo>
                  <a:lnTo>
                    <a:pt x="2962" y="340"/>
                  </a:lnTo>
                  <a:lnTo>
                    <a:pt x="2953" y="330"/>
                  </a:lnTo>
                  <a:lnTo>
                    <a:pt x="2946" y="318"/>
                  </a:lnTo>
                  <a:lnTo>
                    <a:pt x="2942" y="306"/>
                  </a:lnTo>
                  <a:lnTo>
                    <a:pt x="2937" y="291"/>
                  </a:lnTo>
                  <a:lnTo>
                    <a:pt x="2934" y="277"/>
                  </a:lnTo>
                  <a:lnTo>
                    <a:pt x="2934" y="261"/>
                  </a:lnTo>
                  <a:lnTo>
                    <a:pt x="2934" y="245"/>
                  </a:lnTo>
                  <a:lnTo>
                    <a:pt x="2937" y="231"/>
                  </a:lnTo>
                  <a:lnTo>
                    <a:pt x="2942" y="216"/>
                  </a:lnTo>
                  <a:lnTo>
                    <a:pt x="2946" y="204"/>
                  </a:lnTo>
                  <a:lnTo>
                    <a:pt x="2953" y="191"/>
                  </a:lnTo>
                  <a:lnTo>
                    <a:pt x="2962" y="179"/>
                  </a:lnTo>
                  <a:lnTo>
                    <a:pt x="2970" y="169"/>
                  </a:lnTo>
                  <a:lnTo>
                    <a:pt x="2982" y="159"/>
                  </a:lnTo>
                  <a:lnTo>
                    <a:pt x="2993" y="150"/>
                  </a:lnTo>
                  <a:lnTo>
                    <a:pt x="3006" y="143"/>
                  </a:lnTo>
                  <a:lnTo>
                    <a:pt x="3021" y="136"/>
                  </a:lnTo>
                  <a:lnTo>
                    <a:pt x="3037" y="130"/>
                  </a:lnTo>
                  <a:lnTo>
                    <a:pt x="3052" y="126"/>
                  </a:lnTo>
                  <a:lnTo>
                    <a:pt x="3070" y="123"/>
                  </a:lnTo>
                  <a:lnTo>
                    <a:pt x="3087" y="122"/>
                  </a:lnTo>
                  <a:lnTo>
                    <a:pt x="3106" y="120"/>
                  </a:lnTo>
                  <a:lnTo>
                    <a:pt x="3127" y="122"/>
                  </a:lnTo>
                  <a:lnTo>
                    <a:pt x="3147" y="125"/>
                  </a:lnTo>
                  <a:lnTo>
                    <a:pt x="3166" y="127"/>
                  </a:lnTo>
                  <a:lnTo>
                    <a:pt x="3183" y="132"/>
                  </a:lnTo>
                  <a:lnTo>
                    <a:pt x="3199" y="139"/>
                  </a:lnTo>
                  <a:lnTo>
                    <a:pt x="3215" y="146"/>
                  </a:lnTo>
                  <a:lnTo>
                    <a:pt x="3230" y="155"/>
                  </a:lnTo>
                  <a:lnTo>
                    <a:pt x="3244" y="163"/>
                  </a:lnTo>
                  <a:lnTo>
                    <a:pt x="3257" y="173"/>
                  </a:lnTo>
                  <a:lnTo>
                    <a:pt x="3268" y="185"/>
                  </a:lnTo>
                  <a:lnTo>
                    <a:pt x="3280" y="196"/>
                  </a:lnTo>
                  <a:lnTo>
                    <a:pt x="3290" y="209"/>
                  </a:lnTo>
                  <a:lnTo>
                    <a:pt x="3299" y="224"/>
                  </a:lnTo>
                  <a:lnTo>
                    <a:pt x="3307" y="237"/>
                  </a:lnTo>
                  <a:lnTo>
                    <a:pt x="3314" y="252"/>
                  </a:lnTo>
                  <a:lnTo>
                    <a:pt x="3322" y="267"/>
                  </a:lnTo>
                  <a:lnTo>
                    <a:pt x="3427" y="206"/>
                  </a:lnTo>
                  <a:lnTo>
                    <a:pt x="3417" y="183"/>
                  </a:lnTo>
                  <a:lnTo>
                    <a:pt x="3404" y="163"/>
                  </a:lnTo>
                  <a:lnTo>
                    <a:pt x="3391" y="143"/>
                  </a:lnTo>
                  <a:lnTo>
                    <a:pt x="3376" y="123"/>
                  </a:lnTo>
                  <a:lnTo>
                    <a:pt x="3361" y="106"/>
                  </a:lnTo>
                  <a:lnTo>
                    <a:pt x="3343" y="89"/>
                  </a:lnTo>
                  <a:lnTo>
                    <a:pt x="3325" y="73"/>
                  </a:lnTo>
                  <a:lnTo>
                    <a:pt x="3304" y="59"/>
                  </a:lnTo>
                  <a:lnTo>
                    <a:pt x="3284" y="46"/>
                  </a:lnTo>
                  <a:lnTo>
                    <a:pt x="3261" y="34"/>
                  </a:lnTo>
                  <a:lnTo>
                    <a:pt x="3238" y="24"/>
                  </a:lnTo>
                  <a:lnTo>
                    <a:pt x="3214" y="15"/>
                  </a:lnTo>
                  <a:lnTo>
                    <a:pt x="3189" y="8"/>
                  </a:lnTo>
                  <a:lnTo>
                    <a:pt x="3162" y="4"/>
                  </a:lnTo>
                  <a:lnTo>
                    <a:pt x="3134" y="1"/>
                  </a:lnTo>
                  <a:lnTo>
                    <a:pt x="3106" y="0"/>
                  </a:lnTo>
                  <a:lnTo>
                    <a:pt x="3077" y="1"/>
                  </a:lnTo>
                  <a:lnTo>
                    <a:pt x="3048" y="4"/>
                  </a:lnTo>
                  <a:lnTo>
                    <a:pt x="3019" y="10"/>
                  </a:lnTo>
                  <a:lnTo>
                    <a:pt x="2992" y="17"/>
                  </a:lnTo>
                  <a:lnTo>
                    <a:pt x="2966" y="27"/>
                  </a:lnTo>
                  <a:lnTo>
                    <a:pt x="2942" y="40"/>
                  </a:lnTo>
                  <a:lnTo>
                    <a:pt x="2918" y="53"/>
                  </a:lnTo>
                  <a:lnTo>
                    <a:pt x="2897" y="70"/>
                  </a:lnTo>
                  <a:lnTo>
                    <a:pt x="2878" y="87"/>
                  </a:lnTo>
                  <a:lnTo>
                    <a:pt x="2861" y="107"/>
                  </a:lnTo>
                  <a:lnTo>
                    <a:pt x="2852" y="119"/>
                  </a:lnTo>
                  <a:lnTo>
                    <a:pt x="2845" y="129"/>
                  </a:lnTo>
                  <a:lnTo>
                    <a:pt x="2838" y="142"/>
                  </a:lnTo>
                  <a:lnTo>
                    <a:pt x="2832" y="153"/>
                  </a:lnTo>
                  <a:lnTo>
                    <a:pt x="2826" y="166"/>
                  </a:lnTo>
                  <a:lnTo>
                    <a:pt x="2822" y="179"/>
                  </a:lnTo>
                  <a:lnTo>
                    <a:pt x="2818" y="192"/>
                  </a:lnTo>
                  <a:lnTo>
                    <a:pt x="2815" y="206"/>
                  </a:lnTo>
                  <a:lnTo>
                    <a:pt x="2812" y="221"/>
                  </a:lnTo>
                  <a:lnTo>
                    <a:pt x="2809" y="235"/>
                  </a:lnTo>
                  <a:lnTo>
                    <a:pt x="2809" y="251"/>
                  </a:lnTo>
                  <a:lnTo>
                    <a:pt x="2808" y="267"/>
                  </a:lnTo>
                  <a:lnTo>
                    <a:pt x="2809" y="283"/>
                  </a:lnTo>
                  <a:lnTo>
                    <a:pt x="2809" y="298"/>
                  </a:lnTo>
                  <a:lnTo>
                    <a:pt x="2812" y="313"/>
                  </a:lnTo>
                  <a:lnTo>
                    <a:pt x="2815" y="327"/>
                  </a:lnTo>
                  <a:lnTo>
                    <a:pt x="2818" y="340"/>
                  </a:lnTo>
                  <a:lnTo>
                    <a:pt x="2822" y="353"/>
                  </a:lnTo>
                  <a:lnTo>
                    <a:pt x="2828" y="364"/>
                  </a:lnTo>
                  <a:lnTo>
                    <a:pt x="2834" y="376"/>
                  </a:lnTo>
                  <a:lnTo>
                    <a:pt x="2839" y="387"/>
                  </a:lnTo>
                  <a:lnTo>
                    <a:pt x="2846" y="397"/>
                  </a:lnTo>
                  <a:lnTo>
                    <a:pt x="2854" y="407"/>
                  </a:lnTo>
                  <a:lnTo>
                    <a:pt x="2862" y="418"/>
                  </a:lnTo>
                  <a:lnTo>
                    <a:pt x="2880" y="435"/>
                  </a:lnTo>
                  <a:lnTo>
                    <a:pt x="2900" y="451"/>
                  </a:lnTo>
                  <a:lnTo>
                    <a:pt x="2921" y="465"/>
                  </a:lnTo>
                  <a:lnTo>
                    <a:pt x="2944" y="478"/>
                  </a:lnTo>
                  <a:lnTo>
                    <a:pt x="2969" y="489"/>
                  </a:lnTo>
                  <a:lnTo>
                    <a:pt x="2995" y="499"/>
                  </a:lnTo>
                  <a:lnTo>
                    <a:pt x="3050" y="519"/>
                  </a:lnTo>
                  <a:lnTo>
                    <a:pt x="3106" y="538"/>
                  </a:lnTo>
                  <a:lnTo>
                    <a:pt x="3156" y="554"/>
                  </a:lnTo>
                  <a:lnTo>
                    <a:pt x="3199" y="570"/>
                  </a:lnTo>
                  <a:lnTo>
                    <a:pt x="3219" y="578"/>
                  </a:lnTo>
                  <a:lnTo>
                    <a:pt x="3238" y="586"/>
                  </a:lnTo>
                  <a:lnTo>
                    <a:pt x="3254" y="596"/>
                  </a:lnTo>
                  <a:lnTo>
                    <a:pt x="3270" y="604"/>
                  </a:lnTo>
                  <a:lnTo>
                    <a:pt x="3283" y="614"/>
                  </a:lnTo>
                  <a:lnTo>
                    <a:pt x="3296" y="624"/>
                  </a:lnTo>
                  <a:lnTo>
                    <a:pt x="3306" y="636"/>
                  </a:lnTo>
                  <a:lnTo>
                    <a:pt x="3314" y="649"/>
                  </a:lnTo>
                  <a:lnTo>
                    <a:pt x="3320" y="663"/>
                  </a:lnTo>
                  <a:lnTo>
                    <a:pt x="3326" y="677"/>
                  </a:lnTo>
                  <a:lnTo>
                    <a:pt x="3329" y="693"/>
                  </a:lnTo>
                  <a:lnTo>
                    <a:pt x="3329" y="710"/>
                  </a:lnTo>
                  <a:lnTo>
                    <a:pt x="3329" y="726"/>
                  </a:lnTo>
                  <a:lnTo>
                    <a:pt x="3326" y="742"/>
                  </a:lnTo>
                  <a:lnTo>
                    <a:pt x="3322" y="756"/>
                  </a:lnTo>
                  <a:lnTo>
                    <a:pt x="3317" y="769"/>
                  </a:lnTo>
                  <a:lnTo>
                    <a:pt x="3310" y="782"/>
                  </a:lnTo>
                  <a:lnTo>
                    <a:pt x="3302" y="794"/>
                  </a:lnTo>
                  <a:lnTo>
                    <a:pt x="3291" y="805"/>
                  </a:lnTo>
                  <a:lnTo>
                    <a:pt x="3280" y="815"/>
                  </a:lnTo>
                  <a:lnTo>
                    <a:pt x="3266" y="825"/>
                  </a:lnTo>
                  <a:lnTo>
                    <a:pt x="3251" y="833"/>
                  </a:lnTo>
                  <a:lnTo>
                    <a:pt x="3235" y="840"/>
                  </a:lnTo>
                  <a:lnTo>
                    <a:pt x="3217" y="845"/>
                  </a:lnTo>
                  <a:lnTo>
                    <a:pt x="3196" y="851"/>
                  </a:lnTo>
                  <a:lnTo>
                    <a:pt x="3176" y="854"/>
                  </a:lnTo>
                  <a:lnTo>
                    <a:pt x="3153" y="856"/>
                  </a:lnTo>
                  <a:lnTo>
                    <a:pt x="3129" y="857"/>
                  </a:lnTo>
                  <a:lnTo>
                    <a:pt x="3104" y="856"/>
                  </a:lnTo>
                  <a:lnTo>
                    <a:pt x="3080" y="854"/>
                  </a:lnTo>
                  <a:lnTo>
                    <a:pt x="3057" y="850"/>
                  </a:lnTo>
                  <a:lnTo>
                    <a:pt x="3035" y="844"/>
                  </a:lnTo>
                  <a:lnTo>
                    <a:pt x="3016" y="838"/>
                  </a:lnTo>
                  <a:lnTo>
                    <a:pt x="2998" y="830"/>
                  </a:lnTo>
                  <a:lnTo>
                    <a:pt x="2979" y="821"/>
                  </a:lnTo>
                  <a:lnTo>
                    <a:pt x="2963" y="810"/>
                  </a:lnTo>
                  <a:lnTo>
                    <a:pt x="2949" y="798"/>
                  </a:lnTo>
                  <a:lnTo>
                    <a:pt x="2934" y="785"/>
                  </a:lnTo>
                  <a:lnTo>
                    <a:pt x="2921" y="771"/>
                  </a:lnTo>
                  <a:lnTo>
                    <a:pt x="2910" y="756"/>
                  </a:lnTo>
                  <a:lnTo>
                    <a:pt x="2900" y="739"/>
                  </a:lnTo>
                  <a:lnTo>
                    <a:pt x="2891" y="722"/>
                  </a:lnTo>
                  <a:lnTo>
                    <a:pt x="2882" y="705"/>
                  </a:lnTo>
                  <a:lnTo>
                    <a:pt x="2875" y="685"/>
                  </a:lnTo>
                  <a:lnTo>
                    <a:pt x="2767" y="748"/>
                  </a:lnTo>
                  <a:lnTo>
                    <a:pt x="2777" y="774"/>
                  </a:lnTo>
                  <a:lnTo>
                    <a:pt x="2790" y="798"/>
                  </a:lnTo>
                  <a:lnTo>
                    <a:pt x="2803" y="821"/>
                  </a:lnTo>
                  <a:lnTo>
                    <a:pt x="2819" y="844"/>
                  </a:lnTo>
                  <a:lnTo>
                    <a:pt x="2836" y="864"/>
                  </a:lnTo>
                  <a:lnTo>
                    <a:pt x="2855" y="883"/>
                  </a:lnTo>
                  <a:lnTo>
                    <a:pt x="2875" y="900"/>
                  </a:lnTo>
                  <a:lnTo>
                    <a:pt x="2898" y="917"/>
                  </a:lnTo>
                  <a:lnTo>
                    <a:pt x="2921" y="932"/>
                  </a:lnTo>
                  <a:lnTo>
                    <a:pt x="2947" y="943"/>
                  </a:lnTo>
                  <a:lnTo>
                    <a:pt x="2973" y="955"/>
                  </a:lnTo>
                  <a:lnTo>
                    <a:pt x="3001" y="963"/>
                  </a:lnTo>
                  <a:lnTo>
                    <a:pt x="3031" y="970"/>
                  </a:lnTo>
                  <a:lnTo>
                    <a:pt x="3061" y="976"/>
                  </a:lnTo>
                  <a:lnTo>
                    <a:pt x="3093" y="979"/>
                  </a:lnTo>
                  <a:lnTo>
                    <a:pt x="3126" y="979"/>
                  </a:lnTo>
                  <a:close/>
                  <a:moveTo>
                    <a:pt x="2139" y="17"/>
                  </a:moveTo>
                  <a:lnTo>
                    <a:pt x="2139" y="17"/>
                  </a:lnTo>
                  <a:lnTo>
                    <a:pt x="2139" y="722"/>
                  </a:lnTo>
                  <a:lnTo>
                    <a:pt x="1651" y="17"/>
                  </a:lnTo>
                  <a:lnTo>
                    <a:pt x="1550" y="17"/>
                  </a:lnTo>
                  <a:lnTo>
                    <a:pt x="1550" y="962"/>
                  </a:lnTo>
                  <a:lnTo>
                    <a:pt x="1676" y="962"/>
                  </a:lnTo>
                  <a:lnTo>
                    <a:pt x="1676" y="257"/>
                  </a:lnTo>
                  <a:lnTo>
                    <a:pt x="2164" y="962"/>
                  </a:lnTo>
                  <a:lnTo>
                    <a:pt x="2265" y="962"/>
                  </a:lnTo>
                  <a:lnTo>
                    <a:pt x="2265" y="17"/>
                  </a:lnTo>
                  <a:lnTo>
                    <a:pt x="2139" y="17"/>
                  </a:lnTo>
                  <a:close/>
                  <a:moveTo>
                    <a:pt x="946" y="843"/>
                  </a:moveTo>
                  <a:lnTo>
                    <a:pt x="946" y="843"/>
                  </a:lnTo>
                  <a:lnTo>
                    <a:pt x="946" y="544"/>
                  </a:lnTo>
                  <a:lnTo>
                    <a:pt x="1345" y="544"/>
                  </a:lnTo>
                  <a:lnTo>
                    <a:pt x="1345" y="426"/>
                  </a:lnTo>
                  <a:lnTo>
                    <a:pt x="946" y="426"/>
                  </a:lnTo>
                  <a:lnTo>
                    <a:pt x="946" y="136"/>
                  </a:lnTo>
                  <a:lnTo>
                    <a:pt x="1378" y="136"/>
                  </a:lnTo>
                  <a:lnTo>
                    <a:pt x="1378" y="17"/>
                  </a:lnTo>
                  <a:lnTo>
                    <a:pt x="819" y="17"/>
                  </a:lnTo>
                  <a:lnTo>
                    <a:pt x="819" y="962"/>
                  </a:lnTo>
                  <a:lnTo>
                    <a:pt x="1385" y="962"/>
                  </a:lnTo>
                  <a:lnTo>
                    <a:pt x="1385" y="843"/>
                  </a:lnTo>
                  <a:lnTo>
                    <a:pt x="946" y="843"/>
                  </a:lnTo>
                  <a:close/>
                  <a:moveTo>
                    <a:pt x="296" y="979"/>
                  </a:moveTo>
                  <a:lnTo>
                    <a:pt x="296" y="979"/>
                  </a:lnTo>
                  <a:lnTo>
                    <a:pt x="329" y="979"/>
                  </a:lnTo>
                  <a:lnTo>
                    <a:pt x="360" y="975"/>
                  </a:lnTo>
                  <a:lnTo>
                    <a:pt x="390" y="969"/>
                  </a:lnTo>
                  <a:lnTo>
                    <a:pt x="420" y="962"/>
                  </a:lnTo>
                  <a:lnTo>
                    <a:pt x="447" y="952"/>
                  </a:lnTo>
                  <a:lnTo>
                    <a:pt x="473" y="939"/>
                  </a:lnTo>
                  <a:lnTo>
                    <a:pt x="486" y="932"/>
                  </a:lnTo>
                  <a:lnTo>
                    <a:pt x="498" y="923"/>
                  </a:lnTo>
                  <a:lnTo>
                    <a:pt x="509" y="916"/>
                  </a:lnTo>
                  <a:lnTo>
                    <a:pt x="521" y="906"/>
                  </a:lnTo>
                  <a:lnTo>
                    <a:pt x="531" y="897"/>
                  </a:lnTo>
                  <a:lnTo>
                    <a:pt x="541" y="887"/>
                  </a:lnTo>
                  <a:lnTo>
                    <a:pt x="551" y="876"/>
                  </a:lnTo>
                  <a:lnTo>
                    <a:pt x="560" y="866"/>
                  </a:lnTo>
                  <a:lnTo>
                    <a:pt x="568" y="853"/>
                  </a:lnTo>
                  <a:lnTo>
                    <a:pt x="576" y="841"/>
                  </a:lnTo>
                  <a:lnTo>
                    <a:pt x="583" y="828"/>
                  </a:lnTo>
                  <a:lnTo>
                    <a:pt x="590" y="814"/>
                  </a:lnTo>
                  <a:lnTo>
                    <a:pt x="596" y="801"/>
                  </a:lnTo>
                  <a:lnTo>
                    <a:pt x="600" y="785"/>
                  </a:lnTo>
                  <a:lnTo>
                    <a:pt x="604" y="771"/>
                  </a:lnTo>
                  <a:lnTo>
                    <a:pt x="609" y="755"/>
                  </a:lnTo>
                  <a:lnTo>
                    <a:pt x="612" y="738"/>
                  </a:lnTo>
                  <a:lnTo>
                    <a:pt x="613" y="721"/>
                  </a:lnTo>
                  <a:lnTo>
                    <a:pt x="614" y="703"/>
                  </a:lnTo>
                  <a:lnTo>
                    <a:pt x="614" y="685"/>
                  </a:lnTo>
                  <a:lnTo>
                    <a:pt x="614" y="17"/>
                  </a:lnTo>
                  <a:lnTo>
                    <a:pt x="491" y="17"/>
                  </a:lnTo>
                  <a:lnTo>
                    <a:pt x="491" y="685"/>
                  </a:lnTo>
                  <a:lnTo>
                    <a:pt x="489" y="706"/>
                  </a:lnTo>
                  <a:lnTo>
                    <a:pt x="486" y="726"/>
                  </a:lnTo>
                  <a:lnTo>
                    <a:pt x="482" y="745"/>
                  </a:lnTo>
                  <a:lnTo>
                    <a:pt x="476" y="762"/>
                  </a:lnTo>
                  <a:lnTo>
                    <a:pt x="469" y="777"/>
                  </a:lnTo>
                  <a:lnTo>
                    <a:pt x="460" y="791"/>
                  </a:lnTo>
                  <a:lnTo>
                    <a:pt x="449" y="804"/>
                  </a:lnTo>
                  <a:lnTo>
                    <a:pt x="437" y="815"/>
                  </a:lnTo>
                  <a:lnTo>
                    <a:pt x="424" y="825"/>
                  </a:lnTo>
                  <a:lnTo>
                    <a:pt x="409" y="834"/>
                  </a:lnTo>
                  <a:lnTo>
                    <a:pt x="393" y="841"/>
                  </a:lnTo>
                  <a:lnTo>
                    <a:pt x="375" y="847"/>
                  </a:lnTo>
                  <a:lnTo>
                    <a:pt x="358" y="851"/>
                  </a:lnTo>
                  <a:lnTo>
                    <a:pt x="338" y="854"/>
                  </a:lnTo>
                  <a:lnTo>
                    <a:pt x="318" y="856"/>
                  </a:lnTo>
                  <a:lnTo>
                    <a:pt x="296" y="857"/>
                  </a:lnTo>
                  <a:lnTo>
                    <a:pt x="280" y="857"/>
                  </a:lnTo>
                  <a:lnTo>
                    <a:pt x="263" y="856"/>
                  </a:lnTo>
                  <a:lnTo>
                    <a:pt x="247" y="853"/>
                  </a:lnTo>
                  <a:lnTo>
                    <a:pt x="233" y="851"/>
                  </a:lnTo>
                  <a:lnTo>
                    <a:pt x="218" y="847"/>
                  </a:lnTo>
                  <a:lnTo>
                    <a:pt x="204" y="843"/>
                  </a:lnTo>
                  <a:lnTo>
                    <a:pt x="191" y="837"/>
                  </a:lnTo>
                  <a:lnTo>
                    <a:pt x="178" y="831"/>
                  </a:lnTo>
                  <a:lnTo>
                    <a:pt x="167" y="824"/>
                  </a:lnTo>
                  <a:lnTo>
                    <a:pt x="157" y="817"/>
                  </a:lnTo>
                  <a:lnTo>
                    <a:pt x="146" y="807"/>
                  </a:lnTo>
                  <a:lnTo>
                    <a:pt x="136" y="798"/>
                  </a:lnTo>
                  <a:lnTo>
                    <a:pt x="128" y="787"/>
                  </a:lnTo>
                  <a:lnTo>
                    <a:pt x="121" y="775"/>
                  </a:lnTo>
                  <a:lnTo>
                    <a:pt x="113" y="762"/>
                  </a:lnTo>
                  <a:lnTo>
                    <a:pt x="108" y="749"/>
                  </a:lnTo>
                  <a:lnTo>
                    <a:pt x="0" y="811"/>
                  </a:lnTo>
                  <a:lnTo>
                    <a:pt x="10" y="831"/>
                  </a:lnTo>
                  <a:lnTo>
                    <a:pt x="21" y="850"/>
                  </a:lnTo>
                  <a:lnTo>
                    <a:pt x="34" y="868"/>
                  </a:lnTo>
                  <a:lnTo>
                    <a:pt x="49" y="884"/>
                  </a:lnTo>
                  <a:lnTo>
                    <a:pt x="64" y="900"/>
                  </a:lnTo>
                  <a:lnTo>
                    <a:pt x="80" y="913"/>
                  </a:lnTo>
                  <a:lnTo>
                    <a:pt x="99" y="926"/>
                  </a:lnTo>
                  <a:lnTo>
                    <a:pt x="118" y="937"/>
                  </a:lnTo>
                  <a:lnTo>
                    <a:pt x="136" y="947"/>
                  </a:lnTo>
                  <a:lnTo>
                    <a:pt x="157" y="956"/>
                  </a:lnTo>
                  <a:lnTo>
                    <a:pt x="178" y="963"/>
                  </a:lnTo>
                  <a:lnTo>
                    <a:pt x="201" y="969"/>
                  </a:lnTo>
                  <a:lnTo>
                    <a:pt x="224" y="973"/>
                  </a:lnTo>
                  <a:lnTo>
                    <a:pt x="247" y="978"/>
                  </a:lnTo>
                  <a:lnTo>
                    <a:pt x="272" y="979"/>
                  </a:lnTo>
                  <a:lnTo>
                    <a:pt x="296" y="9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8" name="Freeform 62">
              <a:extLst>
                <a:ext uri="{FF2B5EF4-FFF2-40B4-BE49-F238E27FC236}">
                  <a16:creationId xmlns:a16="http://schemas.microsoft.com/office/drawing/2014/main" id="{CC9C01EB-36B8-6440-F52D-1D9876E02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1338" y="3203575"/>
              <a:ext cx="1670050" cy="522288"/>
            </a:xfrm>
            <a:custGeom>
              <a:avLst/>
              <a:gdLst>
                <a:gd name="T0" fmla="*/ 3115 w 3156"/>
                <a:gd name="T1" fmla="*/ 376 h 985"/>
                <a:gd name="T2" fmla="*/ 3149 w 3156"/>
                <a:gd name="T3" fmla="*/ 20 h 985"/>
                <a:gd name="T4" fmla="*/ 3156 w 3156"/>
                <a:gd name="T5" fmla="*/ 738 h 985"/>
                <a:gd name="T6" fmla="*/ 2118 w 3156"/>
                <a:gd name="T7" fmla="*/ 20 h 985"/>
                <a:gd name="T8" fmla="*/ 2445 w 3156"/>
                <a:gd name="T9" fmla="*/ 731 h 985"/>
                <a:gd name="T10" fmla="*/ 1227 w 3156"/>
                <a:gd name="T11" fmla="*/ 748 h 985"/>
                <a:gd name="T12" fmla="*/ 1130 w 3156"/>
                <a:gd name="T13" fmla="*/ 719 h 985"/>
                <a:gd name="T14" fmla="*/ 1055 w 3156"/>
                <a:gd name="T15" fmla="*/ 659 h 985"/>
                <a:gd name="T16" fmla="*/ 1009 w 3156"/>
                <a:gd name="T17" fmla="*/ 573 h 985"/>
                <a:gd name="T18" fmla="*/ 999 w 3156"/>
                <a:gd name="T19" fmla="*/ 465 h 985"/>
                <a:gd name="T20" fmla="*/ 1028 w 3156"/>
                <a:gd name="T21" fmla="*/ 366 h 985"/>
                <a:gd name="T22" fmla="*/ 1090 w 3156"/>
                <a:gd name="T23" fmla="*/ 291 h 985"/>
                <a:gd name="T24" fmla="*/ 1176 w 3156"/>
                <a:gd name="T25" fmla="*/ 247 h 985"/>
                <a:gd name="T26" fmla="*/ 1280 w 3156"/>
                <a:gd name="T27" fmla="*/ 237 h 985"/>
                <a:gd name="T28" fmla="*/ 1378 w 3156"/>
                <a:gd name="T29" fmla="*/ 266 h 985"/>
                <a:gd name="T30" fmla="*/ 1453 w 3156"/>
                <a:gd name="T31" fmla="*/ 326 h 985"/>
                <a:gd name="T32" fmla="*/ 1499 w 3156"/>
                <a:gd name="T33" fmla="*/ 412 h 985"/>
                <a:gd name="T34" fmla="*/ 1509 w 3156"/>
                <a:gd name="T35" fmla="*/ 520 h 985"/>
                <a:gd name="T36" fmla="*/ 1479 w 3156"/>
                <a:gd name="T37" fmla="*/ 619 h 985"/>
                <a:gd name="T38" fmla="*/ 1418 w 3156"/>
                <a:gd name="T39" fmla="*/ 694 h 985"/>
                <a:gd name="T40" fmla="*/ 1330 w 3156"/>
                <a:gd name="T41" fmla="*/ 738 h 985"/>
                <a:gd name="T42" fmla="*/ 1254 w 3156"/>
                <a:gd name="T43" fmla="*/ 985 h 985"/>
                <a:gd name="T44" fmla="*/ 1330 w 3156"/>
                <a:gd name="T45" fmla="*/ 979 h 985"/>
                <a:gd name="T46" fmla="*/ 1425 w 3156"/>
                <a:gd name="T47" fmla="*/ 956 h 985"/>
                <a:gd name="T48" fmla="*/ 1512 w 3156"/>
                <a:gd name="T49" fmla="*/ 915 h 985"/>
                <a:gd name="T50" fmla="*/ 1588 w 3156"/>
                <a:gd name="T51" fmla="*/ 859 h 985"/>
                <a:gd name="T52" fmla="*/ 1653 w 3156"/>
                <a:gd name="T53" fmla="*/ 790 h 985"/>
                <a:gd name="T54" fmla="*/ 1702 w 3156"/>
                <a:gd name="T55" fmla="*/ 709 h 985"/>
                <a:gd name="T56" fmla="*/ 1735 w 3156"/>
                <a:gd name="T57" fmla="*/ 617 h 985"/>
                <a:gd name="T58" fmla="*/ 1749 w 3156"/>
                <a:gd name="T59" fmla="*/ 518 h 985"/>
                <a:gd name="T60" fmla="*/ 1745 w 3156"/>
                <a:gd name="T61" fmla="*/ 416 h 985"/>
                <a:gd name="T62" fmla="*/ 1721 w 3156"/>
                <a:gd name="T63" fmla="*/ 320 h 985"/>
                <a:gd name="T64" fmla="*/ 1679 w 3156"/>
                <a:gd name="T65" fmla="*/ 234 h 985"/>
                <a:gd name="T66" fmla="*/ 1623 w 3156"/>
                <a:gd name="T67" fmla="*/ 159 h 985"/>
                <a:gd name="T68" fmla="*/ 1552 w 3156"/>
                <a:gd name="T69" fmla="*/ 96 h 985"/>
                <a:gd name="T70" fmla="*/ 1470 w 3156"/>
                <a:gd name="T71" fmla="*/ 47 h 985"/>
                <a:gd name="T72" fmla="*/ 1378 w 3156"/>
                <a:gd name="T73" fmla="*/ 14 h 985"/>
                <a:gd name="T74" fmla="*/ 1280 w 3156"/>
                <a:gd name="T75" fmla="*/ 0 h 985"/>
                <a:gd name="T76" fmla="*/ 1178 w 3156"/>
                <a:gd name="T77" fmla="*/ 6 h 985"/>
                <a:gd name="T78" fmla="*/ 1083 w 3156"/>
                <a:gd name="T79" fmla="*/ 29 h 985"/>
                <a:gd name="T80" fmla="*/ 995 w 3156"/>
                <a:gd name="T81" fmla="*/ 70 h 985"/>
                <a:gd name="T82" fmla="*/ 919 w 3156"/>
                <a:gd name="T83" fmla="*/ 126 h 985"/>
                <a:gd name="T84" fmla="*/ 855 w 3156"/>
                <a:gd name="T85" fmla="*/ 195 h 985"/>
                <a:gd name="T86" fmla="*/ 806 w 3156"/>
                <a:gd name="T87" fmla="*/ 276 h 985"/>
                <a:gd name="T88" fmla="*/ 772 w 3156"/>
                <a:gd name="T89" fmla="*/ 368 h 985"/>
                <a:gd name="T90" fmla="*/ 757 w 3156"/>
                <a:gd name="T91" fmla="*/ 467 h 985"/>
                <a:gd name="T92" fmla="*/ 763 w 3156"/>
                <a:gd name="T93" fmla="*/ 569 h 985"/>
                <a:gd name="T94" fmla="*/ 786 w 3156"/>
                <a:gd name="T95" fmla="*/ 665 h 985"/>
                <a:gd name="T96" fmla="*/ 828 w 3156"/>
                <a:gd name="T97" fmla="*/ 751 h 985"/>
                <a:gd name="T98" fmla="*/ 885 w 3156"/>
                <a:gd name="T99" fmla="*/ 826 h 985"/>
                <a:gd name="T100" fmla="*/ 956 w 3156"/>
                <a:gd name="T101" fmla="*/ 889 h 985"/>
                <a:gd name="T102" fmla="*/ 1038 w 3156"/>
                <a:gd name="T103" fmla="*/ 938 h 985"/>
                <a:gd name="T104" fmla="*/ 1129 w 3156"/>
                <a:gd name="T105" fmla="*/ 971 h 985"/>
                <a:gd name="T106" fmla="*/ 1228 w 3156"/>
                <a:gd name="T107" fmla="*/ 985 h 985"/>
                <a:gd name="T108" fmla="*/ 471 w 3156"/>
                <a:gd name="T109" fmla="*/ 480 h 985"/>
                <a:gd name="T110" fmla="*/ 242 w 3156"/>
                <a:gd name="T111" fmla="*/ 20 h 985"/>
                <a:gd name="T112" fmla="*/ 242 w 3156"/>
                <a:gd name="T113" fmla="*/ 543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56" h="985">
                  <a:moveTo>
                    <a:pt x="2789" y="738"/>
                  </a:moveTo>
                  <a:lnTo>
                    <a:pt x="2789" y="599"/>
                  </a:lnTo>
                  <a:lnTo>
                    <a:pt x="3115" y="599"/>
                  </a:lnTo>
                  <a:lnTo>
                    <a:pt x="3115" y="376"/>
                  </a:lnTo>
                  <a:lnTo>
                    <a:pt x="2789" y="376"/>
                  </a:lnTo>
                  <a:lnTo>
                    <a:pt x="2789" y="246"/>
                  </a:lnTo>
                  <a:lnTo>
                    <a:pt x="3149" y="246"/>
                  </a:lnTo>
                  <a:lnTo>
                    <a:pt x="3149" y="20"/>
                  </a:lnTo>
                  <a:lnTo>
                    <a:pt x="2547" y="20"/>
                  </a:lnTo>
                  <a:lnTo>
                    <a:pt x="2547" y="965"/>
                  </a:lnTo>
                  <a:lnTo>
                    <a:pt x="3156" y="965"/>
                  </a:lnTo>
                  <a:lnTo>
                    <a:pt x="3156" y="738"/>
                  </a:lnTo>
                  <a:lnTo>
                    <a:pt x="2789" y="738"/>
                  </a:lnTo>
                  <a:close/>
                  <a:moveTo>
                    <a:pt x="2118" y="731"/>
                  </a:moveTo>
                  <a:lnTo>
                    <a:pt x="2118" y="731"/>
                  </a:lnTo>
                  <a:lnTo>
                    <a:pt x="2118" y="20"/>
                  </a:lnTo>
                  <a:lnTo>
                    <a:pt x="1876" y="20"/>
                  </a:lnTo>
                  <a:lnTo>
                    <a:pt x="1876" y="965"/>
                  </a:lnTo>
                  <a:lnTo>
                    <a:pt x="2445" y="965"/>
                  </a:lnTo>
                  <a:lnTo>
                    <a:pt x="2445" y="731"/>
                  </a:lnTo>
                  <a:lnTo>
                    <a:pt x="2118" y="731"/>
                  </a:lnTo>
                  <a:close/>
                  <a:moveTo>
                    <a:pt x="1254" y="750"/>
                  </a:moveTo>
                  <a:lnTo>
                    <a:pt x="1254" y="750"/>
                  </a:lnTo>
                  <a:lnTo>
                    <a:pt x="1227" y="748"/>
                  </a:lnTo>
                  <a:lnTo>
                    <a:pt x="1201" y="744"/>
                  </a:lnTo>
                  <a:lnTo>
                    <a:pt x="1176" y="738"/>
                  </a:lnTo>
                  <a:lnTo>
                    <a:pt x="1153" y="731"/>
                  </a:lnTo>
                  <a:lnTo>
                    <a:pt x="1130" y="719"/>
                  </a:lnTo>
                  <a:lnTo>
                    <a:pt x="1109" y="708"/>
                  </a:lnTo>
                  <a:lnTo>
                    <a:pt x="1090" y="694"/>
                  </a:lnTo>
                  <a:lnTo>
                    <a:pt x="1071" y="678"/>
                  </a:lnTo>
                  <a:lnTo>
                    <a:pt x="1055" y="659"/>
                  </a:lnTo>
                  <a:lnTo>
                    <a:pt x="1041" y="640"/>
                  </a:lnTo>
                  <a:lnTo>
                    <a:pt x="1028" y="619"/>
                  </a:lnTo>
                  <a:lnTo>
                    <a:pt x="1018" y="596"/>
                  </a:lnTo>
                  <a:lnTo>
                    <a:pt x="1009" y="573"/>
                  </a:lnTo>
                  <a:lnTo>
                    <a:pt x="1004" y="547"/>
                  </a:lnTo>
                  <a:lnTo>
                    <a:pt x="999" y="520"/>
                  </a:lnTo>
                  <a:lnTo>
                    <a:pt x="998" y="492"/>
                  </a:lnTo>
                  <a:lnTo>
                    <a:pt x="999" y="465"/>
                  </a:lnTo>
                  <a:lnTo>
                    <a:pt x="1004" y="438"/>
                  </a:lnTo>
                  <a:lnTo>
                    <a:pt x="1009" y="412"/>
                  </a:lnTo>
                  <a:lnTo>
                    <a:pt x="1018" y="389"/>
                  </a:lnTo>
                  <a:lnTo>
                    <a:pt x="1028" y="366"/>
                  </a:lnTo>
                  <a:lnTo>
                    <a:pt x="1041" y="345"/>
                  </a:lnTo>
                  <a:lnTo>
                    <a:pt x="1055" y="326"/>
                  </a:lnTo>
                  <a:lnTo>
                    <a:pt x="1071" y="307"/>
                  </a:lnTo>
                  <a:lnTo>
                    <a:pt x="1090" y="291"/>
                  </a:lnTo>
                  <a:lnTo>
                    <a:pt x="1109" y="277"/>
                  </a:lnTo>
                  <a:lnTo>
                    <a:pt x="1130" y="266"/>
                  </a:lnTo>
                  <a:lnTo>
                    <a:pt x="1153" y="254"/>
                  </a:lnTo>
                  <a:lnTo>
                    <a:pt x="1176" y="247"/>
                  </a:lnTo>
                  <a:lnTo>
                    <a:pt x="1201" y="241"/>
                  </a:lnTo>
                  <a:lnTo>
                    <a:pt x="1227" y="237"/>
                  </a:lnTo>
                  <a:lnTo>
                    <a:pt x="1254" y="235"/>
                  </a:lnTo>
                  <a:lnTo>
                    <a:pt x="1280" y="237"/>
                  </a:lnTo>
                  <a:lnTo>
                    <a:pt x="1306" y="241"/>
                  </a:lnTo>
                  <a:lnTo>
                    <a:pt x="1330" y="247"/>
                  </a:lnTo>
                  <a:lnTo>
                    <a:pt x="1355" y="254"/>
                  </a:lnTo>
                  <a:lnTo>
                    <a:pt x="1378" y="266"/>
                  </a:lnTo>
                  <a:lnTo>
                    <a:pt x="1398" y="277"/>
                  </a:lnTo>
                  <a:lnTo>
                    <a:pt x="1418" y="291"/>
                  </a:lnTo>
                  <a:lnTo>
                    <a:pt x="1436" y="307"/>
                  </a:lnTo>
                  <a:lnTo>
                    <a:pt x="1453" y="326"/>
                  </a:lnTo>
                  <a:lnTo>
                    <a:pt x="1467" y="345"/>
                  </a:lnTo>
                  <a:lnTo>
                    <a:pt x="1479" y="366"/>
                  </a:lnTo>
                  <a:lnTo>
                    <a:pt x="1490" y="389"/>
                  </a:lnTo>
                  <a:lnTo>
                    <a:pt x="1499" y="412"/>
                  </a:lnTo>
                  <a:lnTo>
                    <a:pt x="1505" y="438"/>
                  </a:lnTo>
                  <a:lnTo>
                    <a:pt x="1509" y="465"/>
                  </a:lnTo>
                  <a:lnTo>
                    <a:pt x="1509" y="492"/>
                  </a:lnTo>
                  <a:lnTo>
                    <a:pt x="1509" y="520"/>
                  </a:lnTo>
                  <a:lnTo>
                    <a:pt x="1505" y="547"/>
                  </a:lnTo>
                  <a:lnTo>
                    <a:pt x="1499" y="573"/>
                  </a:lnTo>
                  <a:lnTo>
                    <a:pt x="1490" y="596"/>
                  </a:lnTo>
                  <a:lnTo>
                    <a:pt x="1479" y="619"/>
                  </a:lnTo>
                  <a:lnTo>
                    <a:pt x="1467" y="640"/>
                  </a:lnTo>
                  <a:lnTo>
                    <a:pt x="1453" y="659"/>
                  </a:lnTo>
                  <a:lnTo>
                    <a:pt x="1436" y="678"/>
                  </a:lnTo>
                  <a:lnTo>
                    <a:pt x="1418" y="694"/>
                  </a:lnTo>
                  <a:lnTo>
                    <a:pt x="1398" y="708"/>
                  </a:lnTo>
                  <a:lnTo>
                    <a:pt x="1378" y="719"/>
                  </a:lnTo>
                  <a:lnTo>
                    <a:pt x="1355" y="731"/>
                  </a:lnTo>
                  <a:lnTo>
                    <a:pt x="1330" y="738"/>
                  </a:lnTo>
                  <a:lnTo>
                    <a:pt x="1306" y="744"/>
                  </a:lnTo>
                  <a:lnTo>
                    <a:pt x="1280" y="748"/>
                  </a:lnTo>
                  <a:lnTo>
                    <a:pt x="1254" y="750"/>
                  </a:lnTo>
                  <a:close/>
                  <a:moveTo>
                    <a:pt x="1254" y="985"/>
                  </a:moveTo>
                  <a:lnTo>
                    <a:pt x="1254" y="985"/>
                  </a:lnTo>
                  <a:lnTo>
                    <a:pt x="1280" y="985"/>
                  </a:lnTo>
                  <a:lnTo>
                    <a:pt x="1305" y="982"/>
                  </a:lnTo>
                  <a:lnTo>
                    <a:pt x="1330" y="979"/>
                  </a:lnTo>
                  <a:lnTo>
                    <a:pt x="1355" y="975"/>
                  </a:lnTo>
                  <a:lnTo>
                    <a:pt x="1378" y="971"/>
                  </a:lnTo>
                  <a:lnTo>
                    <a:pt x="1402" y="964"/>
                  </a:lnTo>
                  <a:lnTo>
                    <a:pt x="1425" y="956"/>
                  </a:lnTo>
                  <a:lnTo>
                    <a:pt x="1449" y="948"/>
                  </a:lnTo>
                  <a:lnTo>
                    <a:pt x="1470" y="938"/>
                  </a:lnTo>
                  <a:lnTo>
                    <a:pt x="1492" y="928"/>
                  </a:lnTo>
                  <a:lnTo>
                    <a:pt x="1512" y="915"/>
                  </a:lnTo>
                  <a:lnTo>
                    <a:pt x="1532" y="903"/>
                  </a:lnTo>
                  <a:lnTo>
                    <a:pt x="1552" y="889"/>
                  </a:lnTo>
                  <a:lnTo>
                    <a:pt x="1571" y="874"/>
                  </a:lnTo>
                  <a:lnTo>
                    <a:pt x="1588" y="859"/>
                  </a:lnTo>
                  <a:lnTo>
                    <a:pt x="1605" y="843"/>
                  </a:lnTo>
                  <a:lnTo>
                    <a:pt x="1623" y="826"/>
                  </a:lnTo>
                  <a:lnTo>
                    <a:pt x="1637" y="808"/>
                  </a:lnTo>
                  <a:lnTo>
                    <a:pt x="1653" y="790"/>
                  </a:lnTo>
                  <a:lnTo>
                    <a:pt x="1666" y="771"/>
                  </a:lnTo>
                  <a:lnTo>
                    <a:pt x="1679" y="751"/>
                  </a:lnTo>
                  <a:lnTo>
                    <a:pt x="1690" y="729"/>
                  </a:lnTo>
                  <a:lnTo>
                    <a:pt x="1702" y="709"/>
                  </a:lnTo>
                  <a:lnTo>
                    <a:pt x="1712" y="686"/>
                  </a:lnTo>
                  <a:lnTo>
                    <a:pt x="1721" y="665"/>
                  </a:lnTo>
                  <a:lnTo>
                    <a:pt x="1728" y="642"/>
                  </a:lnTo>
                  <a:lnTo>
                    <a:pt x="1735" y="617"/>
                  </a:lnTo>
                  <a:lnTo>
                    <a:pt x="1741" y="593"/>
                  </a:lnTo>
                  <a:lnTo>
                    <a:pt x="1745" y="569"/>
                  </a:lnTo>
                  <a:lnTo>
                    <a:pt x="1748" y="544"/>
                  </a:lnTo>
                  <a:lnTo>
                    <a:pt x="1749" y="518"/>
                  </a:lnTo>
                  <a:lnTo>
                    <a:pt x="1751" y="492"/>
                  </a:lnTo>
                  <a:lnTo>
                    <a:pt x="1749" y="467"/>
                  </a:lnTo>
                  <a:lnTo>
                    <a:pt x="1748" y="441"/>
                  </a:lnTo>
                  <a:lnTo>
                    <a:pt x="1745" y="416"/>
                  </a:lnTo>
                  <a:lnTo>
                    <a:pt x="1741" y="392"/>
                  </a:lnTo>
                  <a:lnTo>
                    <a:pt x="1735" y="368"/>
                  </a:lnTo>
                  <a:lnTo>
                    <a:pt x="1728" y="343"/>
                  </a:lnTo>
                  <a:lnTo>
                    <a:pt x="1721" y="320"/>
                  </a:lnTo>
                  <a:lnTo>
                    <a:pt x="1712" y="299"/>
                  </a:lnTo>
                  <a:lnTo>
                    <a:pt x="1702" y="276"/>
                  </a:lnTo>
                  <a:lnTo>
                    <a:pt x="1690" y="256"/>
                  </a:lnTo>
                  <a:lnTo>
                    <a:pt x="1679" y="234"/>
                  </a:lnTo>
                  <a:lnTo>
                    <a:pt x="1666" y="214"/>
                  </a:lnTo>
                  <a:lnTo>
                    <a:pt x="1653" y="195"/>
                  </a:lnTo>
                  <a:lnTo>
                    <a:pt x="1637" y="177"/>
                  </a:lnTo>
                  <a:lnTo>
                    <a:pt x="1623" y="159"/>
                  </a:lnTo>
                  <a:lnTo>
                    <a:pt x="1605" y="142"/>
                  </a:lnTo>
                  <a:lnTo>
                    <a:pt x="1588" y="126"/>
                  </a:lnTo>
                  <a:lnTo>
                    <a:pt x="1571" y="111"/>
                  </a:lnTo>
                  <a:lnTo>
                    <a:pt x="1552" y="96"/>
                  </a:lnTo>
                  <a:lnTo>
                    <a:pt x="1532" y="82"/>
                  </a:lnTo>
                  <a:lnTo>
                    <a:pt x="1512" y="70"/>
                  </a:lnTo>
                  <a:lnTo>
                    <a:pt x="1492" y="57"/>
                  </a:lnTo>
                  <a:lnTo>
                    <a:pt x="1470" y="47"/>
                  </a:lnTo>
                  <a:lnTo>
                    <a:pt x="1449" y="37"/>
                  </a:lnTo>
                  <a:lnTo>
                    <a:pt x="1425" y="29"/>
                  </a:lnTo>
                  <a:lnTo>
                    <a:pt x="1402" y="21"/>
                  </a:lnTo>
                  <a:lnTo>
                    <a:pt x="1378" y="14"/>
                  </a:lnTo>
                  <a:lnTo>
                    <a:pt x="1355" y="10"/>
                  </a:lnTo>
                  <a:lnTo>
                    <a:pt x="1330" y="6"/>
                  </a:lnTo>
                  <a:lnTo>
                    <a:pt x="1305" y="3"/>
                  </a:lnTo>
                  <a:lnTo>
                    <a:pt x="1280" y="0"/>
                  </a:lnTo>
                  <a:lnTo>
                    <a:pt x="1254" y="0"/>
                  </a:lnTo>
                  <a:lnTo>
                    <a:pt x="1228" y="0"/>
                  </a:lnTo>
                  <a:lnTo>
                    <a:pt x="1202" y="3"/>
                  </a:lnTo>
                  <a:lnTo>
                    <a:pt x="1178" y="6"/>
                  </a:lnTo>
                  <a:lnTo>
                    <a:pt x="1153" y="10"/>
                  </a:lnTo>
                  <a:lnTo>
                    <a:pt x="1129" y="14"/>
                  </a:lnTo>
                  <a:lnTo>
                    <a:pt x="1106" y="21"/>
                  </a:lnTo>
                  <a:lnTo>
                    <a:pt x="1083" y="29"/>
                  </a:lnTo>
                  <a:lnTo>
                    <a:pt x="1060" y="37"/>
                  </a:lnTo>
                  <a:lnTo>
                    <a:pt x="1038" y="47"/>
                  </a:lnTo>
                  <a:lnTo>
                    <a:pt x="1017" y="57"/>
                  </a:lnTo>
                  <a:lnTo>
                    <a:pt x="995" y="70"/>
                  </a:lnTo>
                  <a:lnTo>
                    <a:pt x="975" y="82"/>
                  </a:lnTo>
                  <a:lnTo>
                    <a:pt x="956" y="96"/>
                  </a:lnTo>
                  <a:lnTo>
                    <a:pt x="937" y="111"/>
                  </a:lnTo>
                  <a:lnTo>
                    <a:pt x="919" y="126"/>
                  </a:lnTo>
                  <a:lnTo>
                    <a:pt x="901" y="142"/>
                  </a:lnTo>
                  <a:lnTo>
                    <a:pt x="885" y="159"/>
                  </a:lnTo>
                  <a:lnTo>
                    <a:pt x="870" y="177"/>
                  </a:lnTo>
                  <a:lnTo>
                    <a:pt x="855" y="195"/>
                  </a:lnTo>
                  <a:lnTo>
                    <a:pt x="841" y="214"/>
                  </a:lnTo>
                  <a:lnTo>
                    <a:pt x="828" y="234"/>
                  </a:lnTo>
                  <a:lnTo>
                    <a:pt x="816" y="256"/>
                  </a:lnTo>
                  <a:lnTo>
                    <a:pt x="806" y="276"/>
                  </a:lnTo>
                  <a:lnTo>
                    <a:pt x="796" y="299"/>
                  </a:lnTo>
                  <a:lnTo>
                    <a:pt x="786" y="320"/>
                  </a:lnTo>
                  <a:lnTo>
                    <a:pt x="779" y="343"/>
                  </a:lnTo>
                  <a:lnTo>
                    <a:pt x="772" y="368"/>
                  </a:lnTo>
                  <a:lnTo>
                    <a:pt x="767" y="392"/>
                  </a:lnTo>
                  <a:lnTo>
                    <a:pt x="763" y="416"/>
                  </a:lnTo>
                  <a:lnTo>
                    <a:pt x="759" y="441"/>
                  </a:lnTo>
                  <a:lnTo>
                    <a:pt x="757" y="467"/>
                  </a:lnTo>
                  <a:lnTo>
                    <a:pt x="757" y="492"/>
                  </a:lnTo>
                  <a:lnTo>
                    <a:pt x="757" y="518"/>
                  </a:lnTo>
                  <a:lnTo>
                    <a:pt x="759" y="544"/>
                  </a:lnTo>
                  <a:lnTo>
                    <a:pt x="763" y="569"/>
                  </a:lnTo>
                  <a:lnTo>
                    <a:pt x="767" y="593"/>
                  </a:lnTo>
                  <a:lnTo>
                    <a:pt x="772" y="617"/>
                  </a:lnTo>
                  <a:lnTo>
                    <a:pt x="779" y="642"/>
                  </a:lnTo>
                  <a:lnTo>
                    <a:pt x="786" y="665"/>
                  </a:lnTo>
                  <a:lnTo>
                    <a:pt x="796" y="686"/>
                  </a:lnTo>
                  <a:lnTo>
                    <a:pt x="806" y="709"/>
                  </a:lnTo>
                  <a:lnTo>
                    <a:pt x="816" y="729"/>
                  </a:lnTo>
                  <a:lnTo>
                    <a:pt x="828" y="751"/>
                  </a:lnTo>
                  <a:lnTo>
                    <a:pt x="841" y="771"/>
                  </a:lnTo>
                  <a:lnTo>
                    <a:pt x="855" y="790"/>
                  </a:lnTo>
                  <a:lnTo>
                    <a:pt x="870" y="808"/>
                  </a:lnTo>
                  <a:lnTo>
                    <a:pt x="885" y="826"/>
                  </a:lnTo>
                  <a:lnTo>
                    <a:pt x="901" y="843"/>
                  </a:lnTo>
                  <a:lnTo>
                    <a:pt x="919" y="859"/>
                  </a:lnTo>
                  <a:lnTo>
                    <a:pt x="937" y="874"/>
                  </a:lnTo>
                  <a:lnTo>
                    <a:pt x="956" y="889"/>
                  </a:lnTo>
                  <a:lnTo>
                    <a:pt x="975" y="903"/>
                  </a:lnTo>
                  <a:lnTo>
                    <a:pt x="995" y="915"/>
                  </a:lnTo>
                  <a:lnTo>
                    <a:pt x="1017" y="928"/>
                  </a:lnTo>
                  <a:lnTo>
                    <a:pt x="1038" y="938"/>
                  </a:lnTo>
                  <a:lnTo>
                    <a:pt x="1060" y="948"/>
                  </a:lnTo>
                  <a:lnTo>
                    <a:pt x="1083" y="956"/>
                  </a:lnTo>
                  <a:lnTo>
                    <a:pt x="1106" y="964"/>
                  </a:lnTo>
                  <a:lnTo>
                    <a:pt x="1129" y="971"/>
                  </a:lnTo>
                  <a:lnTo>
                    <a:pt x="1153" y="975"/>
                  </a:lnTo>
                  <a:lnTo>
                    <a:pt x="1178" y="979"/>
                  </a:lnTo>
                  <a:lnTo>
                    <a:pt x="1202" y="982"/>
                  </a:lnTo>
                  <a:lnTo>
                    <a:pt x="1228" y="985"/>
                  </a:lnTo>
                  <a:lnTo>
                    <a:pt x="1254" y="985"/>
                  </a:lnTo>
                  <a:close/>
                  <a:moveTo>
                    <a:pt x="785" y="965"/>
                  </a:moveTo>
                  <a:lnTo>
                    <a:pt x="785" y="965"/>
                  </a:lnTo>
                  <a:lnTo>
                    <a:pt x="471" y="480"/>
                  </a:lnTo>
                  <a:lnTo>
                    <a:pt x="772" y="20"/>
                  </a:lnTo>
                  <a:lnTo>
                    <a:pt x="501" y="20"/>
                  </a:lnTo>
                  <a:lnTo>
                    <a:pt x="242" y="416"/>
                  </a:lnTo>
                  <a:lnTo>
                    <a:pt x="242" y="20"/>
                  </a:lnTo>
                  <a:lnTo>
                    <a:pt x="0" y="20"/>
                  </a:lnTo>
                  <a:lnTo>
                    <a:pt x="0" y="965"/>
                  </a:lnTo>
                  <a:lnTo>
                    <a:pt x="242" y="965"/>
                  </a:lnTo>
                  <a:lnTo>
                    <a:pt x="242" y="543"/>
                  </a:lnTo>
                  <a:lnTo>
                    <a:pt x="514" y="965"/>
                  </a:lnTo>
                  <a:lnTo>
                    <a:pt x="785" y="965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9" name="Freeform 63">
              <a:extLst>
                <a:ext uri="{FF2B5EF4-FFF2-40B4-BE49-F238E27FC236}">
                  <a16:creationId xmlns:a16="http://schemas.microsoft.com/office/drawing/2014/main" id="{79C7BA46-9117-F012-F563-B71F092C5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0" y="3214688"/>
              <a:ext cx="895350" cy="500063"/>
            </a:xfrm>
            <a:custGeom>
              <a:avLst/>
              <a:gdLst>
                <a:gd name="T0" fmla="*/ 1096 w 1691"/>
                <a:gd name="T1" fmla="*/ 616 h 945"/>
                <a:gd name="T2" fmla="*/ 1264 w 1691"/>
                <a:gd name="T3" fmla="*/ 149 h 945"/>
                <a:gd name="T4" fmla="*/ 1436 w 1691"/>
                <a:gd name="T5" fmla="*/ 616 h 945"/>
                <a:gd name="T6" fmla="*/ 1096 w 1691"/>
                <a:gd name="T7" fmla="*/ 616 h 945"/>
                <a:gd name="T8" fmla="*/ 1555 w 1691"/>
                <a:gd name="T9" fmla="*/ 945 h 945"/>
                <a:gd name="T10" fmla="*/ 1555 w 1691"/>
                <a:gd name="T11" fmla="*/ 945 h 945"/>
                <a:gd name="T12" fmla="*/ 1691 w 1691"/>
                <a:gd name="T13" fmla="*/ 945 h 945"/>
                <a:gd name="T14" fmla="*/ 1336 w 1691"/>
                <a:gd name="T15" fmla="*/ 0 h 945"/>
                <a:gd name="T16" fmla="*/ 1194 w 1691"/>
                <a:gd name="T17" fmla="*/ 0 h 945"/>
                <a:gd name="T18" fmla="*/ 841 w 1691"/>
                <a:gd name="T19" fmla="*/ 945 h 945"/>
                <a:gd name="T20" fmla="*/ 975 w 1691"/>
                <a:gd name="T21" fmla="*/ 945 h 945"/>
                <a:gd name="T22" fmla="*/ 1053 w 1691"/>
                <a:gd name="T23" fmla="*/ 732 h 945"/>
                <a:gd name="T24" fmla="*/ 1479 w 1691"/>
                <a:gd name="T25" fmla="*/ 732 h 945"/>
                <a:gd name="T26" fmla="*/ 1555 w 1691"/>
                <a:gd name="T27" fmla="*/ 945 h 945"/>
                <a:gd name="T28" fmla="*/ 589 w 1691"/>
                <a:gd name="T29" fmla="*/ 0 h 945"/>
                <a:gd name="T30" fmla="*/ 589 w 1691"/>
                <a:gd name="T31" fmla="*/ 0 h 945"/>
                <a:gd name="T32" fmla="*/ 589 w 1691"/>
                <a:gd name="T33" fmla="*/ 705 h 945"/>
                <a:gd name="T34" fmla="*/ 102 w 1691"/>
                <a:gd name="T35" fmla="*/ 0 h 945"/>
                <a:gd name="T36" fmla="*/ 0 w 1691"/>
                <a:gd name="T37" fmla="*/ 0 h 945"/>
                <a:gd name="T38" fmla="*/ 0 w 1691"/>
                <a:gd name="T39" fmla="*/ 945 h 945"/>
                <a:gd name="T40" fmla="*/ 127 w 1691"/>
                <a:gd name="T41" fmla="*/ 945 h 945"/>
                <a:gd name="T42" fmla="*/ 127 w 1691"/>
                <a:gd name="T43" fmla="*/ 238 h 945"/>
                <a:gd name="T44" fmla="*/ 613 w 1691"/>
                <a:gd name="T45" fmla="*/ 945 h 945"/>
                <a:gd name="T46" fmla="*/ 716 w 1691"/>
                <a:gd name="T47" fmla="*/ 945 h 945"/>
                <a:gd name="T48" fmla="*/ 716 w 1691"/>
                <a:gd name="T49" fmla="*/ 0 h 945"/>
                <a:gd name="T50" fmla="*/ 589 w 1691"/>
                <a:gd name="T51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1" h="945">
                  <a:moveTo>
                    <a:pt x="1096" y="616"/>
                  </a:moveTo>
                  <a:lnTo>
                    <a:pt x="1264" y="149"/>
                  </a:lnTo>
                  <a:lnTo>
                    <a:pt x="1436" y="616"/>
                  </a:lnTo>
                  <a:lnTo>
                    <a:pt x="1096" y="616"/>
                  </a:lnTo>
                  <a:close/>
                  <a:moveTo>
                    <a:pt x="1555" y="945"/>
                  </a:moveTo>
                  <a:lnTo>
                    <a:pt x="1555" y="945"/>
                  </a:lnTo>
                  <a:lnTo>
                    <a:pt x="1691" y="945"/>
                  </a:lnTo>
                  <a:lnTo>
                    <a:pt x="1336" y="0"/>
                  </a:lnTo>
                  <a:lnTo>
                    <a:pt x="1194" y="0"/>
                  </a:lnTo>
                  <a:lnTo>
                    <a:pt x="841" y="945"/>
                  </a:lnTo>
                  <a:lnTo>
                    <a:pt x="975" y="945"/>
                  </a:lnTo>
                  <a:lnTo>
                    <a:pt x="1053" y="732"/>
                  </a:lnTo>
                  <a:lnTo>
                    <a:pt x="1479" y="732"/>
                  </a:lnTo>
                  <a:lnTo>
                    <a:pt x="1555" y="945"/>
                  </a:lnTo>
                  <a:close/>
                  <a:moveTo>
                    <a:pt x="589" y="0"/>
                  </a:moveTo>
                  <a:lnTo>
                    <a:pt x="589" y="0"/>
                  </a:lnTo>
                  <a:lnTo>
                    <a:pt x="589" y="70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945"/>
                  </a:lnTo>
                  <a:lnTo>
                    <a:pt x="127" y="945"/>
                  </a:lnTo>
                  <a:lnTo>
                    <a:pt x="127" y="238"/>
                  </a:lnTo>
                  <a:lnTo>
                    <a:pt x="613" y="945"/>
                  </a:lnTo>
                  <a:lnTo>
                    <a:pt x="716" y="945"/>
                  </a:lnTo>
                  <a:lnTo>
                    <a:pt x="716" y="0"/>
                  </a:lnTo>
                  <a:lnTo>
                    <a:pt x="5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pic>
        <p:nvPicPr>
          <p:cNvPr id="1067" name="Obrázek 1066">
            <a:extLst>
              <a:ext uri="{FF2B5EF4-FFF2-40B4-BE49-F238E27FC236}">
                <a16:creationId xmlns:a16="http://schemas.microsoft.com/office/drawing/2014/main" id="{37979C49-9CE1-32D7-C18F-E3F7701675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448" y="5177962"/>
            <a:ext cx="85808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63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/>
        </p:nvSpPr>
        <p:spPr>
          <a:xfrm>
            <a:off x="1" y="288961"/>
            <a:ext cx="169545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6225540" y="288961"/>
            <a:ext cx="596646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0007AB47-8DE6-47F4-AEF7-D4BFBF5E4C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090" y="30830"/>
            <a:ext cx="616147" cy="615653"/>
          </a:xfrm>
          <a:prstGeom prst="rect">
            <a:avLst/>
          </a:prstGeom>
        </p:spPr>
      </p:pic>
      <p:sp>
        <p:nvSpPr>
          <p:cNvPr id="8" name="TextovéPole 7"/>
          <p:cNvSpPr txBox="1"/>
          <p:nvPr/>
        </p:nvSpPr>
        <p:spPr>
          <a:xfrm>
            <a:off x="1475393" y="138601"/>
            <a:ext cx="49482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MRCENÍ CYKLISTÉ po měsících</a:t>
            </a:r>
          </a:p>
        </p:txBody>
      </p:sp>
      <p:sp>
        <p:nvSpPr>
          <p:cNvPr id="54" name="Obdélník 53"/>
          <p:cNvSpPr/>
          <p:nvPr/>
        </p:nvSpPr>
        <p:spPr>
          <a:xfrm>
            <a:off x="10496550" y="6669660"/>
            <a:ext cx="169545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Obdélník 54"/>
          <p:cNvSpPr/>
          <p:nvPr/>
        </p:nvSpPr>
        <p:spPr>
          <a:xfrm>
            <a:off x="0" y="6669660"/>
            <a:ext cx="6677025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TextovéPole 55"/>
          <p:cNvSpPr txBox="1"/>
          <p:nvPr/>
        </p:nvSpPr>
        <p:spPr>
          <a:xfrm>
            <a:off x="6666274" y="6588550"/>
            <a:ext cx="38302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VOJ DOPRAVNÍ NEHODOVOSTI V ROCE 2022</a:t>
            </a:r>
            <a:endParaRPr lang="cs-CZ" sz="105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9" name="Graf 48">
            <a:extLst>
              <a:ext uri="{FF2B5EF4-FFF2-40B4-BE49-F238E27FC236}">
                <a16:creationId xmlns:a16="http://schemas.microsoft.com/office/drawing/2014/main" id="{00000000-0008-0000-09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2581407"/>
              </p:ext>
            </p:extLst>
          </p:nvPr>
        </p:nvGraphicFramePr>
        <p:xfrm>
          <a:off x="215901" y="646483"/>
          <a:ext cx="11747500" cy="5765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8" name="Obrázek 47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067" y="469461"/>
            <a:ext cx="1188260" cy="65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665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/>
          <p:cNvSpPr/>
          <p:nvPr/>
        </p:nvSpPr>
        <p:spPr>
          <a:xfrm>
            <a:off x="1" y="288961"/>
            <a:ext cx="169545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6" name="Obdélník 5"/>
          <p:cNvSpPr/>
          <p:nvPr/>
        </p:nvSpPr>
        <p:spPr>
          <a:xfrm>
            <a:off x="4546600" y="288961"/>
            <a:ext cx="764540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0007AB47-8DE6-47F4-AEF7-D4BFBF5E4C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4090" y="30830"/>
            <a:ext cx="616147" cy="615653"/>
          </a:xfrm>
          <a:prstGeom prst="rect">
            <a:avLst/>
          </a:prstGeom>
        </p:spPr>
      </p:pic>
      <p:sp>
        <p:nvSpPr>
          <p:cNvPr id="8" name="TextovéPole 7"/>
          <p:cNvSpPr txBox="1"/>
          <p:nvPr/>
        </p:nvSpPr>
        <p:spPr>
          <a:xfrm>
            <a:off x="1475393" y="138601"/>
            <a:ext cx="32871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MRCENÍ CYKLISTÉ</a:t>
            </a:r>
          </a:p>
        </p:txBody>
      </p:sp>
      <p:sp>
        <p:nvSpPr>
          <p:cNvPr id="54" name="Obdélník 53"/>
          <p:cNvSpPr/>
          <p:nvPr/>
        </p:nvSpPr>
        <p:spPr>
          <a:xfrm>
            <a:off x="10496550" y="6669660"/>
            <a:ext cx="1695450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Obdélník 54"/>
          <p:cNvSpPr/>
          <p:nvPr/>
        </p:nvSpPr>
        <p:spPr>
          <a:xfrm>
            <a:off x="0" y="6669660"/>
            <a:ext cx="6677025" cy="99391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TextovéPole 55"/>
          <p:cNvSpPr txBox="1"/>
          <p:nvPr/>
        </p:nvSpPr>
        <p:spPr>
          <a:xfrm>
            <a:off x="6666274" y="6588550"/>
            <a:ext cx="38302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VOJ DOPRAVNÍ NEHODOVOSTI V ROCE 2022</a:t>
            </a:r>
            <a:endParaRPr lang="cs-CZ" sz="1050" b="1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Graf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2067753"/>
              </p:ext>
            </p:extLst>
          </p:nvPr>
        </p:nvGraphicFramePr>
        <p:xfrm>
          <a:off x="4762500" y="689071"/>
          <a:ext cx="7216028" cy="5589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8" name="Obrázek 47"/>
          <p:cNvPicPr>
            <a:picLocks noChangeAspect="1"/>
          </p:cNvPicPr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067" y="469461"/>
            <a:ext cx="1188260" cy="656670"/>
          </a:xfrm>
          <a:prstGeom prst="rect">
            <a:avLst/>
          </a:prstGeom>
        </p:spPr>
      </p:pic>
      <p:pic>
        <p:nvPicPr>
          <p:cNvPr id="13" name="Obrázek 12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59" y="1549146"/>
            <a:ext cx="302474" cy="278175"/>
          </a:xfrm>
          <a:prstGeom prst="rect">
            <a:avLst/>
          </a:prstGeom>
        </p:spPr>
      </p:pic>
      <p:grpSp>
        <p:nvGrpSpPr>
          <p:cNvPr id="14" name="Skupina 13"/>
          <p:cNvGrpSpPr/>
          <p:nvPr/>
        </p:nvGrpSpPr>
        <p:grpSpPr>
          <a:xfrm>
            <a:off x="277817" y="1984158"/>
            <a:ext cx="302654" cy="277721"/>
            <a:chOff x="1044327" y="2618309"/>
            <a:chExt cx="650846" cy="598558"/>
          </a:xfrm>
        </p:grpSpPr>
        <p:pic>
          <p:nvPicPr>
            <p:cNvPr id="15" name="Obrázek 14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327" y="2618309"/>
              <a:ext cx="650846" cy="598558"/>
            </a:xfrm>
            <a:prstGeom prst="rect">
              <a:avLst/>
            </a:prstGeom>
          </p:spPr>
        </p:pic>
        <p:cxnSp>
          <p:nvCxnSpPr>
            <p:cNvPr id="16" name="Přímá spojnice 15"/>
            <p:cNvCxnSpPr/>
            <p:nvPr/>
          </p:nvCxnSpPr>
          <p:spPr>
            <a:xfrm>
              <a:off x="1138238" y="2653133"/>
              <a:ext cx="523939" cy="463923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/>
            <p:cNvCxnSpPr/>
            <p:nvPr/>
          </p:nvCxnSpPr>
          <p:spPr>
            <a:xfrm flipV="1">
              <a:off x="1138238" y="2636044"/>
              <a:ext cx="554845" cy="491290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Obrázek 17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095" y="496429"/>
            <a:ext cx="740264" cy="569398"/>
          </a:xfrm>
          <a:prstGeom prst="rect">
            <a:avLst/>
          </a:prstGeom>
        </p:spPr>
      </p:pic>
      <p:grpSp>
        <p:nvGrpSpPr>
          <p:cNvPr id="20" name="Skupina 19"/>
          <p:cNvGrpSpPr/>
          <p:nvPr/>
        </p:nvGrpSpPr>
        <p:grpSpPr>
          <a:xfrm>
            <a:off x="725272" y="3208917"/>
            <a:ext cx="3470497" cy="3241584"/>
            <a:chOff x="1602058" y="2683708"/>
            <a:chExt cx="3470497" cy="3241584"/>
          </a:xfrm>
        </p:grpSpPr>
        <p:grpSp>
          <p:nvGrpSpPr>
            <p:cNvPr id="21" name="Skupina 20"/>
            <p:cNvGrpSpPr/>
            <p:nvPr/>
          </p:nvGrpSpPr>
          <p:grpSpPr>
            <a:xfrm>
              <a:off x="1643600" y="2683708"/>
              <a:ext cx="3241584" cy="3241584"/>
              <a:chOff x="2123501" y="2831376"/>
              <a:chExt cx="2540724" cy="2540724"/>
            </a:xfrm>
          </p:grpSpPr>
          <p:sp>
            <p:nvSpPr>
              <p:cNvPr id="24" name="Výseč 100"/>
              <p:cNvSpPr/>
              <p:nvPr/>
            </p:nvSpPr>
            <p:spPr>
              <a:xfrm>
                <a:off x="2123501" y="2831376"/>
                <a:ext cx="2540724" cy="2540724"/>
              </a:xfrm>
              <a:prstGeom prst="pie">
                <a:avLst>
                  <a:gd name="adj1" fmla="val 531769"/>
                  <a:gd name="adj2" fmla="val 16200000"/>
                </a:avLst>
              </a:prstGeom>
              <a:solidFill>
                <a:schemeClr val="tx1">
                  <a:lumMod val="65000"/>
                  <a:lumOff val="35000"/>
                  <a:alpha val="93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Výseč 101"/>
              <p:cNvSpPr/>
              <p:nvPr/>
            </p:nvSpPr>
            <p:spPr>
              <a:xfrm>
                <a:off x="2257690" y="2965565"/>
                <a:ext cx="2272346" cy="2272346"/>
              </a:xfrm>
              <a:prstGeom prst="pie">
                <a:avLst>
                  <a:gd name="adj1" fmla="val 16192298"/>
                  <a:gd name="adj2" fmla="val 537834"/>
                </a:avLst>
              </a:prstGeom>
              <a:solidFill>
                <a:schemeClr val="bg2">
                  <a:lumMod val="75000"/>
                  <a:alpha val="97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cs-CZ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2" name="TextovéPole 21"/>
            <p:cNvSpPr txBox="1"/>
            <p:nvPr/>
          </p:nvSpPr>
          <p:spPr>
            <a:xfrm>
              <a:off x="1747887" y="3778970"/>
              <a:ext cx="332466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5400" dirty="0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69 %</a:t>
              </a:r>
            </a:p>
          </p:txBody>
        </p:sp>
        <p:sp>
          <p:nvSpPr>
            <p:cNvPr id="23" name="TextovéPole 22"/>
            <p:cNvSpPr txBox="1"/>
            <p:nvPr/>
          </p:nvSpPr>
          <p:spPr>
            <a:xfrm>
              <a:off x="1602058" y="4652191"/>
              <a:ext cx="332466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000" dirty="0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usmrcených</a:t>
              </a:r>
            </a:p>
            <a:p>
              <a:pPr algn="ctr"/>
              <a:r>
                <a:rPr lang="cs-CZ" sz="2000" dirty="0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cyklistů </a:t>
              </a:r>
            </a:p>
            <a:p>
              <a:pPr algn="ctr"/>
              <a:r>
                <a:rPr lang="cs-CZ" sz="2000" dirty="0">
                  <a:solidFill>
                    <a:schemeClr val="bg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NEMĚLO přilbu</a:t>
              </a:r>
            </a:p>
          </p:txBody>
        </p:sp>
      </p:grpSp>
      <p:sp>
        <p:nvSpPr>
          <p:cNvPr id="26" name="TextovéPole 25"/>
          <p:cNvSpPr txBox="1"/>
          <p:nvPr/>
        </p:nvSpPr>
        <p:spPr>
          <a:xfrm>
            <a:off x="1731893" y="2534921"/>
            <a:ext cx="123132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3800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!</a:t>
            </a:r>
          </a:p>
        </p:txBody>
      </p:sp>
      <p:grpSp>
        <p:nvGrpSpPr>
          <p:cNvPr id="27" name="Skupina 26"/>
          <p:cNvGrpSpPr/>
          <p:nvPr/>
        </p:nvGrpSpPr>
        <p:grpSpPr>
          <a:xfrm>
            <a:off x="899726" y="1492975"/>
            <a:ext cx="2140711" cy="400110"/>
            <a:chOff x="1430439" y="781692"/>
            <a:chExt cx="2140711" cy="400110"/>
          </a:xfrm>
        </p:grpSpPr>
        <p:grpSp>
          <p:nvGrpSpPr>
            <p:cNvPr id="28" name="Skupina 27"/>
            <p:cNvGrpSpPr/>
            <p:nvPr/>
          </p:nvGrpSpPr>
          <p:grpSpPr>
            <a:xfrm>
              <a:off x="1430439" y="781692"/>
              <a:ext cx="2140711" cy="400110"/>
              <a:chOff x="2242764" y="1225040"/>
              <a:chExt cx="2140711" cy="400110"/>
            </a:xfrm>
          </p:grpSpPr>
          <p:sp>
            <p:nvSpPr>
              <p:cNvPr id="32" name="TextovéPole 31"/>
              <p:cNvSpPr txBox="1"/>
              <p:nvPr/>
            </p:nvSpPr>
            <p:spPr>
              <a:xfrm>
                <a:off x="3850075" y="1225040"/>
                <a:ext cx="5334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20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13</a:t>
                </a:r>
              </a:p>
            </p:txBody>
          </p:sp>
          <p:pic>
            <p:nvPicPr>
              <p:cNvPr id="33" name="Obrázek 32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242764" y="1281903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34" name="Obrázek 33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366470" y="1281903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35" name="Obrázek 34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490176" y="1281903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36" name="Obrázek 35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613882" y="1281903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37" name="Obrázek 36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737588" y="1281903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38" name="Obrázek 37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861294" y="1281903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39" name="Obrázek 38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985000" y="1281903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40" name="Obrázek 39"/>
              <p:cNvPicPr>
                <a:picLocks noChangeAspect="1"/>
              </p:cNvPicPr>
              <p:nvPr/>
            </p:nvPicPr>
            <p:blipFill>
              <a:blip r:embed="rId7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108706" y="1281903"/>
                <a:ext cx="111357" cy="255607"/>
              </a:xfrm>
              <a:prstGeom prst="rect">
                <a:avLst/>
              </a:prstGeom>
            </p:spPr>
          </p:pic>
        </p:grpSp>
        <p:pic>
          <p:nvPicPr>
            <p:cNvPr id="29" name="Obrázek 28"/>
            <p:cNvPicPr>
              <a:picLocks noChangeAspect="1"/>
            </p:cNvPicPr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416451" y="838555"/>
              <a:ext cx="111357" cy="255607"/>
            </a:xfrm>
            <a:prstGeom prst="rect">
              <a:avLst/>
            </a:prstGeom>
          </p:spPr>
        </p:pic>
        <p:pic>
          <p:nvPicPr>
            <p:cNvPr id="30" name="Obrázek 29"/>
            <p:cNvPicPr>
              <a:picLocks noChangeAspect="1"/>
            </p:cNvPicPr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540157" y="838555"/>
              <a:ext cx="111357" cy="255607"/>
            </a:xfrm>
            <a:prstGeom prst="rect">
              <a:avLst/>
            </a:prstGeom>
          </p:spPr>
        </p:pic>
        <p:pic>
          <p:nvPicPr>
            <p:cNvPr id="31" name="Obrázek 30"/>
            <p:cNvPicPr>
              <a:picLocks noChangeAspect="1"/>
            </p:cNvPicPr>
            <p:nvPr/>
          </p:nvPicPr>
          <p:blipFill>
            <a:blip r:embed="rId7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2663863" y="838555"/>
              <a:ext cx="111357" cy="255607"/>
            </a:xfrm>
            <a:prstGeom prst="rect">
              <a:avLst/>
            </a:prstGeom>
          </p:spPr>
        </p:pic>
      </p:grpSp>
      <p:grpSp>
        <p:nvGrpSpPr>
          <p:cNvPr id="41" name="Skupina 40"/>
          <p:cNvGrpSpPr/>
          <p:nvPr/>
        </p:nvGrpSpPr>
        <p:grpSpPr>
          <a:xfrm>
            <a:off x="914924" y="1918353"/>
            <a:ext cx="4322816" cy="400110"/>
            <a:chOff x="1445637" y="1199821"/>
            <a:chExt cx="4322816" cy="400110"/>
          </a:xfrm>
        </p:grpSpPr>
        <p:grpSp>
          <p:nvGrpSpPr>
            <p:cNvPr id="42" name="Skupina 41"/>
            <p:cNvGrpSpPr/>
            <p:nvPr/>
          </p:nvGrpSpPr>
          <p:grpSpPr>
            <a:xfrm>
              <a:off x="1445637" y="1199821"/>
              <a:ext cx="4322816" cy="400110"/>
              <a:chOff x="2242764" y="1633253"/>
              <a:chExt cx="4322816" cy="400110"/>
            </a:xfrm>
          </p:grpSpPr>
          <p:sp>
            <p:nvSpPr>
              <p:cNvPr id="44" name="TextovéPole 43"/>
              <p:cNvSpPr txBox="1"/>
              <p:nvPr/>
            </p:nvSpPr>
            <p:spPr>
              <a:xfrm>
                <a:off x="6032180" y="1633253"/>
                <a:ext cx="53340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cs-CZ" sz="20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Black" panose="020B0A04020102020204" pitchFamily="34" charset="0"/>
                    <a:cs typeface="Arial" panose="020B0604020202020204" pitchFamily="34" charset="0"/>
                  </a:rPr>
                  <a:t>29</a:t>
                </a:r>
              </a:p>
            </p:txBody>
          </p:sp>
          <p:pic>
            <p:nvPicPr>
              <p:cNvPr id="45" name="Obrázek 4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242764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46" name="Obrázek 45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366470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47" name="Obrázek 46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490176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50" name="Obrázek 49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613882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51" name="Obrázek 50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737588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52" name="Obrázek 51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861294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53" name="Obrázek 52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2985000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57" name="Obrázek 56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108706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58" name="Obrázek 57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232412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59" name="Obrázek 58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356118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0" name="Obrázek 59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479824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1" name="Obrázek 60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603530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2" name="Obrázek 61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727236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3" name="Obrázek 62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850942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4" name="Obrázek 63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3974648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5" name="Obrázek 6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098354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6" name="Obrázek 65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222060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7" name="Obrázek 66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345766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8" name="Obrázek 67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469472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69" name="Obrázek 68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593178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0" name="Obrázek 69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716884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1" name="Obrázek 70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840590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2" name="Obrázek 71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964296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3" name="Obrázek 72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088002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4" name="Obrázek 73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211708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5" name="Obrázek 74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335414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6" name="Obrázek 75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59120" y="1690116"/>
                <a:ext cx="111357" cy="255607"/>
              </a:xfrm>
              <a:prstGeom prst="rect">
                <a:avLst/>
              </a:prstGeom>
            </p:spPr>
          </p:pic>
          <p:pic>
            <p:nvPicPr>
              <p:cNvPr id="77" name="Obrázek 76"/>
              <p:cNvPicPr>
                <a:picLocks noChangeAspect="1"/>
              </p:cNvPicPr>
              <p:nvPr/>
            </p:nvPicPr>
            <p:blipFill>
              <a:blip r:embed="rId7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582826" y="1690116"/>
                <a:ext cx="111357" cy="255607"/>
              </a:xfrm>
              <a:prstGeom prst="rect">
                <a:avLst/>
              </a:prstGeom>
            </p:spPr>
          </p:pic>
        </p:grpSp>
        <p:pic>
          <p:nvPicPr>
            <p:cNvPr id="43" name="Obrázek 42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908246" y="1256684"/>
              <a:ext cx="111357" cy="255607"/>
            </a:xfrm>
            <a:prstGeom prst="rect">
              <a:avLst/>
            </a:prstGeom>
          </p:spPr>
        </p:pic>
      </p:grpSp>
      <p:sp>
        <p:nvSpPr>
          <p:cNvPr id="79" name="TextovéPole 41"/>
          <p:cNvSpPr txBox="1"/>
          <p:nvPr/>
        </p:nvSpPr>
        <p:spPr>
          <a:xfrm>
            <a:off x="4963580" y="3675690"/>
            <a:ext cx="3702511" cy="3385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MRCENÍ CYKLISTÉ PODLE VĚKU</a:t>
            </a:r>
          </a:p>
        </p:txBody>
      </p:sp>
    </p:spTree>
    <p:extLst>
      <p:ext uri="{BB962C8B-B14F-4D97-AF65-F5344CB8AC3E}">
        <p14:creationId xmlns:p14="http://schemas.microsoft.com/office/powerpoint/2010/main" val="1355112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185AD35-E394-A2FE-25B7-71D22308A07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5794DC1-FE3C-A87A-60C7-69731C1EEB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8" name="AutoShape 3">
            <a:extLst>
              <a:ext uri="{FF2B5EF4-FFF2-40B4-BE49-F238E27FC236}">
                <a16:creationId xmlns:a16="http://schemas.microsoft.com/office/drawing/2014/main" id="{46C953C7-0B05-070E-3359-7AC1940D045A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0" y="9525"/>
            <a:ext cx="12192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726E8D9D-C627-D0FD-42DB-D3EA73496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0" name="Skupina 1059">
            <a:extLst>
              <a:ext uri="{FF2B5EF4-FFF2-40B4-BE49-F238E27FC236}">
                <a16:creationId xmlns:a16="http://schemas.microsoft.com/office/drawing/2014/main" id="{B9277C8B-987D-60A7-9A7A-676285B4D4A7}"/>
              </a:ext>
            </a:extLst>
          </p:cNvPr>
          <p:cNvGrpSpPr/>
          <p:nvPr/>
        </p:nvGrpSpPr>
        <p:grpSpPr>
          <a:xfrm>
            <a:off x="0" y="-2653"/>
            <a:ext cx="9906000" cy="6858000"/>
            <a:chOff x="0" y="9525"/>
            <a:chExt cx="9906000" cy="6838950"/>
          </a:xfrm>
        </p:grpSpPr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D08329F1-57FA-CC72-5D45-E0F26D3E07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9525"/>
              <a:ext cx="9906000" cy="6838950"/>
            </a:xfrm>
            <a:prstGeom prst="rect">
              <a:avLst/>
            </a:prstGeom>
            <a:solidFill>
              <a:srgbClr val="009E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pic>
          <p:nvPicPr>
            <p:cNvPr id="1031" name="Picture 7">
              <a:extLst>
                <a:ext uri="{FF2B5EF4-FFF2-40B4-BE49-F238E27FC236}">
                  <a16:creationId xmlns:a16="http://schemas.microsoft.com/office/drawing/2014/main" id="{EF7B087B-484A-2FC1-8835-24BC88EE6F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1925" y="9525"/>
              <a:ext cx="8474075" cy="683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Rectangle 9">
            <a:extLst>
              <a:ext uri="{FF2B5EF4-FFF2-40B4-BE49-F238E27FC236}">
                <a16:creationId xmlns:a16="http://schemas.microsoft.com/office/drawing/2014/main" id="{0C37FF93-8CFB-48AC-8743-FE0E89858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5489" y="-2653"/>
            <a:ext cx="2286000" cy="687017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1" name="Skupina 1060">
            <a:extLst>
              <a:ext uri="{FF2B5EF4-FFF2-40B4-BE49-F238E27FC236}">
                <a16:creationId xmlns:a16="http://schemas.microsoft.com/office/drawing/2014/main" id="{ECD28CA6-8A06-C6E3-E8FD-60E9EABB3D1A}"/>
              </a:ext>
            </a:extLst>
          </p:cNvPr>
          <p:cNvGrpSpPr/>
          <p:nvPr/>
        </p:nvGrpSpPr>
        <p:grpSpPr>
          <a:xfrm>
            <a:off x="666750" y="654050"/>
            <a:ext cx="1524000" cy="762001"/>
            <a:chOff x="666750" y="654050"/>
            <a:chExt cx="1524000" cy="762001"/>
          </a:xfrm>
        </p:grpSpPr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6E69C003-DB27-2CD0-BE7D-4722E7CF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750" y="654050"/>
              <a:ext cx="649288" cy="600075"/>
            </a:xfrm>
            <a:custGeom>
              <a:avLst/>
              <a:gdLst>
                <a:gd name="T0" fmla="*/ 141 w 1227"/>
                <a:gd name="T1" fmla="*/ 116 h 1134"/>
                <a:gd name="T2" fmla="*/ 246 w 1227"/>
                <a:gd name="T3" fmla="*/ 103 h 1134"/>
                <a:gd name="T4" fmla="*/ 382 w 1227"/>
                <a:gd name="T5" fmla="*/ 87 h 1134"/>
                <a:gd name="T6" fmla="*/ 534 w 1227"/>
                <a:gd name="T7" fmla="*/ 70 h 1134"/>
                <a:gd name="T8" fmla="*/ 693 w 1227"/>
                <a:gd name="T9" fmla="*/ 51 h 1134"/>
                <a:gd name="T10" fmla="*/ 847 w 1227"/>
                <a:gd name="T11" fmla="*/ 33 h 1134"/>
                <a:gd name="T12" fmla="*/ 981 w 1227"/>
                <a:gd name="T13" fmla="*/ 17 h 1134"/>
                <a:gd name="T14" fmla="*/ 1086 w 1227"/>
                <a:gd name="T15" fmla="*/ 5 h 1134"/>
                <a:gd name="T16" fmla="*/ 1135 w 1227"/>
                <a:gd name="T17" fmla="*/ 0 h 1134"/>
                <a:gd name="T18" fmla="*/ 1155 w 1227"/>
                <a:gd name="T19" fmla="*/ 3 h 1134"/>
                <a:gd name="T20" fmla="*/ 1174 w 1227"/>
                <a:gd name="T21" fmla="*/ 10 h 1134"/>
                <a:gd name="T22" fmla="*/ 1189 w 1227"/>
                <a:gd name="T23" fmla="*/ 21 h 1134"/>
                <a:gd name="T24" fmla="*/ 1204 w 1227"/>
                <a:gd name="T25" fmla="*/ 37 h 1134"/>
                <a:gd name="T26" fmla="*/ 1215 w 1227"/>
                <a:gd name="T27" fmla="*/ 56 h 1134"/>
                <a:gd name="T28" fmla="*/ 1223 w 1227"/>
                <a:gd name="T29" fmla="*/ 77 h 1134"/>
                <a:gd name="T30" fmla="*/ 1227 w 1227"/>
                <a:gd name="T31" fmla="*/ 102 h 1134"/>
                <a:gd name="T32" fmla="*/ 1227 w 1227"/>
                <a:gd name="T33" fmla="*/ 663 h 1134"/>
                <a:gd name="T34" fmla="*/ 1225 w 1227"/>
                <a:gd name="T35" fmla="*/ 688 h 1134"/>
                <a:gd name="T36" fmla="*/ 1220 w 1227"/>
                <a:gd name="T37" fmla="*/ 712 h 1134"/>
                <a:gd name="T38" fmla="*/ 1210 w 1227"/>
                <a:gd name="T39" fmla="*/ 734 h 1134"/>
                <a:gd name="T40" fmla="*/ 1197 w 1227"/>
                <a:gd name="T41" fmla="*/ 752 h 1134"/>
                <a:gd name="T42" fmla="*/ 1182 w 1227"/>
                <a:gd name="T43" fmla="*/ 767 h 1134"/>
                <a:gd name="T44" fmla="*/ 1164 w 1227"/>
                <a:gd name="T45" fmla="*/ 779 h 1134"/>
                <a:gd name="T46" fmla="*/ 1145 w 1227"/>
                <a:gd name="T47" fmla="*/ 787 h 1134"/>
                <a:gd name="T48" fmla="*/ 1125 w 1227"/>
                <a:gd name="T49" fmla="*/ 788 h 1134"/>
                <a:gd name="T50" fmla="*/ 1103 w 1227"/>
                <a:gd name="T51" fmla="*/ 1134 h 1134"/>
                <a:gd name="T52" fmla="*/ 104 w 1227"/>
                <a:gd name="T53" fmla="*/ 788 h 1134"/>
                <a:gd name="T54" fmla="*/ 82 w 1227"/>
                <a:gd name="T55" fmla="*/ 787 h 1134"/>
                <a:gd name="T56" fmla="*/ 63 w 1227"/>
                <a:gd name="T57" fmla="*/ 781 h 1134"/>
                <a:gd name="T58" fmla="*/ 46 w 1227"/>
                <a:gd name="T59" fmla="*/ 771 h 1134"/>
                <a:gd name="T60" fmla="*/ 30 w 1227"/>
                <a:gd name="T61" fmla="*/ 758 h 1134"/>
                <a:gd name="T62" fmla="*/ 17 w 1227"/>
                <a:gd name="T63" fmla="*/ 744 h 1134"/>
                <a:gd name="T64" fmla="*/ 9 w 1227"/>
                <a:gd name="T65" fmla="*/ 726 h 1134"/>
                <a:gd name="T66" fmla="*/ 1 w 1227"/>
                <a:gd name="T67" fmla="*/ 706 h 1134"/>
                <a:gd name="T68" fmla="*/ 0 w 1227"/>
                <a:gd name="T69" fmla="*/ 686 h 1134"/>
                <a:gd name="T70" fmla="*/ 0 w 1227"/>
                <a:gd name="T71" fmla="*/ 225 h 1134"/>
                <a:gd name="T72" fmla="*/ 4 w 1227"/>
                <a:gd name="T73" fmla="*/ 205 h 1134"/>
                <a:gd name="T74" fmla="*/ 13 w 1227"/>
                <a:gd name="T75" fmla="*/ 185 h 1134"/>
                <a:gd name="T76" fmla="*/ 23 w 1227"/>
                <a:gd name="T77" fmla="*/ 168 h 1134"/>
                <a:gd name="T78" fmla="*/ 37 w 1227"/>
                <a:gd name="T79" fmla="*/ 152 h 1134"/>
                <a:gd name="T80" fmla="*/ 55 w 1227"/>
                <a:gd name="T81" fmla="*/ 139 h 1134"/>
                <a:gd name="T82" fmla="*/ 73 w 1227"/>
                <a:gd name="T83" fmla="*/ 129 h 1134"/>
                <a:gd name="T84" fmla="*/ 94 w 1227"/>
                <a:gd name="T85" fmla="*/ 12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27" h="1134">
                  <a:moveTo>
                    <a:pt x="104" y="120"/>
                  </a:moveTo>
                  <a:lnTo>
                    <a:pt x="141" y="116"/>
                  </a:lnTo>
                  <a:lnTo>
                    <a:pt x="189" y="110"/>
                  </a:lnTo>
                  <a:lnTo>
                    <a:pt x="246" y="103"/>
                  </a:lnTo>
                  <a:lnTo>
                    <a:pt x="311" y="96"/>
                  </a:lnTo>
                  <a:lnTo>
                    <a:pt x="382" y="87"/>
                  </a:lnTo>
                  <a:lnTo>
                    <a:pt x="456" y="79"/>
                  </a:lnTo>
                  <a:lnTo>
                    <a:pt x="534" y="70"/>
                  </a:lnTo>
                  <a:lnTo>
                    <a:pt x="613" y="60"/>
                  </a:lnTo>
                  <a:lnTo>
                    <a:pt x="693" y="51"/>
                  </a:lnTo>
                  <a:lnTo>
                    <a:pt x="772" y="41"/>
                  </a:lnTo>
                  <a:lnTo>
                    <a:pt x="847" y="33"/>
                  </a:lnTo>
                  <a:lnTo>
                    <a:pt x="917" y="24"/>
                  </a:lnTo>
                  <a:lnTo>
                    <a:pt x="981" y="17"/>
                  </a:lnTo>
                  <a:lnTo>
                    <a:pt x="1038" y="10"/>
                  </a:lnTo>
                  <a:lnTo>
                    <a:pt x="1086" y="5"/>
                  </a:lnTo>
                  <a:lnTo>
                    <a:pt x="1125" y="0"/>
                  </a:lnTo>
                  <a:lnTo>
                    <a:pt x="1135" y="0"/>
                  </a:lnTo>
                  <a:lnTo>
                    <a:pt x="1145" y="1"/>
                  </a:lnTo>
                  <a:lnTo>
                    <a:pt x="1155" y="3"/>
                  </a:lnTo>
                  <a:lnTo>
                    <a:pt x="1164" y="5"/>
                  </a:lnTo>
                  <a:lnTo>
                    <a:pt x="1174" y="10"/>
                  </a:lnTo>
                  <a:lnTo>
                    <a:pt x="1182" y="16"/>
                  </a:lnTo>
                  <a:lnTo>
                    <a:pt x="1189" y="21"/>
                  </a:lnTo>
                  <a:lnTo>
                    <a:pt x="1197" y="28"/>
                  </a:lnTo>
                  <a:lnTo>
                    <a:pt x="1204" y="37"/>
                  </a:lnTo>
                  <a:lnTo>
                    <a:pt x="1210" y="46"/>
                  </a:lnTo>
                  <a:lnTo>
                    <a:pt x="1215" y="56"/>
                  </a:lnTo>
                  <a:lnTo>
                    <a:pt x="1220" y="66"/>
                  </a:lnTo>
                  <a:lnTo>
                    <a:pt x="1223" y="77"/>
                  </a:lnTo>
                  <a:lnTo>
                    <a:pt x="1225" y="89"/>
                  </a:lnTo>
                  <a:lnTo>
                    <a:pt x="1227" y="102"/>
                  </a:lnTo>
                  <a:lnTo>
                    <a:pt x="1227" y="115"/>
                  </a:lnTo>
                  <a:lnTo>
                    <a:pt x="1227" y="663"/>
                  </a:lnTo>
                  <a:lnTo>
                    <a:pt x="1227" y="676"/>
                  </a:lnTo>
                  <a:lnTo>
                    <a:pt x="1225" y="688"/>
                  </a:lnTo>
                  <a:lnTo>
                    <a:pt x="1223" y="700"/>
                  </a:lnTo>
                  <a:lnTo>
                    <a:pt x="1220" y="712"/>
                  </a:lnTo>
                  <a:lnTo>
                    <a:pt x="1215" y="722"/>
                  </a:lnTo>
                  <a:lnTo>
                    <a:pt x="1210" y="734"/>
                  </a:lnTo>
                  <a:lnTo>
                    <a:pt x="1204" y="742"/>
                  </a:lnTo>
                  <a:lnTo>
                    <a:pt x="1197" y="752"/>
                  </a:lnTo>
                  <a:lnTo>
                    <a:pt x="1189" y="759"/>
                  </a:lnTo>
                  <a:lnTo>
                    <a:pt x="1182" y="767"/>
                  </a:lnTo>
                  <a:lnTo>
                    <a:pt x="1174" y="774"/>
                  </a:lnTo>
                  <a:lnTo>
                    <a:pt x="1164" y="779"/>
                  </a:lnTo>
                  <a:lnTo>
                    <a:pt x="1155" y="784"/>
                  </a:lnTo>
                  <a:lnTo>
                    <a:pt x="1145" y="787"/>
                  </a:lnTo>
                  <a:lnTo>
                    <a:pt x="1135" y="788"/>
                  </a:lnTo>
                  <a:lnTo>
                    <a:pt x="1125" y="788"/>
                  </a:lnTo>
                  <a:lnTo>
                    <a:pt x="1103" y="788"/>
                  </a:lnTo>
                  <a:lnTo>
                    <a:pt x="1103" y="1134"/>
                  </a:lnTo>
                  <a:lnTo>
                    <a:pt x="935" y="788"/>
                  </a:lnTo>
                  <a:lnTo>
                    <a:pt x="104" y="788"/>
                  </a:lnTo>
                  <a:lnTo>
                    <a:pt x="94" y="788"/>
                  </a:lnTo>
                  <a:lnTo>
                    <a:pt x="82" y="787"/>
                  </a:lnTo>
                  <a:lnTo>
                    <a:pt x="73" y="784"/>
                  </a:lnTo>
                  <a:lnTo>
                    <a:pt x="63" y="781"/>
                  </a:lnTo>
                  <a:lnTo>
                    <a:pt x="55" y="777"/>
                  </a:lnTo>
                  <a:lnTo>
                    <a:pt x="46" y="771"/>
                  </a:lnTo>
                  <a:lnTo>
                    <a:pt x="37" y="765"/>
                  </a:lnTo>
                  <a:lnTo>
                    <a:pt x="30" y="758"/>
                  </a:lnTo>
                  <a:lnTo>
                    <a:pt x="23" y="751"/>
                  </a:lnTo>
                  <a:lnTo>
                    <a:pt x="17" y="744"/>
                  </a:lnTo>
                  <a:lnTo>
                    <a:pt x="13" y="735"/>
                  </a:lnTo>
                  <a:lnTo>
                    <a:pt x="9" y="726"/>
                  </a:lnTo>
                  <a:lnTo>
                    <a:pt x="4" y="716"/>
                  </a:lnTo>
                  <a:lnTo>
                    <a:pt x="1" y="706"/>
                  </a:lnTo>
                  <a:lnTo>
                    <a:pt x="0" y="696"/>
                  </a:lnTo>
                  <a:lnTo>
                    <a:pt x="0" y="686"/>
                  </a:lnTo>
                  <a:lnTo>
                    <a:pt x="0" y="237"/>
                  </a:lnTo>
                  <a:lnTo>
                    <a:pt x="0" y="225"/>
                  </a:lnTo>
                  <a:lnTo>
                    <a:pt x="1" y="215"/>
                  </a:lnTo>
                  <a:lnTo>
                    <a:pt x="4" y="205"/>
                  </a:lnTo>
                  <a:lnTo>
                    <a:pt x="9" y="195"/>
                  </a:lnTo>
                  <a:lnTo>
                    <a:pt x="13" y="185"/>
                  </a:lnTo>
                  <a:lnTo>
                    <a:pt x="17" y="176"/>
                  </a:lnTo>
                  <a:lnTo>
                    <a:pt x="23" y="168"/>
                  </a:lnTo>
                  <a:lnTo>
                    <a:pt x="30" y="159"/>
                  </a:lnTo>
                  <a:lnTo>
                    <a:pt x="37" y="152"/>
                  </a:lnTo>
                  <a:lnTo>
                    <a:pt x="46" y="145"/>
                  </a:lnTo>
                  <a:lnTo>
                    <a:pt x="55" y="139"/>
                  </a:lnTo>
                  <a:lnTo>
                    <a:pt x="63" y="133"/>
                  </a:lnTo>
                  <a:lnTo>
                    <a:pt x="73" y="129"/>
                  </a:lnTo>
                  <a:lnTo>
                    <a:pt x="82" y="125"/>
                  </a:lnTo>
                  <a:lnTo>
                    <a:pt x="94" y="122"/>
                  </a:lnTo>
                  <a:lnTo>
                    <a:pt x="10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B8AA4E13-8F1E-EEDF-7C12-A003C0177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6350" y="1141413"/>
              <a:ext cx="914400" cy="274638"/>
            </a:xfrm>
            <a:custGeom>
              <a:avLst/>
              <a:gdLst>
                <a:gd name="T0" fmla="*/ 79 w 1728"/>
                <a:gd name="T1" fmla="*/ 357 h 519"/>
                <a:gd name="T2" fmla="*/ 16 w 1728"/>
                <a:gd name="T3" fmla="*/ 476 h 519"/>
                <a:gd name="T4" fmla="*/ 147 w 1728"/>
                <a:gd name="T5" fmla="*/ 517 h 519"/>
                <a:gd name="T6" fmla="*/ 240 w 1728"/>
                <a:gd name="T7" fmla="*/ 443 h 519"/>
                <a:gd name="T8" fmla="*/ 253 w 1728"/>
                <a:gd name="T9" fmla="*/ 364 h 519"/>
                <a:gd name="T10" fmla="*/ 147 w 1728"/>
                <a:gd name="T11" fmla="*/ 517 h 519"/>
                <a:gd name="T12" fmla="*/ 399 w 1728"/>
                <a:gd name="T13" fmla="*/ 517 h 519"/>
                <a:gd name="T14" fmla="*/ 393 w 1728"/>
                <a:gd name="T15" fmla="*/ 360 h 519"/>
                <a:gd name="T16" fmla="*/ 600 w 1728"/>
                <a:gd name="T17" fmla="*/ 518 h 519"/>
                <a:gd name="T18" fmla="*/ 567 w 1728"/>
                <a:gd name="T19" fmla="*/ 415 h 519"/>
                <a:gd name="T20" fmla="*/ 624 w 1728"/>
                <a:gd name="T21" fmla="*/ 392 h 519"/>
                <a:gd name="T22" fmla="*/ 541 w 1728"/>
                <a:gd name="T23" fmla="*/ 366 h 519"/>
                <a:gd name="T24" fmla="*/ 615 w 1728"/>
                <a:gd name="T25" fmla="*/ 465 h 519"/>
                <a:gd name="T26" fmla="*/ 527 w 1728"/>
                <a:gd name="T27" fmla="*/ 476 h 519"/>
                <a:gd name="T28" fmla="*/ 766 w 1728"/>
                <a:gd name="T29" fmla="*/ 517 h 519"/>
                <a:gd name="T30" fmla="*/ 880 w 1728"/>
                <a:gd name="T31" fmla="*/ 400 h 519"/>
                <a:gd name="T32" fmla="*/ 755 w 1728"/>
                <a:gd name="T33" fmla="*/ 504 h 519"/>
                <a:gd name="T34" fmla="*/ 900 w 1728"/>
                <a:gd name="T35" fmla="*/ 504 h 519"/>
                <a:gd name="T36" fmla="*/ 1012 w 1728"/>
                <a:gd name="T37" fmla="*/ 517 h 519"/>
                <a:gd name="T38" fmla="*/ 1032 w 1728"/>
                <a:gd name="T39" fmla="*/ 406 h 519"/>
                <a:gd name="T40" fmla="*/ 927 w 1728"/>
                <a:gd name="T41" fmla="*/ 380 h 519"/>
                <a:gd name="T42" fmla="*/ 949 w 1728"/>
                <a:gd name="T43" fmla="*/ 310 h 519"/>
                <a:gd name="T44" fmla="*/ 976 w 1728"/>
                <a:gd name="T45" fmla="*/ 340 h 519"/>
                <a:gd name="T46" fmla="*/ 1058 w 1728"/>
                <a:gd name="T47" fmla="*/ 508 h 519"/>
                <a:gd name="T48" fmla="*/ 1068 w 1728"/>
                <a:gd name="T49" fmla="*/ 354 h 519"/>
                <a:gd name="T50" fmla="*/ 1233 w 1728"/>
                <a:gd name="T51" fmla="*/ 511 h 519"/>
                <a:gd name="T52" fmla="*/ 1125 w 1728"/>
                <a:gd name="T53" fmla="*/ 357 h 519"/>
                <a:gd name="T54" fmla="*/ 1384 w 1728"/>
                <a:gd name="T55" fmla="*/ 491 h 519"/>
                <a:gd name="T56" fmla="*/ 1374 w 1728"/>
                <a:gd name="T57" fmla="*/ 374 h 519"/>
                <a:gd name="T58" fmla="*/ 1335 w 1728"/>
                <a:gd name="T59" fmla="*/ 382 h 519"/>
                <a:gd name="T60" fmla="*/ 1335 w 1728"/>
                <a:gd name="T61" fmla="*/ 448 h 519"/>
                <a:gd name="T62" fmla="*/ 1513 w 1728"/>
                <a:gd name="T63" fmla="*/ 515 h 519"/>
                <a:gd name="T64" fmla="*/ 1486 w 1728"/>
                <a:gd name="T65" fmla="*/ 351 h 519"/>
                <a:gd name="T66" fmla="*/ 1457 w 1728"/>
                <a:gd name="T67" fmla="*/ 515 h 519"/>
                <a:gd name="T68" fmla="*/ 1463 w 1728"/>
                <a:gd name="T69" fmla="*/ 383 h 519"/>
                <a:gd name="T70" fmla="*/ 1486 w 1728"/>
                <a:gd name="T71" fmla="*/ 494 h 519"/>
                <a:gd name="T72" fmla="*/ 1721 w 1728"/>
                <a:gd name="T73" fmla="*/ 356 h 519"/>
                <a:gd name="T74" fmla="*/ 1646 w 1728"/>
                <a:gd name="T75" fmla="*/ 492 h 519"/>
                <a:gd name="T76" fmla="*/ 1590 w 1728"/>
                <a:gd name="T77" fmla="*/ 360 h 519"/>
                <a:gd name="T78" fmla="*/ 69 w 1728"/>
                <a:gd name="T79" fmla="*/ 261 h 519"/>
                <a:gd name="T80" fmla="*/ 287 w 1728"/>
                <a:gd name="T81" fmla="*/ 268 h 519"/>
                <a:gd name="T82" fmla="*/ 118 w 1728"/>
                <a:gd name="T83" fmla="*/ 15 h 519"/>
                <a:gd name="T84" fmla="*/ 347 w 1728"/>
                <a:gd name="T85" fmla="*/ 271 h 519"/>
                <a:gd name="T86" fmla="*/ 593 w 1728"/>
                <a:gd name="T87" fmla="*/ 247 h 519"/>
                <a:gd name="T88" fmla="*/ 416 w 1728"/>
                <a:gd name="T89" fmla="*/ 163 h 519"/>
                <a:gd name="T90" fmla="*/ 802 w 1728"/>
                <a:gd name="T91" fmla="*/ 194 h 519"/>
                <a:gd name="T92" fmla="*/ 965 w 1728"/>
                <a:gd name="T93" fmla="*/ 37 h 519"/>
                <a:gd name="T94" fmla="*/ 791 w 1728"/>
                <a:gd name="T95" fmla="*/ 5 h 519"/>
                <a:gd name="T96" fmla="*/ 1210 w 1728"/>
                <a:gd name="T97" fmla="*/ 248 h 519"/>
                <a:gd name="T98" fmla="*/ 1251 w 1728"/>
                <a:gd name="T99" fmla="*/ 73 h 519"/>
                <a:gd name="T100" fmla="*/ 1070 w 1728"/>
                <a:gd name="T101" fmla="*/ 10 h 519"/>
                <a:gd name="T102" fmla="*/ 991 w 1728"/>
                <a:gd name="T103" fmla="*/ 171 h 519"/>
                <a:gd name="T104" fmla="*/ 1126 w 1728"/>
                <a:gd name="T105" fmla="*/ 231 h 519"/>
                <a:gd name="T106" fmla="*/ 1037 w 1728"/>
                <a:gd name="T107" fmla="*/ 117 h 519"/>
                <a:gd name="T108" fmla="*/ 1171 w 1728"/>
                <a:gd name="T109" fmla="*/ 54 h 519"/>
                <a:gd name="T110" fmla="*/ 1197 w 1728"/>
                <a:gd name="T111" fmla="*/ 196 h 519"/>
                <a:gd name="T112" fmla="*/ 1480 w 1728"/>
                <a:gd name="T113" fmla="*/ 270 h 519"/>
                <a:gd name="T114" fmla="*/ 1331 w 1728"/>
                <a:gd name="T115" fmla="*/ 1 h 519"/>
                <a:gd name="T116" fmla="*/ 1722 w 1728"/>
                <a:gd name="T117" fmla="*/ 234 h 519"/>
                <a:gd name="T118" fmla="*/ 1572 w 1728"/>
                <a:gd name="T119" fmla="*/ 115 h 519"/>
                <a:gd name="T120" fmla="*/ 1529 w 1728"/>
                <a:gd name="T121" fmla="*/ 15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28" h="519">
                  <a:moveTo>
                    <a:pt x="49" y="519"/>
                  </a:moveTo>
                  <a:lnTo>
                    <a:pt x="60" y="518"/>
                  </a:lnTo>
                  <a:lnTo>
                    <a:pt x="72" y="515"/>
                  </a:lnTo>
                  <a:lnTo>
                    <a:pt x="81" y="511"/>
                  </a:lnTo>
                  <a:lnTo>
                    <a:pt x="89" y="505"/>
                  </a:lnTo>
                  <a:lnTo>
                    <a:pt x="95" y="496"/>
                  </a:lnTo>
                  <a:lnTo>
                    <a:pt x="99" y="486"/>
                  </a:lnTo>
                  <a:lnTo>
                    <a:pt x="102" y="475"/>
                  </a:lnTo>
                  <a:lnTo>
                    <a:pt x="104" y="462"/>
                  </a:lnTo>
                  <a:lnTo>
                    <a:pt x="104" y="367"/>
                  </a:lnTo>
                  <a:lnTo>
                    <a:pt x="104" y="364"/>
                  </a:lnTo>
                  <a:lnTo>
                    <a:pt x="102" y="360"/>
                  </a:lnTo>
                  <a:lnTo>
                    <a:pt x="99" y="357"/>
                  </a:lnTo>
                  <a:lnTo>
                    <a:pt x="96" y="356"/>
                  </a:lnTo>
                  <a:lnTo>
                    <a:pt x="94" y="354"/>
                  </a:lnTo>
                  <a:lnTo>
                    <a:pt x="89" y="353"/>
                  </a:lnTo>
                  <a:lnTo>
                    <a:pt x="86" y="354"/>
                  </a:lnTo>
                  <a:lnTo>
                    <a:pt x="82" y="356"/>
                  </a:lnTo>
                  <a:lnTo>
                    <a:pt x="79" y="357"/>
                  </a:lnTo>
                  <a:lnTo>
                    <a:pt x="78" y="360"/>
                  </a:lnTo>
                  <a:lnTo>
                    <a:pt x="76" y="364"/>
                  </a:lnTo>
                  <a:lnTo>
                    <a:pt x="75" y="367"/>
                  </a:lnTo>
                  <a:lnTo>
                    <a:pt x="75" y="461"/>
                  </a:lnTo>
                  <a:lnTo>
                    <a:pt x="75" y="471"/>
                  </a:lnTo>
                  <a:lnTo>
                    <a:pt x="72" y="479"/>
                  </a:lnTo>
                  <a:lnTo>
                    <a:pt x="68" y="485"/>
                  </a:lnTo>
                  <a:lnTo>
                    <a:pt x="63" y="489"/>
                  </a:lnTo>
                  <a:lnTo>
                    <a:pt x="56" y="492"/>
                  </a:lnTo>
                  <a:lnTo>
                    <a:pt x="49" y="492"/>
                  </a:lnTo>
                  <a:lnTo>
                    <a:pt x="43" y="492"/>
                  </a:lnTo>
                  <a:lnTo>
                    <a:pt x="39" y="491"/>
                  </a:lnTo>
                  <a:lnTo>
                    <a:pt x="35" y="489"/>
                  </a:lnTo>
                  <a:lnTo>
                    <a:pt x="30" y="486"/>
                  </a:lnTo>
                  <a:lnTo>
                    <a:pt x="26" y="484"/>
                  </a:lnTo>
                  <a:lnTo>
                    <a:pt x="23" y="481"/>
                  </a:lnTo>
                  <a:lnTo>
                    <a:pt x="20" y="479"/>
                  </a:lnTo>
                  <a:lnTo>
                    <a:pt x="19" y="478"/>
                  </a:lnTo>
                  <a:lnTo>
                    <a:pt x="16" y="476"/>
                  </a:lnTo>
                  <a:lnTo>
                    <a:pt x="13" y="476"/>
                  </a:lnTo>
                  <a:lnTo>
                    <a:pt x="10" y="478"/>
                  </a:lnTo>
                  <a:lnTo>
                    <a:pt x="7" y="479"/>
                  </a:lnTo>
                  <a:lnTo>
                    <a:pt x="4" y="481"/>
                  </a:lnTo>
                  <a:lnTo>
                    <a:pt x="1" y="484"/>
                  </a:lnTo>
                  <a:lnTo>
                    <a:pt x="0" y="486"/>
                  </a:lnTo>
                  <a:lnTo>
                    <a:pt x="0" y="491"/>
                  </a:lnTo>
                  <a:lnTo>
                    <a:pt x="0" y="494"/>
                  </a:lnTo>
                  <a:lnTo>
                    <a:pt x="1" y="496"/>
                  </a:lnTo>
                  <a:lnTo>
                    <a:pt x="3" y="499"/>
                  </a:lnTo>
                  <a:lnTo>
                    <a:pt x="4" y="501"/>
                  </a:lnTo>
                  <a:lnTo>
                    <a:pt x="10" y="507"/>
                  </a:lnTo>
                  <a:lnTo>
                    <a:pt x="16" y="511"/>
                  </a:lnTo>
                  <a:lnTo>
                    <a:pt x="23" y="514"/>
                  </a:lnTo>
                  <a:lnTo>
                    <a:pt x="32" y="517"/>
                  </a:lnTo>
                  <a:lnTo>
                    <a:pt x="40" y="518"/>
                  </a:lnTo>
                  <a:lnTo>
                    <a:pt x="49" y="519"/>
                  </a:lnTo>
                  <a:close/>
                  <a:moveTo>
                    <a:pt x="147" y="517"/>
                  </a:moveTo>
                  <a:lnTo>
                    <a:pt x="147" y="517"/>
                  </a:lnTo>
                  <a:lnTo>
                    <a:pt x="243" y="517"/>
                  </a:lnTo>
                  <a:lnTo>
                    <a:pt x="246" y="517"/>
                  </a:lnTo>
                  <a:lnTo>
                    <a:pt x="249" y="515"/>
                  </a:lnTo>
                  <a:lnTo>
                    <a:pt x="252" y="512"/>
                  </a:lnTo>
                  <a:lnTo>
                    <a:pt x="253" y="511"/>
                  </a:lnTo>
                  <a:lnTo>
                    <a:pt x="255" y="508"/>
                  </a:lnTo>
                  <a:lnTo>
                    <a:pt x="255" y="504"/>
                  </a:lnTo>
                  <a:lnTo>
                    <a:pt x="255" y="501"/>
                  </a:lnTo>
                  <a:lnTo>
                    <a:pt x="253" y="498"/>
                  </a:lnTo>
                  <a:lnTo>
                    <a:pt x="252" y="495"/>
                  </a:lnTo>
                  <a:lnTo>
                    <a:pt x="249" y="494"/>
                  </a:lnTo>
                  <a:lnTo>
                    <a:pt x="246" y="492"/>
                  </a:lnTo>
                  <a:lnTo>
                    <a:pt x="243" y="491"/>
                  </a:lnTo>
                  <a:lnTo>
                    <a:pt x="161" y="491"/>
                  </a:lnTo>
                  <a:lnTo>
                    <a:pt x="161" y="448"/>
                  </a:lnTo>
                  <a:lnTo>
                    <a:pt x="230" y="448"/>
                  </a:lnTo>
                  <a:lnTo>
                    <a:pt x="235" y="448"/>
                  </a:lnTo>
                  <a:lnTo>
                    <a:pt x="238" y="446"/>
                  </a:lnTo>
                  <a:lnTo>
                    <a:pt x="240" y="443"/>
                  </a:lnTo>
                  <a:lnTo>
                    <a:pt x="242" y="442"/>
                  </a:lnTo>
                  <a:lnTo>
                    <a:pt x="243" y="439"/>
                  </a:lnTo>
                  <a:lnTo>
                    <a:pt x="243" y="435"/>
                  </a:lnTo>
                  <a:lnTo>
                    <a:pt x="243" y="432"/>
                  </a:lnTo>
                  <a:lnTo>
                    <a:pt x="242" y="429"/>
                  </a:lnTo>
                  <a:lnTo>
                    <a:pt x="240" y="426"/>
                  </a:lnTo>
                  <a:lnTo>
                    <a:pt x="238" y="425"/>
                  </a:lnTo>
                  <a:lnTo>
                    <a:pt x="235" y="423"/>
                  </a:lnTo>
                  <a:lnTo>
                    <a:pt x="230" y="422"/>
                  </a:lnTo>
                  <a:lnTo>
                    <a:pt x="161" y="422"/>
                  </a:lnTo>
                  <a:lnTo>
                    <a:pt x="161" y="380"/>
                  </a:lnTo>
                  <a:lnTo>
                    <a:pt x="242" y="380"/>
                  </a:lnTo>
                  <a:lnTo>
                    <a:pt x="245" y="380"/>
                  </a:lnTo>
                  <a:lnTo>
                    <a:pt x="248" y="379"/>
                  </a:lnTo>
                  <a:lnTo>
                    <a:pt x="251" y="376"/>
                  </a:lnTo>
                  <a:lnTo>
                    <a:pt x="252" y="374"/>
                  </a:lnTo>
                  <a:lnTo>
                    <a:pt x="253" y="372"/>
                  </a:lnTo>
                  <a:lnTo>
                    <a:pt x="255" y="367"/>
                  </a:lnTo>
                  <a:lnTo>
                    <a:pt x="253" y="364"/>
                  </a:lnTo>
                  <a:lnTo>
                    <a:pt x="252" y="362"/>
                  </a:lnTo>
                  <a:lnTo>
                    <a:pt x="251" y="359"/>
                  </a:lnTo>
                  <a:lnTo>
                    <a:pt x="248" y="356"/>
                  </a:lnTo>
                  <a:lnTo>
                    <a:pt x="245" y="356"/>
                  </a:lnTo>
                  <a:lnTo>
                    <a:pt x="242" y="354"/>
                  </a:lnTo>
                  <a:lnTo>
                    <a:pt x="147" y="354"/>
                  </a:lnTo>
                  <a:lnTo>
                    <a:pt x="143" y="356"/>
                  </a:lnTo>
                  <a:lnTo>
                    <a:pt x="140" y="357"/>
                  </a:lnTo>
                  <a:lnTo>
                    <a:pt x="137" y="359"/>
                  </a:lnTo>
                  <a:lnTo>
                    <a:pt x="134" y="362"/>
                  </a:lnTo>
                  <a:lnTo>
                    <a:pt x="132" y="366"/>
                  </a:lnTo>
                  <a:lnTo>
                    <a:pt x="132" y="369"/>
                  </a:lnTo>
                  <a:lnTo>
                    <a:pt x="132" y="502"/>
                  </a:lnTo>
                  <a:lnTo>
                    <a:pt x="132" y="507"/>
                  </a:lnTo>
                  <a:lnTo>
                    <a:pt x="134" y="509"/>
                  </a:lnTo>
                  <a:lnTo>
                    <a:pt x="137" y="512"/>
                  </a:lnTo>
                  <a:lnTo>
                    <a:pt x="140" y="515"/>
                  </a:lnTo>
                  <a:lnTo>
                    <a:pt x="143" y="517"/>
                  </a:lnTo>
                  <a:lnTo>
                    <a:pt x="147" y="517"/>
                  </a:lnTo>
                  <a:close/>
                  <a:moveTo>
                    <a:pt x="278" y="504"/>
                  </a:moveTo>
                  <a:lnTo>
                    <a:pt x="278" y="504"/>
                  </a:lnTo>
                  <a:lnTo>
                    <a:pt x="278" y="508"/>
                  </a:lnTo>
                  <a:lnTo>
                    <a:pt x="279" y="511"/>
                  </a:lnTo>
                  <a:lnTo>
                    <a:pt x="282" y="514"/>
                  </a:lnTo>
                  <a:lnTo>
                    <a:pt x="285" y="517"/>
                  </a:lnTo>
                  <a:lnTo>
                    <a:pt x="288" y="517"/>
                  </a:lnTo>
                  <a:lnTo>
                    <a:pt x="292" y="518"/>
                  </a:lnTo>
                  <a:lnTo>
                    <a:pt x="295" y="517"/>
                  </a:lnTo>
                  <a:lnTo>
                    <a:pt x="300" y="517"/>
                  </a:lnTo>
                  <a:lnTo>
                    <a:pt x="302" y="514"/>
                  </a:lnTo>
                  <a:lnTo>
                    <a:pt x="304" y="511"/>
                  </a:lnTo>
                  <a:lnTo>
                    <a:pt x="305" y="508"/>
                  </a:lnTo>
                  <a:lnTo>
                    <a:pt x="305" y="504"/>
                  </a:lnTo>
                  <a:lnTo>
                    <a:pt x="305" y="402"/>
                  </a:lnTo>
                  <a:lnTo>
                    <a:pt x="389" y="509"/>
                  </a:lnTo>
                  <a:lnTo>
                    <a:pt x="392" y="512"/>
                  </a:lnTo>
                  <a:lnTo>
                    <a:pt x="396" y="515"/>
                  </a:lnTo>
                  <a:lnTo>
                    <a:pt x="399" y="517"/>
                  </a:lnTo>
                  <a:lnTo>
                    <a:pt x="405" y="518"/>
                  </a:lnTo>
                  <a:lnTo>
                    <a:pt x="405" y="518"/>
                  </a:lnTo>
                  <a:lnTo>
                    <a:pt x="409" y="517"/>
                  </a:lnTo>
                  <a:lnTo>
                    <a:pt x="412" y="515"/>
                  </a:lnTo>
                  <a:lnTo>
                    <a:pt x="415" y="514"/>
                  </a:lnTo>
                  <a:lnTo>
                    <a:pt x="418" y="511"/>
                  </a:lnTo>
                  <a:lnTo>
                    <a:pt x="419" y="507"/>
                  </a:lnTo>
                  <a:lnTo>
                    <a:pt x="419" y="504"/>
                  </a:lnTo>
                  <a:lnTo>
                    <a:pt x="419" y="367"/>
                  </a:lnTo>
                  <a:lnTo>
                    <a:pt x="419" y="364"/>
                  </a:lnTo>
                  <a:lnTo>
                    <a:pt x="418" y="360"/>
                  </a:lnTo>
                  <a:lnTo>
                    <a:pt x="415" y="357"/>
                  </a:lnTo>
                  <a:lnTo>
                    <a:pt x="412" y="356"/>
                  </a:lnTo>
                  <a:lnTo>
                    <a:pt x="409" y="354"/>
                  </a:lnTo>
                  <a:lnTo>
                    <a:pt x="405" y="353"/>
                  </a:lnTo>
                  <a:lnTo>
                    <a:pt x="402" y="354"/>
                  </a:lnTo>
                  <a:lnTo>
                    <a:pt x="397" y="356"/>
                  </a:lnTo>
                  <a:lnTo>
                    <a:pt x="396" y="357"/>
                  </a:lnTo>
                  <a:lnTo>
                    <a:pt x="393" y="360"/>
                  </a:lnTo>
                  <a:lnTo>
                    <a:pt x="392" y="364"/>
                  </a:lnTo>
                  <a:lnTo>
                    <a:pt x="392" y="367"/>
                  </a:lnTo>
                  <a:lnTo>
                    <a:pt x="392" y="466"/>
                  </a:lnTo>
                  <a:lnTo>
                    <a:pt x="310" y="362"/>
                  </a:lnTo>
                  <a:lnTo>
                    <a:pt x="307" y="359"/>
                  </a:lnTo>
                  <a:lnTo>
                    <a:pt x="304" y="356"/>
                  </a:lnTo>
                  <a:lnTo>
                    <a:pt x="300" y="354"/>
                  </a:lnTo>
                  <a:lnTo>
                    <a:pt x="295" y="354"/>
                  </a:lnTo>
                  <a:lnTo>
                    <a:pt x="292" y="354"/>
                  </a:lnTo>
                  <a:lnTo>
                    <a:pt x="288" y="354"/>
                  </a:lnTo>
                  <a:lnTo>
                    <a:pt x="285" y="356"/>
                  </a:lnTo>
                  <a:lnTo>
                    <a:pt x="282" y="359"/>
                  </a:lnTo>
                  <a:lnTo>
                    <a:pt x="279" y="362"/>
                  </a:lnTo>
                  <a:lnTo>
                    <a:pt x="278" y="364"/>
                  </a:lnTo>
                  <a:lnTo>
                    <a:pt x="278" y="369"/>
                  </a:lnTo>
                  <a:lnTo>
                    <a:pt x="278" y="504"/>
                  </a:lnTo>
                  <a:close/>
                  <a:moveTo>
                    <a:pt x="588" y="519"/>
                  </a:moveTo>
                  <a:lnTo>
                    <a:pt x="588" y="519"/>
                  </a:lnTo>
                  <a:lnTo>
                    <a:pt x="600" y="518"/>
                  </a:lnTo>
                  <a:lnTo>
                    <a:pt x="611" y="515"/>
                  </a:lnTo>
                  <a:lnTo>
                    <a:pt x="621" y="512"/>
                  </a:lnTo>
                  <a:lnTo>
                    <a:pt x="629" y="507"/>
                  </a:lnTo>
                  <a:lnTo>
                    <a:pt x="636" y="499"/>
                  </a:lnTo>
                  <a:lnTo>
                    <a:pt x="641" y="491"/>
                  </a:lnTo>
                  <a:lnTo>
                    <a:pt x="644" y="481"/>
                  </a:lnTo>
                  <a:lnTo>
                    <a:pt x="645" y="471"/>
                  </a:lnTo>
                  <a:lnTo>
                    <a:pt x="645" y="471"/>
                  </a:lnTo>
                  <a:lnTo>
                    <a:pt x="645" y="461"/>
                  </a:lnTo>
                  <a:lnTo>
                    <a:pt x="642" y="452"/>
                  </a:lnTo>
                  <a:lnTo>
                    <a:pt x="638" y="446"/>
                  </a:lnTo>
                  <a:lnTo>
                    <a:pt x="632" y="439"/>
                  </a:lnTo>
                  <a:lnTo>
                    <a:pt x="625" y="435"/>
                  </a:lnTo>
                  <a:lnTo>
                    <a:pt x="616" y="430"/>
                  </a:lnTo>
                  <a:lnTo>
                    <a:pt x="606" y="426"/>
                  </a:lnTo>
                  <a:lnTo>
                    <a:pt x="593" y="423"/>
                  </a:lnTo>
                  <a:lnTo>
                    <a:pt x="583" y="420"/>
                  </a:lnTo>
                  <a:lnTo>
                    <a:pt x="575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59" y="409"/>
                  </a:lnTo>
                  <a:lnTo>
                    <a:pt x="556" y="406"/>
                  </a:lnTo>
                  <a:lnTo>
                    <a:pt x="556" y="402"/>
                  </a:lnTo>
                  <a:lnTo>
                    <a:pt x="554" y="397"/>
                  </a:lnTo>
                  <a:lnTo>
                    <a:pt x="554" y="397"/>
                  </a:lnTo>
                  <a:lnTo>
                    <a:pt x="556" y="392"/>
                  </a:lnTo>
                  <a:lnTo>
                    <a:pt x="557" y="387"/>
                  </a:lnTo>
                  <a:lnTo>
                    <a:pt x="562" y="383"/>
                  </a:lnTo>
                  <a:lnTo>
                    <a:pt x="567" y="380"/>
                  </a:lnTo>
                  <a:lnTo>
                    <a:pt x="573" y="379"/>
                  </a:lnTo>
                  <a:lnTo>
                    <a:pt x="582" y="377"/>
                  </a:lnTo>
                  <a:lnTo>
                    <a:pt x="590" y="379"/>
                  </a:lnTo>
                  <a:lnTo>
                    <a:pt x="600" y="380"/>
                  </a:lnTo>
                  <a:lnTo>
                    <a:pt x="609" y="384"/>
                  </a:lnTo>
                  <a:lnTo>
                    <a:pt x="619" y="390"/>
                  </a:lnTo>
                  <a:lnTo>
                    <a:pt x="621" y="390"/>
                  </a:lnTo>
                  <a:lnTo>
                    <a:pt x="622" y="392"/>
                  </a:lnTo>
                  <a:lnTo>
                    <a:pt x="624" y="392"/>
                  </a:lnTo>
                  <a:lnTo>
                    <a:pt x="626" y="392"/>
                  </a:lnTo>
                  <a:lnTo>
                    <a:pt x="629" y="392"/>
                  </a:lnTo>
                  <a:lnTo>
                    <a:pt x="632" y="390"/>
                  </a:lnTo>
                  <a:lnTo>
                    <a:pt x="635" y="389"/>
                  </a:lnTo>
                  <a:lnTo>
                    <a:pt x="638" y="386"/>
                  </a:lnTo>
                  <a:lnTo>
                    <a:pt x="639" y="382"/>
                  </a:lnTo>
                  <a:lnTo>
                    <a:pt x="639" y="379"/>
                  </a:lnTo>
                  <a:lnTo>
                    <a:pt x="639" y="374"/>
                  </a:lnTo>
                  <a:lnTo>
                    <a:pt x="638" y="372"/>
                  </a:lnTo>
                  <a:lnTo>
                    <a:pt x="635" y="369"/>
                  </a:lnTo>
                  <a:lnTo>
                    <a:pt x="634" y="367"/>
                  </a:lnTo>
                  <a:lnTo>
                    <a:pt x="622" y="362"/>
                  </a:lnTo>
                  <a:lnTo>
                    <a:pt x="609" y="356"/>
                  </a:lnTo>
                  <a:lnTo>
                    <a:pt x="596" y="353"/>
                  </a:lnTo>
                  <a:lnTo>
                    <a:pt x="582" y="353"/>
                  </a:lnTo>
                  <a:lnTo>
                    <a:pt x="570" y="353"/>
                  </a:lnTo>
                  <a:lnTo>
                    <a:pt x="559" y="356"/>
                  </a:lnTo>
                  <a:lnTo>
                    <a:pt x="550" y="360"/>
                  </a:lnTo>
                  <a:lnTo>
                    <a:pt x="541" y="366"/>
                  </a:lnTo>
                  <a:lnTo>
                    <a:pt x="536" y="372"/>
                  </a:lnTo>
                  <a:lnTo>
                    <a:pt x="530" y="380"/>
                  </a:lnTo>
                  <a:lnTo>
                    <a:pt x="527" y="389"/>
                  </a:lnTo>
                  <a:lnTo>
                    <a:pt x="526" y="399"/>
                  </a:lnTo>
                  <a:lnTo>
                    <a:pt x="526" y="400"/>
                  </a:lnTo>
                  <a:lnTo>
                    <a:pt x="527" y="410"/>
                  </a:lnTo>
                  <a:lnTo>
                    <a:pt x="530" y="419"/>
                  </a:lnTo>
                  <a:lnTo>
                    <a:pt x="534" y="426"/>
                  </a:lnTo>
                  <a:lnTo>
                    <a:pt x="540" y="432"/>
                  </a:lnTo>
                  <a:lnTo>
                    <a:pt x="549" y="438"/>
                  </a:lnTo>
                  <a:lnTo>
                    <a:pt x="557" y="442"/>
                  </a:lnTo>
                  <a:lnTo>
                    <a:pt x="567" y="445"/>
                  </a:lnTo>
                  <a:lnTo>
                    <a:pt x="580" y="448"/>
                  </a:lnTo>
                  <a:lnTo>
                    <a:pt x="590" y="451"/>
                  </a:lnTo>
                  <a:lnTo>
                    <a:pt x="599" y="453"/>
                  </a:lnTo>
                  <a:lnTo>
                    <a:pt x="605" y="456"/>
                  </a:lnTo>
                  <a:lnTo>
                    <a:pt x="611" y="459"/>
                  </a:lnTo>
                  <a:lnTo>
                    <a:pt x="613" y="462"/>
                  </a:lnTo>
                  <a:lnTo>
                    <a:pt x="615" y="465"/>
                  </a:lnTo>
                  <a:lnTo>
                    <a:pt x="616" y="469"/>
                  </a:lnTo>
                  <a:lnTo>
                    <a:pt x="616" y="474"/>
                  </a:lnTo>
                  <a:lnTo>
                    <a:pt x="616" y="474"/>
                  </a:lnTo>
                  <a:lnTo>
                    <a:pt x="616" y="479"/>
                  </a:lnTo>
                  <a:lnTo>
                    <a:pt x="613" y="484"/>
                  </a:lnTo>
                  <a:lnTo>
                    <a:pt x="609" y="488"/>
                  </a:lnTo>
                  <a:lnTo>
                    <a:pt x="603" y="491"/>
                  </a:lnTo>
                  <a:lnTo>
                    <a:pt x="596" y="494"/>
                  </a:lnTo>
                  <a:lnTo>
                    <a:pt x="588" y="494"/>
                  </a:lnTo>
                  <a:lnTo>
                    <a:pt x="576" y="492"/>
                  </a:lnTo>
                  <a:lnTo>
                    <a:pt x="564" y="489"/>
                  </a:lnTo>
                  <a:lnTo>
                    <a:pt x="553" y="484"/>
                  </a:lnTo>
                  <a:lnTo>
                    <a:pt x="543" y="476"/>
                  </a:lnTo>
                  <a:lnTo>
                    <a:pt x="541" y="476"/>
                  </a:lnTo>
                  <a:lnTo>
                    <a:pt x="539" y="475"/>
                  </a:lnTo>
                  <a:lnTo>
                    <a:pt x="537" y="475"/>
                  </a:lnTo>
                  <a:lnTo>
                    <a:pt x="534" y="475"/>
                  </a:lnTo>
                  <a:lnTo>
                    <a:pt x="531" y="475"/>
                  </a:lnTo>
                  <a:lnTo>
                    <a:pt x="527" y="476"/>
                  </a:lnTo>
                  <a:lnTo>
                    <a:pt x="524" y="478"/>
                  </a:lnTo>
                  <a:lnTo>
                    <a:pt x="523" y="481"/>
                  </a:lnTo>
                  <a:lnTo>
                    <a:pt x="521" y="484"/>
                  </a:lnTo>
                  <a:lnTo>
                    <a:pt x="521" y="488"/>
                  </a:lnTo>
                  <a:lnTo>
                    <a:pt x="521" y="491"/>
                  </a:lnTo>
                  <a:lnTo>
                    <a:pt x="523" y="494"/>
                  </a:lnTo>
                  <a:lnTo>
                    <a:pt x="524" y="496"/>
                  </a:lnTo>
                  <a:lnTo>
                    <a:pt x="527" y="498"/>
                  </a:lnTo>
                  <a:lnTo>
                    <a:pt x="540" y="508"/>
                  </a:lnTo>
                  <a:lnTo>
                    <a:pt x="556" y="514"/>
                  </a:lnTo>
                  <a:lnTo>
                    <a:pt x="572" y="518"/>
                  </a:lnTo>
                  <a:lnTo>
                    <a:pt x="588" y="519"/>
                  </a:lnTo>
                  <a:close/>
                  <a:moveTo>
                    <a:pt x="755" y="504"/>
                  </a:moveTo>
                  <a:lnTo>
                    <a:pt x="755" y="504"/>
                  </a:lnTo>
                  <a:lnTo>
                    <a:pt x="756" y="508"/>
                  </a:lnTo>
                  <a:lnTo>
                    <a:pt x="757" y="511"/>
                  </a:lnTo>
                  <a:lnTo>
                    <a:pt x="759" y="514"/>
                  </a:lnTo>
                  <a:lnTo>
                    <a:pt x="762" y="515"/>
                  </a:lnTo>
                  <a:lnTo>
                    <a:pt x="766" y="517"/>
                  </a:lnTo>
                  <a:lnTo>
                    <a:pt x="769" y="518"/>
                  </a:lnTo>
                  <a:lnTo>
                    <a:pt x="773" y="517"/>
                  </a:lnTo>
                  <a:lnTo>
                    <a:pt x="776" y="515"/>
                  </a:lnTo>
                  <a:lnTo>
                    <a:pt x="779" y="514"/>
                  </a:lnTo>
                  <a:lnTo>
                    <a:pt x="782" y="511"/>
                  </a:lnTo>
                  <a:lnTo>
                    <a:pt x="783" y="508"/>
                  </a:lnTo>
                  <a:lnTo>
                    <a:pt x="783" y="504"/>
                  </a:lnTo>
                  <a:lnTo>
                    <a:pt x="783" y="465"/>
                  </a:lnTo>
                  <a:lnTo>
                    <a:pt x="816" y="465"/>
                  </a:lnTo>
                  <a:lnTo>
                    <a:pt x="829" y="463"/>
                  </a:lnTo>
                  <a:lnTo>
                    <a:pt x="841" y="461"/>
                  </a:lnTo>
                  <a:lnTo>
                    <a:pt x="852" y="456"/>
                  </a:lnTo>
                  <a:lnTo>
                    <a:pt x="861" y="451"/>
                  </a:lnTo>
                  <a:lnTo>
                    <a:pt x="870" y="443"/>
                  </a:lnTo>
                  <a:lnTo>
                    <a:pt x="876" y="433"/>
                  </a:lnTo>
                  <a:lnTo>
                    <a:pt x="880" y="422"/>
                  </a:lnTo>
                  <a:lnTo>
                    <a:pt x="881" y="409"/>
                  </a:lnTo>
                  <a:lnTo>
                    <a:pt x="881" y="409"/>
                  </a:lnTo>
                  <a:lnTo>
                    <a:pt x="880" y="400"/>
                  </a:lnTo>
                  <a:lnTo>
                    <a:pt x="878" y="393"/>
                  </a:lnTo>
                  <a:lnTo>
                    <a:pt x="877" y="386"/>
                  </a:lnTo>
                  <a:lnTo>
                    <a:pt x="873" y="380"/>
                  </a:lnTo>
                  <a:lnTo>
                    <a:pt x="870" y="374"/>
                  </a:lnTo>
                  <a:lnTo>
                    <a:pt x="864" y="370"/>
                  </a:lnTo>
                  <a:lnTo>
                    <a:pt x="858" y="366"/>
                  </a:lnTo>
                  <a:lnTo>
                    <a:pt x="852" y="362"/>
                  </a:lnTo>
                  <a:lnTo>
                    <a:pt x="845" y="359"/>
                  </a:lnTo>
                  <a:lnTo>
                    <a:pt x="837" y="356"/>
                  </a:lnTo>
                  <a:lnTo>
                    <a:pt x="828" y="356"/>
                  </a:lnTo>
                  <a:lnTo>
                    <a:pt x="819" y="354"/>
                  </a:lnTo>
                  <a:lnTo>
                    <a:pt x="769" y="354"/>
                  </a:lnTo>
                  <a:lnTo>
                    <a:pt x="766" y="356"/>
                  </a:lnTo>
                  <a:lnTo>
                    <a:pt x="762" y="357"/>
                  </a:lnTo>
                  <a:lnTo>
                    <a:pt x="759" y="359"/>
                  </a:lnTo>
                  <a:lnTo>
                    <a:pt x="757" y="362"/>
                  </a:lnTo>
                  <a:lnTo>
                    <a:pt x="756" y="366"/>
                  </a:lnTo>
                  <a:lnTo>
                    <a:pt x="755" y="369"/>
                  </a:lnTo>
                  <a:lnTo>
                    <a:pt x="755" y="504"/>
                  </a:lnTo>
                  <a:close/>
                  <a:moveTo>
                    <a:pt x="783" y="439"/>
                  </a:moveTo>
                  <a:lnTo>
                    <a:pt x="783" y="439"/>
                  </a:lnTo>
                  <a:lnTo>
                    <a:pt x="783" y="380"/>
                  </a:lnTo>
                  <a:lnTo>
                    <a:pt x="816" y="380"/>
                  </a:lnTo>
                  <a:lnTo>
                    <a:pt x="827" y="382"/>
                  </a:lnTo>
                  <a:lnTo>
                    <a:pt x="835" y="384"/>
                  </a:lnTo>
                  <a:lnTo>
                    <a:pt x="842" y="387"/>
                  </a:lnTo>
                  <a:lnTo>
                    <a:pt x="847" y="393"/>
                  </a:lnTo>
                  <a:lnTo>
                    <a:pt x="851" y="400"/>
                  </a:lnTo>
                  <a:lnTo>
                    <a:pt x="851" y="409"/>
                  </a:lnTo>
                  <a:lnTo>
                    <a:pt x="851" y="410"/>
                  </a:lnTo>
                  <a:lnTo>
                    <a:pt x="851" y="418"/>
                  </a:lnTo>
                  <a:lnTo>
                    <a:pt x="848" y="425"/>
                  </a:lnTo>
                  <a:lnTo>
                    <a:pt x="842" y="430"/>
                  </a:lnTo>
                  <a:lnTo>
                    <a:pt x="835" y="435"/>
                  </a:lnTo>
                  <a:lnTo>
                    <a:pt x="827" y="438"/>
                  </a:lnTo>
                  <a:lnTo>
                    <a:pt x="816" y="439"/>
                  </a:lnTo>
                  <a:lnTo>
                    <a:pt x="783" y="439"/>
                  </a:lnTo>
                  <a:close/>
                  <a:moveTo>
                    <a:pt x="900" y="504"/>
                  </a:moveTo>
                  <a:lnTo>
                    <a:pt x="900" y="504"/>
                  </a:lnTo>
                  <a:lnTo>
                    <a:pt x="900" y="508"/>
                  </a:lnTo>
                  <a:lnTo>
                    <a:pt x="901" y="511"/>
                  </a:lnTo>
                  <a:lnTo>
                    <a:pt x="904" y="514"/>
                  </a:lnTo>
                  <a:lnTo>
                    <a:pt x="907" y="515"/>
                  </a:lnTo>
                  <a:lnTo>
                    <a:pt x="910" y="517"/>
                  </a:lnTo>
                  <a:lnTo>
                    <a:pt x="914" y="518"/>
                  </a:lnTo>
                  <a:lnTo>
                    <a:pt x="917" y="517"/>
                  </a:lnTo>
                  <a:lnTo>
                    <a:pt x="922" y="515"/>
                  </a:lnTo>
                  <a:lnTo>
                    <a:pt x="924" y="514"/>
                  </a:lnTo>
                  <a:lnTo>
                    <a:pt x="926" y="511"/>
                  </a:lnTo>
                  <a:lnTo>
                    <a:pt x="927" y="508"/>
                  </a:lnTo>
                  <a:lnTo>
                    <a:pt x="927" y="504"/>
                  </a:lnTo>
                  <a:lnTo>
                    <a:pt x="927" y="461"/>
                  </a:lnTo>
                  <a:lnTo>
                    <a:pt x="965" y="461"/>
                  </a:lnTo>
                  <a:lnTo>
                    <a:pt x="1004" y="511"/>
                  </a:lnTo>
                  <a:lnTo>
                    <a:pt x="1007" y="514"/>
                  </a:lnTo>
                  <a:lnTo>
                    <a:pt x="1009" y="515"/>
                  </a:lnTo>
                  <a:lnTo>
                    <a:pt x="1012" y="517"/>
                  </a:lnTo>
                  <a:lnTo>
                    <a:pt x="1018" y="518"/>
                  </a:lnTo>
                  <a:lnTo>
                    <a:pt x="1021" y="518"/>
                  </a:lnTo>
                  <a:lnTo>
                    <a:pt x="1024" y="517"/>
                  </a:lnTo>
                  <a:lnTo>
                    <a:pt x="1027" y="514"/>
                  </a:lnTo>
                  <a:lnTo>
                    <a:pt x="1030" y="511"/>
                  </a:lnTo>
                  <a:lnTo>
                    <a:pt x="1031" y="508"/>
                  </a:lnTo>
                  <a:lnTo>
                    <a:pt x="1031" y="505"/>
                  </a:lnTo>
                  <a:lnTo>
                    <a:pt x="1031" y="502"/>
                  </a:lnTo>
                  <a:lnTo>
                    <a:pt x="1030" y="499"/>
                  </a:lnTo>
                  <a:lnTo>
                    <a:pt x="1028" y="496"/>
                  </a:lnTo>
                  <a:lnTo>
                    <a:pt x="1027" y="494"/>
                  </a:lnTo>
                  <a:lnTo>
                    <a:pt x="995" y="455"/>
                  </a:lnTo>
                  <a:lnTo>
                    <a:pt x="1005" y="451"/>
                  </a:lnTo>
                  <a:lnTo>
                    <a:pt x="1015" y="445"/>
                  </a:lnTo>
                  <a:lnTo>
                    <a:pt x="1022" y="438"/>
                  </a:lnTo>
                  <a:lnTo>
                    <a:pt x="1028" y="429"/>
                  </a:lnTo>
                  <a:lnTo>
                    <a:pt x="1031" y="419"/>
                  </a:lnTo>
                  <a:lnTo>
                    <a:pt x="1032" y="406"/>
                  </a:lnTo>
                  <a:lnTo>
                    <a:pt x="1032" y="406"/>
                  </a:lnTo>
                  <a:lnTo>
                    <a:pt x="1031" y="396"/>
                  </a:lnTo>
                  <a:lnTo>
                    <a:pt x="1028" y="386"/>
                  </a:lnTo>
                  <a:lnTo>
                    <a:pt x="1024" y="377"/>
                  </a:lnTo>
                  <a:lnTo>
                    <a:pt x="1018" y="372"/>
                  </a:lnTo>
                  <a:lnTo>
                    <a:pt x="1009" y="364"/>
                  </a:lnTo>
                  <a:lnTo>
                    <a:pt x="999" y="359"/>
                  </a:lnTo>
                  <a:lnTo>
                    <a:pt x="986" y="356"/>
                  </a:lnTo>
                  <a:lnTo>
                    <a:pt x="972" y="354"/>
                  </a:lnTo>
                  <a:lnTo>
                    <a:pt x="914" y="354"/>
                  </a:lnTo>
                  <a:lnTo>
                    <a:pt x="910" y="356"/>
                  </a:lnTo>
                  <a:lnTo>
                    <a:pt x="907" y="357"/>
                  </a:lnTo>
                  <a:lnTo>
                    <a:pt x="904" y="359"/>
                  </a:lnTo>
                  <a:lnTo>
                    <a:pt x="901" y="362"/>
                  </a:lnTo>
                  <a:lnTo>
                    <a:pt x="900" y="366"/>
                  </a:lnTo>
                  <a:lnTo>
                    <a:pt x="900" y="369"/>
                  </a:lnTo>
                  <a:lnTo>
                    <a:pt x="900" y="504"/>
                  </a:lnTo>
                  <a:close/>
                  <a:moveTo>
                    <a:pt x="927" y="435"/>
                  </a:moveTo>
                  <a:lnTo>
                    <a:pt x="927" y="435"/>
                  </a:lnTo>
                  <a:lnTo>
                    <a:pt x="927" y="380"/>
                  </a:lnTo>
                  <a:lnTo>
                    <a:pt x="969" y="380"/>
                  </a:lnTo>
                  <a:lnTo>
                    <a:pt x="979" y="382"/>
                  </a:lnTo>
                  <a:lnTo>
                    <a:pt x="988" y="383"/>
                  </a:lnTo>
                  <a:lnTo>
                    <a:pt x="995" y="387"/>
                  </a:lnTo>
                  <a:lnTo>
                    <a:pt x="999" y="393"/>
                  </a:lnTo>
                  <a:lnTo>
                    <a:pt x="1002" y="399"/>
                  </a:lnTo>
                  <a:lnTo>
                    <a:pt x="1004" y="407"/>
                  </a:lnTo>
                  <a:lnTo>
                    <a:pt x="1004" y="407"/>
                  </a:lnTo>
                  <a:lnTo>
                    <a:pt x="1002" y="416"/>
                  </a:lnTo>
                  <a:lnTo>
                    <a:pt x="999" y="422"/>
                  </a:lnTo>
                  <a:lnTo>
                    <a:pt x="994" y="428"/>
                  </a:lnTo>
                  <a:lnTo>
                    <a:pt x="988" y="432"/>
                  </a:lnTo>
                  <a:lnTo>
                    <a:pt x="979" y="435"/>
                  </a:lnTo>
                  <a:lnTo>
                    <a:pt x="969" y="435"/>
                  </a:lnTo>
                  <a:lnTo>
                    <a:pt x="927" y="435"/>
                  </a:lnTo>
                  <a:close/>
                  <a:moveTo>
                    <a:pt x="965" y="323"/>
                  </a:moveTo>
                  <a:lnTo>
                    <a:pt x="965" y="323"/>
                  </a:lnTo>
                  <a:lnTo>
                    <a:pt x="952" y="313"/>
                  </a:lnTo>
                  <a:lnTo>
                    <a:pt x="949" y="310"/>
                  </a:lnTo>
                  <a:lnTo>
                    <a:pt x="946" y="308"/>
                  </a:lnTo>
                  <a:lnTo>
                    <a:pt x="943" y="307"/>
                  </a:lnTo>
                  <a:lnTo>
                    <a:pt x="940" y="307"/>
                  </a:lnTo>
                  <a:lnTo>
                    <a:pt x="937" y="306"/>
                  </a:lnTo>
                  <a:lnTo>
                    <a:pt x="935" y="306"/>
                  </a:lnTo>
                  <a:lnTo>
                    <a:pt x="933" y="307"/>
                  </a:lnTo>
                  <a:lnTo>
                    <a:pt x="930" y="307"/>
                  </a:lnTo>
                  <a:lnTo>
                    <a:pt x="929" y="308"/>
                  </a:lnTo>
                  <a:lnTo>
                    <a:pt x="929" y="311"/>
                  </a:lnTo>
                  <a:lnTo>
                    <a:pt x="929" y="314"/>
                  </a:lnTo>
                  <a:lnTo>
                    <a:pt x="932" y="316"/>
                  </a:lnTo>
                  <a:lnTo>
                    <a:pt x="946" y="336"/>
                  </a:lnTo>
                  <a:lnTo>
                    <a:pt x="949" y="339"/>
                  </a:lnTo>
                  <a:lnTo>
                    <a:pt x="952" y="340"/>
                  </a:lnTo>
                  <a:lnTo>
                    <a:pt x="956" y="341"/>
                  </a:lnTo>
                  <a:lnTo>
                    <a:pt x="960" y="343"/>
                  </a:lnTo>
                  <a:lnTo>
                    <a:pt x="968" y="343"/>
                  </a:lnTo>
                  <a:lnTo>
                    <a:pt x="972" y="341"/>
                  </a:lnTo>
                  <a:lnTo>
                    <a:pt x="976" y="340"/>
                  </a:lnTo>
                  <a:lnTo>
                    <a:pt x="979" y="339"/>
                  </a:lnTo>
                  <a:lnTo>
                    <a:pt x="982" y="336"/>
                  </a:lnTo>
                  <a:lnTo>
                    <a:pt x="996" y="316"/>
                  </a:lnTo>
                  <a:lnTo>
                    <a:pt x="999" y="314"/>
                  </a:lnTo>
                  <a:lnTo>
                    <a:pt x="999" y="311"/>
                  </a:lnTo>
                  <a:lnTo>
                    <a:pt x="999" y="308"/>
                  </a:lnTo>
                  <a:lnTo>
                    <a:pt x="998" y="307"/>
                  </a:lnTo>
                  <a:lnTo>
                    <a:pt x="996" y="307"/>
                  </a:lnTo>
                  <a:lnTo>
                    <a:pt x="994" y="306"/>
                  </a:lnTo>
                  <a:lnTo>
                    <a:pt x="991" y="306"/>
                  </a:lnTo>
                  <a:lnTo>
                    <a:pt x="988" y="307"/>
                  </a:lnTo>
                  <a:lnTo>
                    <a:pt x="985" y="307"/>
                  </a:lnTo>
                  <a:lnTo>
                    <a:pt x="982" y="308"/>
                  </a:lnTo>
                  <a:lnTo>
                    <a:pt x="979" y="310"/>
                  </a:lnTo>
                  <a:lnTo>
                    <a:pt x="976" y="313"/>
                  </a:lnTo>
                  <a:lnTo>
                    <a:pt x="965" y="323"/>
                  </a:lnTo>
                  <a:close/>
                  <a:moveTo>
                    <a:pt x="1058" y="504"/>
                  </a:moveTo>
                  <a:lnTo>
                    <a:pt x="1058" y="504"/>
                  </a:lnTo>
                  <a:lnTo>
                    <a:pt x="1058" y="508"/>
                  </a:lnTo>
                  <a:lnTo>
                    <a:pt x="1060" y="511"/>
                  </a:lnTo>
                  <a:lnTo>
                    <a:pt x="1063" y="514"/>
                  </a:lnTo>
                  <a:lnTo>
                    <a:pt x="1066" y="515"/>
                  </a:lnTo>
                  <a:lnTo>
                    <a:pt x="1068" y="517"/>
                  </a:lnTo>
                  <a:lnTo>
                    <a:pt x="1073" y="518"/>
                  </a:lnTo>
                  <a:lnTo>
                    <a:pt x="1077" y="517"/>
                  </a:lnTo>
                  <a:lnTo>
                    <a:pt x="1080" y="515"/>
                  </a:lnTo>
                  <a:lnTo>
                    <a:pt x="1083" y="514"/>
                  </a:lnTo>
                  <a:lnTo>
                    <a:pt x="1086" y="511"/>
                  </a:lnTo>
                  <a:lnTo>
                    <a:pt x="1087" y="508"/>
                  </a:lnTo>
                  <a:lnTo>
                    <a:pt x="1087" y="504"/>
                  </a:lnTo>
                  <a:lnTo>
                    <a:pt x="1087" y="367"/>
                  </a:lnTo>
                  <a:lnTo>
                    <a:pt x="1087" y="364"/>
                  </a:lnTo>
                  <a:lnTo>
                    <a:pt x="1086" y="360"/>
                  </a:lnTo>
                  <a:lnTo>
                    <a:pt x="1083" y="357"/>
                  </a:lnTo>
                  <a:lnTo>
                    <a:pt x="1080" y="356"/>
                  </a:lnTo>
                  <a:lnTo>
                    <a:pt x="1077" y="354"/>
                  </a:lnTo>
                  <a:lnTo>
                    <a:pt x="1073" y="353"/>
                  </a:lnTo>
                  <a:lnTo>
                    <a:pt x="1068" y="354"/>
                  </a:lnTo>
                  <a:lnTo>
                    <a:pt x="1066" y="356"/>
                  </a:lnTo>
                  <a:lnTo>
                    <a:pt x="1063" y="357"/>
                  </a:lnTo>
                  <a:lnTo>
                    <a:pt x="1060" y="360"/>
                  </a:lnTo>
                  <a:lnTo>
                    <a:pt x="1058" y="364"/>
                  </a:lnTo>
                  <a:lnTo>
                    <a:pt x="1058" y="367"/>
                  </a:lnTo>
                  <a:lnTo>
                    <a:pt x="1058" y="504"/>
                  </a:lnTo>
                  <a:close/>
                  <a:moveTo>
                    <a:pt x="1120" y="502"/>
                  </a:moveTo>
                  <a:lnTo>
                    <a:pt x="1120" y="502"/>
                  </a:lnTo>
                  <a:lnTo>
                    <a:pt x="1120" y="507"/>
                  </a:lnTo>
                  <a:lnTo>
                    <a:pt x="1122" y="509"/>
                  </a:lnTo>
                  <a:lnTo>
                    <a:pt x="1125" y="512"/>
                  </a:lnTo>
                  <a:lnTo>
                    <a:pt x="1128" y="515"/>
                  </a:lnTo>
                  <a:lnTo>
                    <a:pt x="1130" y="517"/>
                  </a:lnTo>
                  <a:lnTo>
                    <a:pt x="1135" y="517"/>
                  </a:lnTo>
                  <a:lnTo>
                    <a:pt x="1223" y="517"/>
                  </a:lnTo>
                  <a:lnTo>
                    <a:pt x="1225" y="517"/>
                  </a:lnTo>
                  <a:lnTo>
                    <a:pt x="1228" y="515"/>
                  </a:lnTo>
                  <a:lnTo>
                    <a:pt x="1231" y="512"/>
                  </a:lnTo>
                  <a:lnTo>
                    <a:pt x="1233" y="511"/>
                  </a:lnTo>
                  <a:lnTo>
                    <a:pt x="1234" y="507"/>
                  </a:lnTo>
                  <a:lnTo>
                    <a:pt x="1236" y="504"/>
                  </a:lnTo>
                  <a:lnTo>
                    <a:pt x="1234" y="501"/>
                  </a:lnTo>
                  <a:lnTo>
                    <a:pt x="1233" y="496"/>
                  </a:lnTo>
                  <a:lnTo>
                    <a:pt x="1231" y="495"/>
                  </a:lnTo>
                  <a:lnTo>
                    <a:pt x="1228" y="492"/>
                  </a:lnTo>
                  <a:lnTo>
                    <a:pt x="1225" y="491"/>
                  </a:lnTo>
                  <a:lnTo>
                    <a:pt x="1223" y="491"/>
                  </a:lnTo>
                  <a:lnTo>
                    <a:pt x="1149" y="491"/>
                  </a:lnTo>
                  <a:lnTo>
                    <a:pt x="1149" y="367"/>
                  </a:lnTo>
                  <a:lnTo>
                    <a:pt x="1148" y="364"/>
                  </a:lnTo>
                  <a:lnTo>
                    <a:pt x="1146" y="360"/>
                  </a:lnTo>
                  <a:lnTo>
                    <a:pt x="1145" y="357"/>
                  </a:lnTo>
                  <a:lnTo>
                    <a:pt x="1142" y="356"/>
                  </a:lnTo>
                  <a:lnTo>
                    <a:pt x="1138" y="354"/>
                  </a:lnTo>
                  <a:lnTo>
                    <a:pt x="1135" y="353"/>
                  </a:lnTo>
                  <a:lnTo>
                    <a:pt x="1130" y="354"/>
                  </a:lnTo>
                  <a:lnTo>
                    <a:pt x="1128" y="356"/>
                  </a:lnTo>
                  <a:lnTo>
                    <a:pt x="1125" y="357"/>
                  </a:lnTo>
                  <a:lnTo>
                    <a:pt x="1122" y="360"/>
                  </a:lnTo>
                  <a:lnTo>
                    <a:pt x="1120" y="364"/>
                  </a:lnTo>
                  <a:lnTo>
                    <a:pt x="1120" y="367"/>
                  </a:lnTo>
                  <a:lnTo>
                    <a:pt x="1120" y="502"/>
                  </a:lnTo>
                  <a:close/>
                  <a:moveTo>
                    <a:pt x="1253" y="502"/>
                  </a:moveTo>
                  <a:lnTo>
                    <a:pt x="1253" y="502"/>
                  </a:lnTo>
                  <a:lnTo>
                    <a:pt x="1254" y="507"/>
                  </a:lnTo>
                  <a:lnTo>
                    <a:pt x="1256" y="509"/>
                  </a:lnTo>
                  <a:lnTo>
                    <a:pt x="1257" y="512"/>
                  </a:lnTo>
                  <a:lnTo>
                    <a:pt x="1260" y="515"/>
                  </a:lnTo>
                  <a:lnTo>
                    <a:pt x="1264" y="517"/>
                  </a:lnTo>
                  <a:lnTo>
                    <a:pt x="1267" y="517"/>
                  </a:lnTo>
                  <a:lnTo>
                    <a:pt x="1328" y="517"/>
                  </a:lnTo>
                  <a:lnTo>
                    <a:pt x="1341" y="517"/>
                  </a:lnTo>
                  <a:lnTo>
                    <a:pt x="1354" y="514"/>
                  </a:lnTo>
                  <a:lnTo>
                    <a:pt x="1364" y="511"/>
                  </a:lnTo>
                  <a:lnTo>
                    <a:pt x="1372" y="505"/>
                  </a:lnTo>
                  <a:lnTo>
                    <a:pt x="1380" y="499"/>
                  </a:lnTo>
                  <a:lnTo>
                    <a:pt x="1384" y="491"/>
                  </a:lnTo>
                  <a:lnTo>
                    <a:pt x="1387" y="482"/>
                  </a:lnTo>
                  <a:lnTo>
                    <a:pt x="1388" y="472"/>
                  </a:lnTo>
                  <a:lnTo>
                    <a:pt x="1388" y="472"/>
                  </a:lnTo>
                  <a:lnTo>
                    <a:pt x="1387" y="462"/>
                  </a:lnTo>
                  <a:lnTo>
                    <a:pt x="1384" y="453"/>
                  </a:lnTo>
                  <a:lnTo>
                    <a:pt x="1380" y="446"/>
                  </a:lnTo>
                  <a:lnTo>
                    <a:pt x="1372" y="440"/>
                  </a:lnTo>
                  <a:lnTo>
                    <a:pt x="1365" y="436"/>
                  </a:lnTo>
                  <a:lnTo>
                    <a:pt x="1356" y="432"/>
                  </a:lnTo>
                  <a:lnTo>
                    <a:pt x="1362" y="429"/>
                  </a:lnTo>
                  <a:lnTo>
                    <a:pt x="1368" y="425"/>
                  </a:lnTo>
                  <a:lnTo>
                    <a:pt x="1372" y="419"/>
                  </a:lnTo>
                  <a:lnTo>
                    <a:pt x="1377" y="413"/>
                  </a:lnTo>
                  <a:lnTo>
                    <a:pt x="1378" y="406"/>
                  </a:lnTo>
                  <a:lnTo>
                    <a:pt x="1380" y="396"/>
                  </a:lnTo>
                  <a:lnTo>
                    <a:pt x="1380" y="396"/>
                  </a:lnTo>
                  <a:lnTo>
                    <a:pt x="1378" y="389"/>
                  </a:lnTo>
                  <a:lnTo>
                    <a:pt x="1377" y="382"/>
                  </a:lnTo>
                  <a:lnTo>
                    <a:pt x="1374" y="374"/>
                  </a:lnTo>
                  <a:lnTo>
                    <a:pt x="1368" y="369"/>
                  </a:lnTo>
                  <a:lnTo>
                    <a:pt x="1361" y="363"/>
                  </a:lnTo>
                  <a:lnTo>
                    <a:pt x="1351" y="359"/>
                  </a:lnTo>
                  <a:lnTo>
                    <a:pt x="1339" y="356"/>
                  </a:lnTo>
                  <a:lnTo>
                    <a:pt x="1326" y="354"/>
                  </a:lnTo>
                  <a:lnTo>
                    <a:pt x="1267" y="354"/>
                  </a:lnTo>
                  <a:lnTo>
                    <a:pt x="1264" y="356"/>
                  </a:lnTo>
                  <a:lnTo>
                    <a:pt x="1260" y="357"/>
                  </a:lnTo>
                  <a:lnTo>
                    <a:pt x="1257" y="359"/>
                  </a:lnTo>
                  <a:lnTo>
                    <a:pt x="1256" y="362"/>
                  </a:lnTo>
                  <a:lnTo>
                    <a:pt x="1254" y="366"/>
                  </a:lnTo>
                  <a:lnTo>
                    <a:pt x="1253" y="369"/>
                  </a:lnTo>
                  <a:lnTo>
                    <a:pt x="1253" y="502"/>
                  </a:lnTo>
                  <a:close/>
                  <a:moveTo>
                    <a:pt x="1282" y="423"/>
                  </a:moveTo>
                  <a:lnTo>
                    <a:pt x="1282" y="423"/>
                  </a:lnTo>
                  <a:lnTo>
                    <a:pt x="1282" y="380"/>
                  </a:lnTo>
                  <a:lnTo>
                    <a:pt x="1322" y="380"/>
                  </a:lnTo>
                  <a:lnTo>
                    <a:pt x="1329" y="380"/>
                  </a:lnTo>
                  <a:lnTo>
                    <a:pt x="1335" y="382"/>
                  </a:lnTo>
                  <a:lnTo>
                    <a:pt x="1339" y="383"/>
                  </a:lnTo>
                  <a:lnTo>
                    <a:pt x="1344" y="386"/>
                  </a:lnTo>
                  <a:lnTo>
                    <a:pt x="1346" y="389"/>
                  </a:lnTo>
                  <a:lnTo>
                    <a:pt x="1349" y="392"/>
                  </a:lnTo>
                  <a:lnTo>
                    <a:pt x="1351" y="396"/>
                  </a:lnTo>
                  <a:lnTo>
                    <a:pt x="1351" y="400"/>
                  </a:lnTo>
                  <a:lnTo>
                    <a:pt x="1351" y="400"/>
                  </a:lnTo>
                  <a:lnTo>
                    <a:pt x="1349" y="407"/>
                  </a:lnTo>
                  <a:lnTo>
                    <a:pt x="1346" y="413"/>
                  </a:lnTo>
                  <a:lnTo>
                    <a:pt x="1342" y="418"/>
                  </a:lnTo>
                  <a:lnTo>
                    <a:pt x="1336" y="420"/>
                  </a:lnTo>
                  <a:lnTo>
                    <a:pt x="1329" y="422"/>
                  </a:lnTo>
                  <a:lnTo>
                    <a:pt x="1320" y="423"/>
                  </a:lnTo>
                  <a:lnTo>
                    <a:pt x="1282" y="423"/>
                  </a:lnTo>
                  <a:close/>
                  <a:moveTo>
                    <a:pt x="1282" y="491"/>
                  </a:moveTo>
                  <a:lnTo>
                    <a:pt x="1282" y="491"/>
                  </a:lnTo>
                  <a:lnTo>
                    <a:pt x="1282" y="448"/>
                  </a:lnTo>
                  <a:lnTo>
                    <a:pt x="1326" y="448"/>
                  </a:lnTo>
                  <a:lnTo>
                    <a:pt x="1335" y="448"/>
                  </a:lnTo>
                  <a:lnTo>
                    <a:pt x="1341" y="449"/>
                  </a:lnTo>
                  <a:lnTo>
                    <a:pt x="1346" y="451"/>
                  </a:lnTo>
                  <a:lnTo>
                    <a:pt x="1352" y="453"/>
                  </a:lnTo>
                  <a:lnTo>
                    <a:pt x="1355" y="456"/>
                  </a:lnTo>
                  <a:lnTo>
                    <a:pt x="1358" y="459"/>
                  </a:lnTo>
                  <a:lnTo>
                    <a:pt x="1359" y="463"/>
                  </a:lnTo>
                  <a:lnTo>
                    <a:pt x="1359" y="469"/>
                  </a:lnTo>
                  <a:lnTo>
                    <a:pt x="1359" y="469"/>
                  </a:lnTo>
                  <a:lnTo>
                    <a:pt x="1359" y="476"/>
                  </a:lnTo>
                  <a:lnTo>
                    <a:pt x="1356" y="482"/>
                  </a:lnTo>
                  <a:lnTo>
                    <a:pt x="1352" y="486"/>
                  </a:lnTo>
                  <a:lnTo>
                    <a:pt x="1345" y="489"/>
                  </a:lnTo>
                  <a:lnTo>
                    <a:pt x="1338" y="491"/>
                  </a:lnTo>
                  <a:lnTo>
                    <a:pt x="1329" y="491"/>
                  </a:lnTo>
                  <a:lnTo>
                    <a:pt x="1282" y="491"/>
                  </a:lnTo>
                  <a:close/>
                  <a:moveTo>
                    <a:pt x="1486" y="519"/>
                  </a:moveTo>
                  <a:lnTo>
                    <a:pt x="1486" y="519"/>
                  </a:lnTo>
                  <a:lnTo>
                    <a:pt x="1500" y="518"/>
                  </a:lnTo>
                  <a:lnTo>
                    <a:pt x="1513" y="515"/>
                  </a:lnTo>
                  <a:lnTo>
                    <a:pt x="1526" y="509"/>
                  </a:lnTo>
                  <a:lnTo>
                    <a:pt x="1538" y="504"/>
                  </a:lnTo>
                  <a:lnTo>
                    <a:pt x="1547" y="495"/>
                  </a:lnTo>
                  <a:lnTo>
                    <a:pt x="1555" y="485"/>
                  </a:lnTo>
                  <a:lnTo>
                    <a:pt x="1562" y="474"/>
                  </a:lnTo>
                  <a:lnTo>
                    <a:pt x="1567" y="462"/>
                  </a:lnTo>
                  <a:lnTo>
                    <a:pt x="1570" y="449"/>
                  </a:lnTo>
                  <a:lnTo>
                    <a:pt x="1571" y="436"/>
                  </a:lnTo>
                  <a:lnTo>
                    <a:pt x="1571" y="435"/>
                  </a:lnTo>
                  <a:lnTo>
                    <a:pt x="1570" y="422"/>
                  </a:lnTo>
                  <a:lnTo>
                    <a:pt x="1567" y="409"/>
                  </a:lnTo>
                  <a:lnTo>
                    <a:pt x="1562" y="397"/>
                  </a:lnTo>
                  <a:lnTo>
                    <a:pt x="1555" y="386"/>
                  </a:lnTo>
                  <a:lnTo>
                    <a:pt x="1547" y="376"/>
                  </a:lnTo>
                  <a:lnTo>
                    <a:pt x="1538" y="369"/>
                  </a:lnTo>
                  <a:lnTo>
                    <a:pt x="1526" y="362"/>
                  </a:lnTo>
                  <a:lnTo>
                    <a:pt x="1513" y="356"/>
                  </a:lnTo>
                  <a:lnTo>
                    <a:pt x="1500" y="353"/>
                  </a:lnTo>
                  <a:lnTo>
                    <a:pt x="1486" y="351"/>
                  </a:lnTo>
                  <a:lnTo>
                    <a:pt x="1472" y="353"/>
                  </a:lnTo>
                  <a:lnTo>
                    <a:pt x="1459" y="356"/>
                  </a:lnTo>
                  <a:lnTo>
                    <a:pt x="1446" y="362"/>
                  </a:lnTo>
                  <a:lnTo>
                    <a:pt x="1434" y="369"/>
                  </a:lnTo>
                  <a:lnTo>
                    <a:pt x="1424" y="377"/>
                  </a:lnTo>
                  <a:lnTo>
                    <a:pt x="1417" y="386"/>
                  </a:lnTo>
                  <a:lnTo>
                    <a:pt x="1410" y="397"/>
                  </a:lnTo>
                  <a:lnTo>
                    <a:pt x="1405" y="409"/>
                  </a:lnTo>
                  <a:lnTo>
                    <a:pt x="1403" y="422"/>
                  </a:lnTo>
                  <a:lnTo>
                    <a:pt x="1401" y="436"/>
                  </a:lnTo>
                  <a:lnTo>
                    <a:pt x="1401" y="436"/>
                  </a:lnTo>
                  <a:lnTo>
                    <a:pt x="1403" y="449"/>
                  </a:lnTo>
                  <a:lnTo>
                    <a:pt x="1405" y="462"/>
                  </a:lnTo>
                  <a:lnTo>
                    <a:pt x="1410" y="474"/>
                  </a:lnTo>
                  <a:lnTo>
                    <a:pt x="1417" y="485"/>
                  </a:lnTo>
                  <a:lnTo>
                    <a:pt x="1424" y="495"/>
                  </a:lnTo>
                  <a:lnTo>
                    <a:pt x="1434" y="504"/>
                  </a:lnTo>
                  <a:lnTo>
                    <a:pt x="1446" y="509"/>
                  </a:lnTo>
                  <a:lnTo>
                    <a:pt x="1457" y="515"/>
                  </a:lnTo>
                  <a:lnTo>
                    <a:pt x="1472" y="518"/>
                  </a:lnTo>
                  <a:lnTo>
                    <a:pt x="1486" y="519"/>
                  </a:lnTo>
                  <a:close/>
                  <a:moveTo>
                    <a:pt x="1486" y="494"/>
                  </a:moveTo>
                  <a:lnTo>
                    <a:pt x="1486" y="494"/>
                  </a:lnTo>
                  <a:lnTo>
                    <a:pt x="1475" y="492"/>
                  </a:lnTo>
                  <a:lnTo>
                    <a:pt x="1464" y="488"/>
                  </a:lnTo>
                  <a:lnTo>
                    <a:pt x="1454" y="484"/>
                  </a:lnTo>
                  <a:lnTo>
                    <a:pt x="1446" y="476"/>
                  </a:lnTo>
                  <a:lnTo>
                    <a:pt x="1440" y="468"/>
                  </a:lnTo>
                  <a:lnTo>
                    <a:pt x="1436" y="458"/>
                  </a:lnTo>
                  <a:lnTo>
                    <a:pt x="1431" y="448"/>
                  </a:lnTo>
                  <a:lnTo>
                    <a:pt x="1431" y="436"/>
                  </a:lnTo>
                  <a:lnTo>
                    <a:pt x="1431" y="435"/>
                  </a:lnTo>
                  <a:lnTo>
                    <a:pt x="1431" y="423"/>
                  </a:lnTo>
                  <a:lnTo>
                    <a:pt x="1434" y="413"/>
                  </a:lnTo>
                  <a:lnTo>
                    <a:pt x="1440" y="403"/>
                  </a:lnTo>
                  <a:lnTo>
                    <a:pt x="1446" y="395"/>
                  </a:lnTo>
                  <a:lnTo>
                    <a:pt x="1454" y="387"/>
                  </a:lnTo>
                  <a:lnTo>
                    <a:pt x="1463" y="383"/>
                  </a:lnTo>
                  <a:lnTo>
                    <a:pt x="1475" y="379"/>
                  </a:lnTo>
                  <a:lnTo>
                    <a:pt x="1486" y="379"/>
                  </a:lnTo>
                  <a:lnTo>
                    <a:pt x="1498" y="379"/>
                  </a:lnTo>
                  <a:lnTo>
                    <a:pt x="1508" y="383"/>
                  </a:lnTo>
                  <a:lnTo>
                    <a:pt x="1518" y="387"/>
                  </a:lnTo>
                  <a:lnTo>
                    <a:pt x="1525" y="395"/>
                  </a:lnTo>
                  <a:lnTo>
                    <a:pt x="1532" y="403"/>
                  </a:lnTo>
                  <a:lnTo>
                    <a:pt x="1536" y="413"/>
                  </a:lnTo>
                  <a:lnTo>
                    <a:pt x="1539" y="425"/>
                  </a:lnTo>
                  <a:lnTo>
                    <a:pt x="1541" y="436"/>
                  </a:lnTo>
                  <a:lnTo>
                    <a:pt x="1541" y="436"/>
                  </a:lnTo>
                  <a:lnTo>
                    <a:pt x="1539" y="448"/>
                  </a:lnTo>
                  <a:lnTo>
                    <a:pt x="1536" y="458"/>
                  </a:lnTo>
                  <a:lnTo>
                    <a:pt x="1532" y="468"/>
                  </a:lnTo>
                  <a:lnTo>
                    <a:pt x="1525" y="476"/>
                  </a:lnTo>
                  <a:lnTo>
                    <a:pt x="1518" y="484"/>
                  </a:lnTo>
                  <a:lnTo>
                    <a:pt x="1508" y="488"/>
                  </a:lnTo>
                  <a:lnTo>
                    <a:pt x="1498" y="492"/>
                  </a:lnTo>
                  <a:lnTo>
                    <a:pt x="1486" y="494"/>
                  </a:lnTo>
                  <a:close/>
                  <a:moveTo>
                    <a:pt x="1657" y="519"/>
                  </a:moveTo>
                  <a:lnTo>
                    <a:pt x="1657" y="519"/>
                  </a:lnTo>
                  <a:lnTo>
                    <a:pt x="1673" y="518"/>
                  </a:lnTo>
                  <a:lnTo>
                    <a:pt x="1686" y="515"/>
                  </a:lnTo>
                  <a:lnTo>
                    <a:pt x="1692" y="512"/>
                  </a:lnTo>
                  <a:lnTo>
                    <a:pt x="1698" y="509"/>
                  </a:lnTo>
                  <a:lnTo>
                    <a:pt x="1704" y="505"/>
                  </a:lnTo>
                  <a:lnTo>
                    <a:pt x="1708" y="501"/>
                  </a:lnTo>
                  <a:lnTo>
                    <a:pt x="1712" y="496"/>
                  </a:lnTo>
                  <a:lnTo>
                    <a:pt x="1716" y="491"/>
                  </a:lnTo>
                  <a:lnTo>
                    <a:pt x="1719" y="485"/>
                  </a:lnTo>
                  <a:lnTo>
                    <a:pt x="1722" y="478"/>
                  </a:lnTo>
                  <a:lnTo>
                    <a:pt x="1727" y="463"/>
                  </a:lnTo>
                  <a:lnTo>
                    <a:pt x="1727" y="446"/>
                  </a:lnTo>
                  <a:lnTo>
                    <a:pt x="1727" y="367"/>
                  </a:lnTo>
                  <a:lnTo>
                    <a:pt x="1727" y="364"/>
                  </a:lnTo>
                  <a:lnTo>
                    <a:pt x="1725" y="360"/>
                  </a:lnTo>
                  <a:lnTo>
                    <a:pt x="1724" y="357"/>
                  </a:lnTo>
                  <a:lnTo>
                    <a:pt x="1721" y="356"/>
                  </a:lnTo>
                  <a:lnTo>
                    <a:pt x="1716" y="354"/>
                  </a:lnTo>
                  <a:lnTo>
                    <a:pt x="1714" y="353"/>
                  </a:lnTo>
                  <a:lnTo>
                    <a:pt x="1709" y="354"/>
                  </a:lnTo>
                  <a:lnTo>
                    <a:pt x="1706" y="356"/>
                  </a:lnTo>
                  <a:lnTo>
                    <a:pt x="1704" y="357"/>
                  </a:lnTo>
                  <a:lnTo>
                    <a:pt x="1701" y="360"/>
                  </a:lnTo>
                  <a:lnTo>
                    <a:pt x="1699" y="364"/>
                  </a:lnTo>
                  <a:lnTo>
                    <a:pt x="1699" y="367"/>
                  </a:lnTo>
                  <a:lnTo>
                    <a:pt x="1699" y="448"/>
                  </a:lnTo>
                  <a:lnTo>
                    <a:pt x="1698" y="462"/>
                  </a:lnTo>
                  <a:lnTo>
                    <a:pt x="1693" y="474"/>
                  </a:lnTo>
                  <a:lnTo>
                    <a:pt x="1691" y="478"/>
                  </a:lnTo>
                  <a:lnTo>
                    <a:pt x="1688" y="482"/>
                  </a:lnTo>
                  <a:lnTo>
                    <a:pt x="1683" y="485"/>
                  </a:lnTo>
                  <a:lnTo>
                    <a:pt x="1679" y="488"/>
                  </a:lnTo>
                  <a:lnTo>
                    <a:pt x="1669" y="492"/>
                  </a:lnTo>
                  <a:lnTo>
                    <a:pt x="1657" y="492"/>
                  </a:lnTo>
                  <a:lnTo>
                    <a:pt x="1652" y="492"/>
                  </a:lnTo>
                  <a:lnTo>
                    <a:pt x="1646" y="492"/>
                  </a:lnTo>
                  <a:lnTo>
                    <a:pt x="1640" y="489"/>
                  </a:lnTo>
                  <a:lnTo>
                    <a:pt x="1636" y="488"/>
                  </a:lnTo>
                  <a:lnTo>
                    <a:pt x="1632" y="485"/>
                  </a:lnTo>
                  <a:lnTo>
                    <a:pt x="1627" y="481"/>
                  </a:lnTo>
                  <a:lnTo>
                    <a:pt x="1624" y="476"/>
                  </a:lnTo>
                  <a:lnTo>
                    <a:pt x="1621" y="472"/>
                  </a:lnTo>
                  <a:lnTo>
                    <a:pt x="1619" y="461"/>
                  </a:lnTo>
                  <a:lnTo>
                    <a:pt x="1617" y="446"/>
                  </a:lnTo>
                  <a:lnTo>
                    <a:pt x="1617" y="367"/>
                  </a:lnTo>
                  <a:lnTo>
                    <a:pt x="1616" y="364"/>
                  </a:lnTo>
                  <a:lnTo>
                    <a:pt x="1614" y="360"/>
                  </a:lnTo>
                  <a:lnTo>
                    <a:pt x="1613" y="357"/>
                  </a:lnTo>
                  <a:lnTo>
                    <a:pt x="1610" y="356"/>
                  </a:lnTo>
                  <a:lnTo>
                    <a:pt x="1607" y="354"/>
                  </a:lnTo>
                  <a:lnTo>
                    <a:pt x="1603" y="353"/>
                  </a:lnTo>
                  <a:lnTo>
                    <a:pt x="1598" y="354"/>
                  </a:lnTo>
                  <a:lnTo>
                    <a:pt x="1596" y="356"/>
                  </a:lnTo>
                  <a:lnTo>
                    <a:pt x="1593" y="357"/>
                  </a:lnTo>
                  <a:lnTo>
                    <a:pt x="1590" y="360"/>
                  </a:lnTo>
                  <a:lnTo>
                    <a:pt x="1588" y="364"/>
                  </a:lnTo>
                  <a:lnTo>
                    <a:pt x="1588" y="367"/>
                  </a:lnTo>
                  <a:lnTo>
                    <a:pt x="1588" y="448"/>
                  </a:lnTo>
                  <a:lnTo>
                    <a:pt x="1590" y="465"/>
                  </a:lnTo>
                  <a:lnTo>
                    <a:pt x="1593" y="479"/>
                  </a:lnTo>
                  <a:lnTo>
                    <a:pt x="1596" y="485"/>
                  </a:lnTo>
                  <a:lnTo>
                    <a:pt x="1598" y="491"/>
                  </a:lnTo>
                  <a:lnTo>
                    <a:pt x="1603" y="496"/>
                  </a:lnTo>
                  <a:lnTo>
                    <a:pt x="1607" y="501"/>
                  </a:lnTo>
                  <a:lnTo>
                    <a:pt x="1611" y="505"/>
                  </a:lnTo>
                  <a:lnTo>
                    <a:pt x="1617" y="509"/>
                  </a:lnTo>
                  <a:lnTo>
                    <a:pt x="1623" y="512"/>
                  </a:lnTo>
                  <a:lnTo>
                    <a:pt x="1629" y="515"/>
                  </a:lnTo>
                  <a:lnTo>
                    <a:pt x="1642" y="518"/>
                  </a:lnTo>
                  <a:lnTo>
                    <a:pt x="1657" y="519"/>
                  </a:lnTo>
                  <a:close/>
                  <a:moveTo>
                    <a:pt x="66" y="250"/>
                  </a:moveTo>
                  <a:lnTo>
                    <a:pt x="66" y="250"/>
                  </a:lnTo>
                  <a:lnTo>
                    <a:pt x="66" y="255"/>
                  </a:lnTo>
                  <a:lnTo>
                    <a:pt x="69" y="261"/>
                  </a:lnTo>
                  <a:lnTo>
                    <a:pt x="72" y="265"/>
                  </a:lnTo>
                  <a:lnTo>
                    <a:pt x="78" y="268"/>
                  </a:lnTo>
                  <a:lnTo>
                    <a:pt x="82" y="271"/>
                  </a:lnTo>
                  <a:lnTo>
                    <a:pt x="89" y="271"/>
                  </a:lnTo>
                  <a:lnTo>
                    <a:pt x="95" y="271"/>
                  </a:lnTo>
                  <a:lnTo>
                    <a:pt x="101" y="268"/>
                  </a:lnTo>
                  <a:lnTo>
                    <a:pt x="105" y="265"/>
                  </a:lnTo>
                  <a:lnTo>
                    <a:pt x="109" y="261"/>
                  </a:lnTo>
                  <a:lnTo>
                    <a:pt x="111" y="255"/>
                  </a:lnTo>
                  <a:lnTo>
                    <a:pt x="112" y="250"/>
                  </a:lnTo>
                  <a:lnTo>
                    <a:pt x="112" y="80"/>
                  </a:lnTo>
                  <a:lnTo>
                    <a:pt x="249" y="257"/>
                  </a:lnTo>
                  <a:lnTo>
                    <a:pt x="255" y="262"/>
                  </a:lnTo>
                  <a:lnTo>
                    <a:pt x="259" y="267"/>
                  </a:lnTo>
                  <a:lnTo>
                    <a:pt x="266" y="270"/>
                  </a:lnTo>
                  <a:lnTo>
                    <a:pt x="274" y="271"/>
                  </a:lnTo>
                  <a:lnTo>
                    <a:pt x="275" y="271"/>
                  </a:lnTo>
                  <a:lnTo>
                    <a:pt x="282" y="271"/>
                  </a:lnTo>
                  <a:lnTo>
                    <a:pt x="287" y="268"/>
                  </a:lnTo>
                  <a:lnTo>
                    <a:pt x="292" y="264"/>
                  </a:lnTo>
                  <a:lnTo>
                    <a:pt x="295" y="260"/>
                  </a:lnTo>
                  <a:lnTo>
                    <a:pt x="298" y="254"/>
                  </a:lnTo>
                  <a:lnTo>
                    <a:pt x="298" y="248"/>
                  </a:lnTo>
                  <a:lnTo>
                    <a:pt x="298" y="24"/>
                  </a:lnTo>
                  <a:lnTo>
                    <a:pt x="298" y="18"/>
                  </a:lnTo>
                  <a:lnTo>
                    <a:pt x="295" y="13"/>
                  </a:lnTo>
                  <a:lnTo>
                    <a:pt x="292" y="8"/>
                  </a:lnTo>
                  <a:lnTo>
                    <a:pt x="287" y="5"/>
                  </a:lnTo>
                  <a:lnTo>
                    <a:pt x="281" y="3"/>
                  </a:lnTo>
                  <a:lnTo>
                    <a:pt x="275" y="1"/>
                  </a:lnTo>
                  <a:lnTo>
                    <a:pt x="269" y="3"/>
                  </a:lnTo>
                  <a:lnTo>
                    <a:pt x="264" y="5"/>
                  </a:lnTo>
                  <a:lnTo>
                    <a:pt x="259" y="8"/>
                  </a:lnTo>
                  <a:lnTo>
                    <a:pt x="255" y="13"/>
                  </a:lnTo>
                  <a:lnTo>
                    <a:pt x="253" y="18"/>
                  </a:lnTo>
                  <a:lnTo>
                    <a:pt x="252" y="24"/>
                  </a:lnTo>
                  <a:lnTo>
                    <a:pt x="252" y="188"/>
                  </a:lnTo>
                  <a:lnTo>
                    <a:pt x="118" y="15"/>
                  </a:lnTo>
                  <a:lnTo>
                    <a:pt x="114" y="10"/>
                  </a:lnTo>
                  <a:lnTo>
                    <a:pt x="108" y="5"/>
                  </a:lnTo>
                  <a:lnTo>
                    <a:pt x="102" y="3"/>
                  </a:lnTo>
                  <a:lnTo>
                    <a:pt x="95" y="3"/>
                  </a:lnTo>
                  <a:lnTo>
                    <a:pt x="89" y="3"/>
                  </a:lnTo>
                  <a:lnTo>
                    <a:pt x="84" y="3"/>
                  </a:lnTo>
                  <a:lnTo>
                    <a:pt x="78" y="5"/>
                  </a:lnTo>
                  <a:lnTo>
                    <a:pt x="72" y="8"/>
                  </a:lnTo>
                  <a:lnTo>
                    <a:pt x="69" y="14"/>
                  </a:lnTo>
                  <a:lnTo>
                    <a:pt x="66" y="20"/>
                  </a:lnTo>
                  <a:lnTo>
                    <a:pt x="66" y="25"/>
                  </a:lnTo>
                  <a:lnTo>
                    <a:pt x="66" y="250"/>
                  </a:lnTo>
                  <a:close/>
                  <a:moveTo>
                    <a:pt x="331" y="250"/>
                  </a:moveTo>
                  <a:lnTo>
                    <a:pt x="331" y="250"/>
                  </a:lnTo>
                  <a:lnTo>
                    <a:pt x="333" y="255"/>
                  </a:lnTo>
                  <a:lnTo>
                    <a:pt x="334" y="261"/>
                  </a:lnTo>
                  <a:lnTo>
                    <a:pt x="338" y="265"/>
                  </a:lnTo>
                  <a:lnTo>
                    <a:pt x="343" y="268"/>
                  </a:lnTo>
                  <a:lnTo>
                    <a:pt x="347" y="271"/>
                  </a:lnTo>
                  <a:lnTo>
                    <a:pt x="353" y="271"/>
                  </a:lnTo>
                  <a:lnTo>
                    <a:pt x="360" y="271"/>
                  </a:lnTo>
                  <a:lnTo>
                    <a:pt x="366" y="268"/>
                  </a:lnTo>
                  <a:lnTo>
                    <a:pt x="372" y="264"/>
                  </a:lnTo>
                  <a:lnTo>
                    <a:pt x="374" y="257"/>
                  </a:lnTo>
                  <a:lnTo>
                    <a:pt x="397" y="205"/>
                  </a:lnTo>
                  <a:lnTo>
                    <a:pt x="527" y="205"/>
                  </a:lnTo>
                  <a:lnTo>
                    <a:pt x="549" y="255"/>
                  </a:lnTo>
                  <a:lnTo>
                    <a:pt x="553" y="262"/>
                  </a:lnTo>
                  <a:lnTo>
                    <a:pt x="557" y="267"/>
                  </a:lnTo>
                  <a:lnTo>
                    <a:pt x="564" y="271"/>
                  </a:lnTo>
                  <a:lnTo>
                    <a:pt x="572" y="271"/>
                  </a:lnTo>
                  <a:lnTo>
                    <a:pt x="577" y="271"/>
                  </a:lnTo>
                  <a:lnTo>
                    <a:pt x="583" y="268"/>
                  </a:lnTo>
                  <a:lnTo>
                    <a:pt x="588" y="265"/>
                  </a:lnTo>
                  <a:lnTo>
                    <a:pt x="590" y="261"/>
                  </a:lnTo>
                  <a:lnTo>
                    <a:pt x="593" y="255"/>
                  </a:lnTo>
                  <a:lnTo>
                    <a:pt x="595" y="250"/>
                  </a:lnTo>
                  <a:lnTo>
                    <a:pt x="593" y="247"/>
                  </a:lnTo>
                  <a:lnTo>
                    <a:pt x="593" y="244"/>
                  </a:lnTo>
                  <a:lnTo>
                    <a:pt x="593" y="242"/>
                  </a:lnTo>
                  <a:lnTo>
                    <a:pt x="592" y="239"/>
                  </a:lnTo>
                  <a:lnTo>
                    <a:pt x="492" y="18"/>
                  </a:lnTo>
                  <a:lnTo>
                    <a:pt x="487" y="11"/>
                  </a:lnTo>
                  <a:lnTo>
                    <a:pt x="481" y="5"/>
                  </a:lnTo>
                  <a:lnTo>
                    <a:pt x="474" y="1"/>
                  </a:lnTo>
                  <a:lnTo>
                    <a:pt x="464" y="0"/>
                  </a:lnTo>
                  <a:lnTo>
                    <a:pt x="462" y="0"/>
                  </a:lnTo>
                  <a:lnTo>
                    <a:pt x="452" y="1"/>
                  </a:lnTo>
                  <a:lnTo>
                    <a:pt x="445" y="5"/>
                  </a:lnTo>
                  <a:lnTo>
                    <a:pt x="439" y="11"/>
                  </a:lnTo>
                  <a:lnTo>
                    <a:pt x="433" y="18"/>
                  </a:lnTo>
                  <a:lnTo>
                    <a:pt x="334" y="239"/>
                  </a:lnTo>
                  <a:lnTo>
                    <a:pt x="333" y="242"/>
                  </a:lnTo>
                  <a:lnTo>
                    <a:pt x="333" y="245"/>
                  </a:lnTo>
                  <a:lnTo>
                    <a:pt x="331" y="248"/>
                  </a:lnTo>
                  <a:lnTo>
                    <a:pt x="331" y="250"/>
                  </a:lnTo>
                  <a:close/>
                  <a:moveTo>
                    <a:pt x="416" y="163"/>
                  </a:moveTo>
                  <a:lnTo>
                    <a:pt x="416" y="163"/>
                  </a:lnTo>
                  <a:lnTo>
                    <a:pt x="462" y="57"/>
                  </a:lnTo>
                  <a:lnTo>
                    <a:pt x="510" y="163"/>
                  </a:lnTo>
                  <a:lnTo>
                    <a:pt x="416" y="163"/>
                  </a:lnTo>
                  <a:close/>
                  <a:moveTo>
                    <a:pt x="755" y="248"/>
                  </a:moveTo>
                  <a:lnTo>
                    <a:pt x="755" y="248"/>
                  </a:lnTo>
                  <a:lnTo>
                    <a:pt x="756" y="255"/>
                  </a:lnTo>
                  <a:lnTo>
                    <a:pt x="759" y="260"/>
                  </a:lnTo>
                  <a:lnTo>
                    <a:pt x="762" y="265"/>
                  </a:lnTo>
                  <a:lnTo>
                    <a:pt x="766" y="268"/>
                  </a:lnTo>
                  <a:lnTo>
                    <a:pt x="772" y="271"/>
                  </a:lnTo>
                  <a:lnTo>
                    <a:pt x="779" y="271"/>
                  </a:lnTo>
                  <a:lnTo>
                    <a:pt x="785" y="271"/>
                  </a:lnTo>
                  <a:lnTo>
                    <a:pt x="791" y="268"/>
                  </a:lnTo>
                  <a:lnTo>
                    <a:pt x="795" y="265"/>
                  </a:lnTo>
                  <a:lnTo>
                    <a:pt x="799" y="260"/>
                  </a:lnTo>
                  <a:lnTo>
                    <a:pt x="801" y="255"/>
                  </a:lnTo>
                  <a:lnTo>
                    <a:pt x="802" y="248"/>
                  </a:lnTo>
                  <a:lnTo>
                    <a:pt x="802" y="194"/>
                  </a:lnTo>
                  <a:lnTo>
                    <a:pt x="845" y="152"/>
                  </a:lnTo>
                  <a:lnTo>
                    <a:pt x="932" y="261"/>
                  </a:lnTo>
                  <a:lnTo>
                    <a:pt x="935" y="265"/>
                  </a:lnTo>
                  <a:lnTo>
                    <a:pt x="939" y="268"/>
                  </a:lnTo>
                  <a:lnTo>
                    <a:pt x="945" y="271"/>
                  </a:lnTo>
                  <a:lnTo>
                    <a:pt x="950" y="271"/>
                  </a:lnTo>
                  <a:lnTo>
                    <a:pt x="958" y="271"/>
                  </a:lnTo>
                  <a:lnTo>
                    <a:pt x="963" y="268"/>
                  </a:lnTo>
                  <a:lnTo>
                    <a:pt x="968" y="265"/>
                  </a:lnTo>
                  <a:lnTo>
                    <a:pt x="972" y="261"/>
                  </a:lnTo>
                  <a:lnTo>
                    <a:pt x="973" y="255"/>
                  </a:lnTo>
                  <a:lnTo>
                    <a:pt x="975" y="250"/>
                  </a:lnTo>
                  <a:lnTo>
                    <a:pt x="975" y="244"/>
                  </a:lnTo>
                  <a:lnTo>
                    <a:pt x="973" y="239"/>
                  </a:lnTo>
                  <a:lnTo>
                    <a:pt x="971" y="235"/>
                  </a:lnTo>
                  <a:lnTo>
                    <a:pt x="968" y="232"/>
                  </a:lnTo>
                  <a:lnTo>
                    <a:pt x="878" y="120"/>
                  </a:lnTo>
                  <a:lnTo>
                    <a:pt x="962" y="41"/>
                  </a:lnTo>
                  <a:lnTo>
                    <a:pt x="965" y="37"/>
                  </a:lnTo>
                  <a:lnTo>
                    <a:pt x="968" y="33"/>
                  </a:lnTo>
                  <a:lnTo>
                    <a:pt x="969" y="28"/>
                  </a:lnTo>
                  <a:lnTo>
                    <a:pt x="969" y="23"/>
                  </a:lnTo>
                  <a:lnTo>
                    <a:pt x="969" y="18"/>
                  </a:lnTo>
                  <a:lnTo>
                    <a:pt x="968" y="13"/>
                  </a:lnTo>
                  <a:lnTo>
                    <a:pt x="963" y="8"/>
                  </a:lnTo>
                  <a:lnTo>
                    <a:pt x="959" y="5"/>
                  </a:lnTo>
                  <a:lnTo>
                    <a:pt x="955" y="3"/>
                  </a:lnTo>
                  <a:lnTo>
                    <a:pt x="948" y="1"/>
                  </a:lnTo>
                  <a:lnTo>
                    <a:pt x="942" y="3"/>
                  </a:lnTo>
                  <a:lnTo>
                    <a:pt x="937" y="4"/>
                  </a:lnTo>
                  <a:lnTo>
                    <a:pt x="933" y="7"/>
                  </a:lnTo>
                  <a:lnTo>
                    <a:pt x="929" y="10"/>
                  </a:lnTo>
                  <a:lnTo>
                    <a:pt x="802" y="137"/>
                  </a:lnTo>
                  <a:lnTo>
                    <a:pt x="802" y="25"/>
                  </a:lnTo>
                  <a:lnTo>
                    <a:pt x="801" y="18"/>
                  </a:lnTo>
                  <a:lnTo>
                    <a:pt x="799" y="13"/>
                  </a:lnTo>
                  <a:lnTo>
                    <a:pt x="795" y="8"/>
                  </a:lnTo>
                  <a:lnTo>
                    <a:pt x="791" y="5"/>
                  </a:lnTo>
                  <a:lnTo>
                    <a:pt x="785" y="3"/>
                  </a:lnTo>
                  <a:lnTo>
                    <a:pt x="779" y="1"/>
                  </a:lnTo>
                  <a:lnTo>
                    <a:pt x="772" y="3"/>
                  </a:lnTo>
                  <a:lnTo>
                    <a:pt x="766" y="5"/>
                  </a:lnTo>
                  <a:lnTo>
                    <a:pt x="762" y="8"/>
                  </a:lnTo>
                  <a:lnTo>
                    <a:pt x="759" y="13"/>
                  </a:lnTo>
                  <a:lnTo>
                    <a:pt x="756" y="18"/>
                  </a:lnTo>
                  <a:lnTo>
                    <a:pt x="755" y="25"/>
                  </a:lnTo>
                  <a:lnTo>
                    <a:pt x="755" y="248"/>
                  </a:lnTo>
                  <a:close/>
                  <a:moveTo>
                    <a:pt x="1126" y="274"/>
                  </a:moveTo>
                  <a:lnTo>
                    <a:pt x="1126" y="274"/>
                  </a:lnTo>
                  <a:lnTo>
                    <a:pt x="1138" y="274"/>
                  </a:lnTo>
                  <a:lnTo>
                    <a:pt x="1149" y="272"/>
                  </a:lnTo>
                  <a:lnTo>
                    <a:pt x="1161" y="270"/>
                  </a:lnTo>
                  <a:lnTo>
                    <a:pt x="1172" y="267"/>
                  </a:lnTo>
                  <a:lnTo>
                    <a:pt x="1182" y="264"/>
                  </a:lnTo>
                  <a:lnTo>
                    <a:pt x="1192" y="258"/>
                  </a:lnTo>
                  <a:lnTo>
                    <a:pt x="1201" y="254"/>
                  </a:lnTo>
                  <a:lnTo>
                    <a:pt x="1210" y="248"/>
                  </a:lnTo>
                  <a:lnTo>
                    <a:pt x="1218" y="241"/>
                  </a:lnTo>
                  <a:lnTo>
                    <a:pt x="1227" y="234"/>
                  </a:lnTo>
                  <a:lnTo>
                    <a:pt x="1234" y="225"/>
                  </a:lnTo>
                  <a:lnTo>
                    <a:pt x="1240" y="218"/>
                  </a:lnTo>
                  <a:lnTo>
                    <a:pt x="1246" y="209"/>
                  </a:lnTo>
                  <a:lnTo>
                    <a:pt x="1251" y="199"/>
                  </a:lnTo>
                  <a:lnTo>
                    <a:pt x="1256" y="189"/>
                  </a:lnTo>
                  <a:lnTo>
                    <a:pt x="1259" y="179"/>
                  </a:lnTo>
                  <a:lnTo>
                    <a:pt x="1261" y="169"/>
                  </a:lnTo>
                  <a:lnTo>
                    <a:pt x="1264" y="159"/>
                  </a:lnTo>
                  <a:lnTo>
                    <a:pt x="1266" y="148"/>
                  </a:lnTo>
                  <a:lnTo>
                    <a:pt x="1266" y="136"/>
                  </a:lnTo>
                  <a:lnTo>
                    <a:pt x="1266" y="136"/>
                  </a:lnTo>
                  <a:lnTo>
                    <a:pt x="1266" y="125"/>
                  </a:lnTo>
                  <a:lnTo>
                    <a:pt x="1264" y="115"/>
                  </a:lnTo>
                  <a:lnTo>
                    <a:pt x="1261" y="103"/>
                  </a:lnTo>
                  <a:lnTo>
                    <a:pt x="1259" y="93"/>
                  </a:lnTo>
                  <a:lnTo>
                    <a:pt x="1256" y="83"/>
                  </a:lnTo>
                  <a:lnTo>
                    <a:pt x="1251" y="73"/>
                  </a:lnTo>
                  <a:lnTo>
                    <a:pt x="1246" y="64"/>
                  </a:lnTo>
                  <a:lnTo>
                    <a:pt x="1240" y="56"/>
                  </a:lnTo>
                  <a:lnTo>
                    <a:pt x="1234" y="47"/>
                  </a:lnTo>
                  <a:lnTo>
                    <a:pt x="1227" y="40"/>
                  </a:lnTo>
                  <a:lnTo>
                    <a:pt x="1220" y="33"/>
                  </a:lnTo>
                  <a:lnTo>
                    <a:pt x="1211" y="25"/>
                  </a:lnTo>
                  <a:lnTo>
                    <a:pt x="1202" y="20"/>
                  </a:lnTo>
                  <a:lnTo>
                    <a:pt x="1192" y="14"/>
                  </a:lnTo>
                  <a:lnTo>
                    <a:pt x="1182" y="10"/>
                  </a:lnTo>
                  <a:lnTo>
                    <a:pt x="1172" y="5"/>
                  </a:lnTo>
                  <a:lnTo>
                    <a:pt x="1162" y="3"/>
                  </a:lnTo>
                  <a:lnTo>
                    <a:pt x="1151" y="1"/>
                  </a:lnTo>
                  <a:lnTo>
                    <a:pt x="1139" y="0"/>
                  </a:lnTo>
                  <a:lnTo>
                    <a:pt x="1126" y="0"/>
                  </a:lnTo>
                  <a:lnTo>
                    <a:pt x="1115" y="0"/>
                  </a:lnTo>
                  <a:lnTo>
                    <a:pt x="1103" y="1"/>
                  </a:lnTo>
                  <a:lnTo>
                    <a:pt x="1092" y="3"/>
                  </a:lnTo>
                  <a:lnTo>
                    <a:pt x="1080" y="5"/>
                  </a:lnTo>
                  <a:lnTo>
                    <a:pt x="1070" y="10"/>
                  </a:lnTo>
                  <a:lnTo>
                    <a:pt x="1060" y="14"/>
                  </a:lnTo>
                  <a:lnTo>
                    <a:pt x="1051" y="20"/>
                  </a:lnTo>
                  <a:lnTo>
                    <a:pt x="1041" y="25"/>
                  </a:lnTo>
                  <a:lnTo>
                    <a:pt x="1034" y="33"/>
                  </a:lnTo>
                  <a:lnTo>
                    <a:pt x="1025" y="40"/>
                  </a:lnTo>
                  <a:lnTo>
                    <a:pt x="1018" y="47"/>
                  </a:lnTo>
                  <a:lnTo>
                    <a:pt x="1012" y="56"/>
                  </a:lnTo>
                  <a:lnTo>
                    <a:pt x="1007" y="64"/>
                  </a:lnTo>
                  <a:lnTo>
                    <a:pt x="1001" y="74"/>
                  </a:lnTo>
                  <a:lnTo>
                    <a:pt x="996" y="83"/>
                  </a:lnTo>
                  <a:lnTo>
                    <a:pt x="994" y="93"/>
                  </a:lnTo>
                  <a:lnTo>
                    <a:pt x="991" y="104"/>
                  </a:lnTo>
                  <a:lnTo>
                    <a:pt x="988" y="115"/>
                  </a:lnTo>
                  <a:lnTo>
                    <a:pt x="986" y="126"/>
                  </a:lnTo>
                  <a:lnTo>
                    <a:pt x="986" y="136"/>
                  </a:lnTo>
                  <a:lnTo>
                    <a:pt x="986" y="137"/>
                  </a:lnTo>
                  <a:lnTo>
                    <a:pt x="986" y="149"/>
                  </a:lnTo>
                  <a:lnTo>
                    <a:pt x="988" y="159"/>
                  </a:lnTo>
                  <a:lnTo>
                    <a:pt x="991" y="171"/>
                  </a:lnTo>
                  <a:lnTo>
                    <a:pt x="994" y="181"/>
                  </a:lnTo>
                  <a:lnTo>
                    <a:pt x="996" y="191"/>
                  </a:lnTo>
                  <a:lnTo>
                    <a:pt x="1001" y="201"/>
                  </a:lnTo>
                  <a:lnTo>
                    <a:pt x="1007" y="209"/>
                  </a:lnTo>
                  <a:lnTo>
                    <a:pt x="1012" y="218"/>
                  </a:lnTo>
                  <a:lnTo>
                    <a:pt x="1018" y="227"/>
                  </a:lnTo>
                  <a:lnTo>
                    <a:pt x="1025" y="234"/>
                  </a:lnTo>
                  <a:lnTo>
                    <a:pt x="1032" y="241"/>
                  </a:lnTo>
                  <a:lnTo>
                    <a:pt x="1041" y="248"/>
                  </a:lnTo>
                  <a:lnTo>
                    <a:pt x="1050" y="254"/>
                  </a:lnTo>
                  <a:lnTo>
                    <a:pt x="1060" y="260"/>
                  </a:lnTo>
                  <a:lnTo>
                    <a:pt x="1068" y="264"/>
                  </a:lnTo>
                  <a:lnTo>
                    <a:pt x="1080" y="267"/>
                  </a:lnTo>
                  <a:lnTo>
                    <a:pt x="1090" y="271"/>
                  </a:lnTo>
                  <a:lnTo>
                    <a:pt x="1102" y="272"/>
                  </a:lnTo>
                  <a:lnTo>
                    <a:pt x="1113" y="274"/>
                  </a:lnTo>
                  <a:lnTo>
                    <a:pt x="1126" y="274"/>
                  </a:lnTo>
                  <a:close/>
                  <a:moveTo>
                    <a:pt x="1126" y="231"/>
                  </a:moveTo>
                  <a:lnTo>
                    <a:pt x="1126" y="231"/>
                  </a:lnTo>
                  <a:lnTo>
                    <a:pt x="1116" y="231"/>
                  </a:lnTo>
                  <a:lnTo>
                    <a:pt x="1107" y="229"/>
                  </a:lnTo>
                  <a:lnTo>
                    <a:pt x="1099" y="227"/>
                  </a:lnTo>
                  <a:lnTo>
                    <a:pt x="1090" y="224"/>
                  </a:lnTo>
                  <a:lnTo>
                    <a:pt x="1081" y="219"/>
                  </a:lnTo>
                  <a:lnTo>
                    <a:pt x="1074" y="215"/>
                  </a:lnTo>
                  <a:lnTo>
                    <a:pt x="1067" y="209"/>
                  </a:lnTo>
                  <a:lnTo>
                    <a:pt x="1061" y="204"/>
                  </a:lnTo>
                  <a:lnTo>
                    <a:pt x="1056" y="196"/>
                  </a:lnTo>
                  <a:lnTo>
                    <a:pt x="1050" y="189"/>
                  </a:lnTo>
                  <a:lnTo>
                    <a:pt x="1045" y="182"/>
                  </a:lnTo>
                  <a:lnTo>
                    <a:pt x="1043" y="173"/>
                  </a:lnTo>
                  <a:lnTo>
                    <a:pt x="1040" y="165"/>
                  </a:lnTo>
                  <a:lnTo>
                    <a:pt x="1037" y="156"/>
                  </a:lnTo>
                  <a:lnTo>
                    <a:pt x="1035" y="146"/>
                  </a:lnTo>
                  <a:lnTo>
                    <a:pt x="1035" y="136"/>
                  </a:lnTo>
                  <a:lnTo>
                    <a:pt x="1035" y="136"/>
                  </a:lnTo>
                  <a:lnTo>
                    <a:pt x="1035" y="126"/>
                  </a:lnTo>
                  <a:lnTo>
                    <a:pt x="1037" y="117"/>
                  </a:lnTo>
                  <a:lnTo>
                    <a:pt x="1040" y="107"/>
                  </a:lnTo>
                  <a:lnTo>
                    <a:pt x="1043" y="99"/>
                  </a:lnTo>
                  <a:lnTo>
                    <a:pt x="1045" y="92"/>
                  </a:lnTo>
                  <a:lnTo>
                    <a:pt x="1050" y="83"/>
                  </a:lnTo>
                  <a:lnTo>
                    <a:pt x="1056" y="76"/>
                  </a:lnTo>
                  <a:lnTo>
                    <a:pt x="1061" y="70"/>
                  </a:lnTo>
                  <a:lnTo>
                    <a:pt x="1067" y="63"/>
                  </a:lnTo>
                  <a:lnTo>
                    <a:pt x="1074" y="59"/>
                  </a:lnTo>
                  <a:lnTo>
                    <a:pt x="1081" y="53"/>
                  </a:lnTo>
                  <a:lnTo>
                    <a:pt x="1089" y="50"/>
                  </a:lnTo>
                  <a:lnTo>
                    <a:pt x="1097" y="46"/>
                  </a:lnTo>
                  <a:lnTo>
                    <a:pt x="1106" y="44"/>
                  </a:lnTo>
                  <a:lnTo>
                    <a:pt x="1116" y="43"/>
                  </a:lnTo>
                  <a:lnTo>
                    <a:pt x="1126" y="41"/>
                  </a:lnTo>
                  <a:lnTo>
                    <a:pt x="1135" y="43"/>
                  </a:lnTo>
                  <a:lnTo>
                    <a:pt x="1145" y="44"/>
                  </a:lnTo>
                  <a:lnTo>
                    <a:pt x="1153" y="46"/>
                  </a:lnTo>
                  <a:lnTo>
                    <a:pt x="1162" y="50"/>
                  </a:lnTo>
                  <a:lnTo>
                    <a:pt x="1171" y="54"/>
                  </a:lnTo>
                  <a:lnTo>
                    <a:pt x="1178" y="59"/>
                  </a:lnTo>
                  <a:lnTo>
                    <a:pt x="1185" y="64"/>
                  </a:lnTo>
                  <a:lnTo>
                    <a:pt x="1191" y="70"/>
                  </a:lnTo>
                  <a:lnTo>
                    <a:pt x="1197" y="77"/>
                  </a:lnTo>
                  <a:lnTo>
                    <a:pt x="1201" y="84"/>
                  </a:lnTo>
                  <a:lnTo>
                    <a:pt x="1205" y="92"/>
                  </a:lnTo>
                  <a:lnTo>
                    <a:pt x="1210" y="100"/>
                  </a:lnTo>
                  <a:lnTo>
                    <a:pt x="1212" y="109"/>
                  </a:lnTo>
                  <a:lnTo>
                    <a:pt x="1214" y="117"/>
                  </a:lnTo>
                  <a:lnTo>
                    <a:pt x="1215" y="127"/>
                  </a:lnTo>
                  <a:lnTo>
                    <a:pt x="1217" y="136"/>
                  </a:lnTo>
                  <a:lnTo>
                    <a:pt x="1217" y="137"/>
                  </a:lnTo>
                  <a:lnTo>
                    <a:pt x="1215" y="148"/>
                  </a:lnTo>
                  <a:lnTo>
                    <a:pt x="1214" y="156"/>
                  </a:lnTo>
                  <a:lnTo>
                    <a:pt x="1212" y="165"/>
                  </a:lnTo>
                  <a:lnTo>
                    <a:pt x="1210" y="173"/>
                  </a:lnTo>
                  <a:lnTo>
                    <a:pt x="1207" y="182"/>
                  </a:lnTo>
                  <a:lnTo>
                    <a:pt x="1202" y="189"/>
                  </a:lnTo>
                  <a:lnTo>
                    <a:pt x="1197" y="196"/>
                  </a:lnTo>
                  <a:lnTo>
                    <a:pt x="1191" y="204"/>
                  </a:lnTo>
                  <a:lnTo>
                    <a:pt x="1185" y="209"/>
                  </a:lnTo>
                  <a:lnTo>
                    <a:pt x="1178" y="215"/>
                  </a:lnTo>
                  <a:lnTo>
                    <a:pt x="1171" y="219"/>
                  </a:lnTo>
                  <a:lnTo>
                    <a:pt x="1162" y="224"/>
                  </a:lnTo>
                  <a:lnTo>
                    <a:pt x="1155" y="227"/>
                  </a:lnTo>
                  <a:lnTo>
                    <a:pt x="1145" y="229"/>
                  </a:lnTo>
                  <a:lnTo>
                    <a:pt x="1136" y="231"/>
                  </a:lnTo>
                  <a:lnTo>
                    <a:pt x="1126" y="231"/>
                  </a:lnTo>
                  <a:close/>
                  <a:moveTo>
                    <a:pt x="1308" y="247"/>
                  </a:moveTo>
                  <a:lnTo>
                    <a:pt x="1308" y="247"/>
                  </a:lnTo>
                  <a:lnTo>
                    <a:pt x="1308" y="252"/>
                  </a:lnTo>
                  <a:lnTo>
                    <a:pt x="1310" y="258"/>
                  </a:lnTo>
                  <a:lnTo>
                    <a:pt x="1315" y="262"/>
                  </a:lnTo>
                  <a:lnTo>
                    <a:pt x="1319" y="267"/>
                  </a:lnTo>
                  <a:lnTo>
                    <a:pt x="1325" y="270"/>
                  </a:lnTo>
                  <a:lnTo>
                    <a:pt x="1331" y="270"/>
                  </a:lnTo>
                  <a:lnTo>
                    <a:pt x="1475" y="270"/>
                  </a:lnTo>
                  <a:lnTo>
                    <a:pt x="1480" y="270"/>
                  </a:lnTo>
                  <a:lnTo>
                    <a:pt x="1486" y="267"/>
                  </a:lnTo>
                  <a:lnTo>
                    <a:pt x="1490" y="264"/>
                  </a:lnTo>
                  <a:lnTo>
                    <a:pt x="1493" y="260"/>
                  </a:lnTo>
                  <a:lnTo>
                    <a:pt x="1496" y="254"/>
                  </a:lnTo>
                  <a:lnTo>
                    <a:pt x="1496" y="248"/>
                  </a:lnTo>
                  <a:lnTo>
                    <a:pt x="1496" y="242"/>
                  </a:lnTo>
                  <a:lnTo>
                    <a:pt x="1493" y="238"/>
                  </a:lnTo>
                  <a:lnTo>
                    <a:pt x="1490" y="234"/>
                  </a:lnTo>
                  <a:lnTo>
                    <a:pt x="1486" y="229"/>
                  </a:lnTo>
                  <a:lnTo>
                    <a:pt x="1480" y="228"/>
                  </a:lnTo>
                  <a:lnTo>
                    <a:pt x="1475" y="227"/>
                  </a:lnTo>
                  <a:lnTo>
                    <a:pt x="1354" y="227"/>
                  </a:lnTo>
                  <a:lnTo>
                    <a:pt x="1354" y="25"/>
                  </a:lnTo>
                  <a:lnTo>
                    <a:pt x="1354" y="18"/>
                  </a:lnTo>
                  <a:lnTo>
                    <a:pt x="1351" y="13"/>
                  </a:lnTo>
                  <a:lnTo>
                    <a:pt x="1348" y="8"/>
                  </a:lnTo>
                  <a:lnTo>
                    <a:pt x="1342" y="5"/>
                  </a:lnTo>
                  <a:lnTo>
                    <a:pt x="1338" y="3"/>
                  </a:lnTo>
                  <a:lnTo>
                    <a:pt x="1331" y="1"/>
                  </a:lnTo>
                  <a:lnTo>
                    <a:pt x="1325" y="3"/>
                  </a:lnTo>
                  <a:lnTo>
                    <a:pt x="1319" y="5"/>
                  </a:lnTo>
                  <a:lnTo>
                    <a:pt x="1315" y="8"/>
                  </a:lnTo>
                  <a:lnTo>
                    <a:pt x="1310" y="13"/>
                  </a:lnTo>
                  <a:lnTo>
                    <a:pt x="1308" y="18"/>
                  </a:lnTo>
                  <a:lnTo>
                    <a:pt x="1308" y="25"/>
                  </a:lnTo>
                  <a:lnTo>
                    <a:pt x="1308" y="247"/>
                  </a:lnTo>
                  <a:close/>
                  <a:moveTo>
                    <a:pt x="1549" y="270"/>
                  </a:moveTo>
                  <a:lnTo>
                    <a:pt x="1549" y="270"/>
                  </a:lnTo>
                  <a:lnTo>
                    <a:pt x="1706" y="270"/>
                  </a:lnTo>
                  <a:lnTo>
                    <a:pt x="1712" y="270"/>
                  </a:lnTo>
                  <a:lnTo>
                    <a:pt x="1718" y="267"/>
                  </a:lnTo>
                  <a:lnTo>
                    <a:pt x="1722" y="264"/>
                  </a:lnTo>
                  <a:lnTo>
                    <a:pt x="1725" y="260"/>
                  </a:lnTo>
                  <a:lnTo>
                    <a:pt x="1727" y="254"/>
                  </a:lnTo>
                  <a:lnTo>
                    <a:pt x="1728" y="250"/>
                  </a:lnTo>
                  <a:lnTo>
                    <a:pt x="1727" y="244"/>
                  </a:lnTo>
                  <a:lnTo>
                    <a:pt x="1725" y="238"/>
                  </a:lnTo>
                  <a:lnTo>
                    <a:pt x="1722" y="234"/>
                  </a:lnTo>
                  <a:lnTo>
                    <a:pt x="1718" y="231"/>
                  </a:lnTo>
                  <a:lnTo>
                    <a:pt x="1712" y="229"/>
                  </a:lnTo>
                  <a:lnTo>
                    <a:pt x="1706" y="228"/>
                  </a:lnTo>
                  <a:lnTo>
                    <a:pt x="1572" y="228"/>
                  </a:lnTo>
                  <a:lnTo>
                    <a:pt x="1572" y="156"/>
                  </a:lnTo>
                  <a:lnTo>
                    <a:pt x="1688" y="156"/>
                  </a:lnTo>
                  <a:lnTo>
                    <a:pt x="1693" y="156"/>
                  </a:lnTo>
                  <a:lnTo>
                    <a:pt x="1699" y="153"/>
                  </a:lnTo>
                  <a:lnTo>
                    <a:pt x="1702" y="150"/>
                  </a:lnTo>
                  <a:lnTo>
                    <a:pt x="1706" y="146"/>
                  </a:lnTo>
                  <a:lnTo>
                    <a:pt x="1708" y="142"/>
                  </a:lnTo>
                  <a:lnTo>
                    <a:pt x="1709" y="136"/>
                  </a:lnTo>
                  <a:lnTo>
                    <a:pt x="1708" y="130"/>
                  </a:lnTo>
                  <a:lnTo>
                    <a:pt x="1706" y="125"/>
                  </a:lnTo>
                  <a:lnTo>
                    <a:pt x="1702" y="120"/>
                  </a:lnTo>
                  <a:lnTo>
                    <a:pt x="1699" y="117"/>
                  </a:lnTo>
                  <a:lnTo>
                    <a:pt x="1693" y="116"/>
                  </a:lnTo>
                  <a:lnTo>
                    <a:pt x="1688" y="115"/>
                  </a:lnTo>
                  <a:lnTo>
                    <a:pt x="1572" y="115"/>
                  </a:lnTo>
                  <a:lnTo>
                    <a:pt x="1572" y="46"/>
                  </a:lnTo>
                  <a:lnTo>
                    <a:pt x="1705" y="46"/>
                  </a:lnTo>
                  <a:lnTo>
                    <a:pt x="1711" y="44"/>
                  </a:lnTo>
                  <a:lnTo>
                    <a:pt x="1715" y="43"/>
                  </a:lnTo>
                  <a:lnTo>
                    <a:pt x="1719" y="40"/>
                  </a:lnTo>
                  <a:lnTo>
                    <a:pt x="1724" y="36"/>
                  </a:lnTo>
                  <a:lnTo>
                    <a:pt x="1725" y="30"/>
                  </a:lnTo>
                  <a:lnTo>
                    <a:pt x="1727" y="24"/>
                  </a:lnTo>
                  <a:lnTo>
                    <a:pt x="1725" y="18"/>
                  </a:lnTo>
                  <a:lnTo>
                    <a:pt x="1724" y="14"/>
                  </a:lnTo>
                  <a:lnTo>
                    <a:pt x="1719" y="10"/>
                  </a:lnTo>
                  <a:lnTo>
                    <a:pt x="1715" y="7"/>
                  </a:lnTo>
                  <a:lnTo>
                    <a:pt x="1711" y="4"/>
                  </a:lnTo>
                  <a:lnTo>
                    <a:pt x="1705" y="4"/>
                  </a:lnTo>
                  <a:lnTo>
                    <a:pt x="1549" y="4"/>
                  </a:lnTo>
                  <a:lnTo>
                    <a:pt x="1544" y="4"/>
                  </a:lnTo>
                  <a:lnTo>
                    <a:pt x="1538" y="7"/>
                  </a:lnTo>
                  <a:lnTo>
                    <a:pt x="1534" y="10"/>
                  </a:lnTo>
                  <a:lnTo>
                    <a:pt x="1529" y="15"/>
                  </a:lnTo>
                  <a:lnTo>
                    <a:pt x="1526" y="21"/>
                  </a:lnTo>
                  <a:lnTo>
                    <a:pt x="1526" y="27"/>
                  </a:lnTo>
                  <a:lnTo>
                    <a:pt x="1526" y="247"/>
                  </a:lnTo>
                  <a:lnTo>
                    <a:pt x="1526" y="252"/>
                  </a:lnTo>
                  <a:lnTo>
                    <a:pt x="1529" y="258"/>
                  </a:lnTo>
                  <a:lnTo>
                    <a:pt x="1534" y="262"/>
                  </a:lnTo>
                  <a:lnTo>
                    <a:pt x="1538" y="267"/>
                  </a:lnTo>
                  <a:lnTo>
                    <a:pt x="1544" y="270"/>
                  </a:lnTo>
                  <a:lnTo>
                    <a:pt x="1549" y="27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8" name="Freeform 15">
            <a:extLst>
              <a:ext uri="{FF2B5EF4-FFF2-40B4-BE49-F238E27FC236}">
                <a16:creationId xmlns:a16="http://schemas.microsoft.com/office/drawing/2014/main" id="{95713751-AF4E-F0C4-A269-0FF26EFCFD88}"/>
              </a:ext>
            </a:extLst>
          </p:cNvPr>
          <p:cNvSpPr>
            <a:spLocks noEditPoints="1"/>
          </p:cNvSpPr>
          <p:nvPr/>
        </p:nvSpPr>
        <p:spPr bwMode="auto">
          <a:xfrm>
            <a:off x="766763" y="752475"/>
            <a:ext cx="444500" cy="252413"/>
          </a:xfrm>
          <a:custGeom>
            <a:avLst/>
            <a:gdLst>
              <a:gd name="T0" fmla="*/ 327 w 839"/>
              <a:gd name="T1" fmla="*/ 389 h 478"/>
              <a:gd name="T2" fmla="*/ 386 w 839"/>
              <a:gd name="T3" fmla="*/ 416 h 478"/>
              <a:gd name="T4" fmla="*/ 219 w 839"/>
              <a:gd name="T5" fmla="*/ 23 h 478"/>
              <a:gd name="T6" fmla="*/ 388 w 839"/>
              <a:gd name="T7" fmla="*/ 4 h 478"/>
              <a:gd name="T8" fmla="*/ 424 w 839"/>
              <a:gd name="T9" fmla="*/ 281 h 478"/>
              <a:gd name="T10" fmla="*/ 414 w 839"/>
              <a:gd name="T11" fmla="*/ 335 h 478"/>
              <a:gd name="T12" fmla="*/ 384 w 839"/>
              <a:gd name="T13" fmla="*/ 327 h 478"/>
              <a:gd name="T14" fmla="*/ 422 w 839"/>
              <a:gd name="T15" fmla="*/ 358 h 478"/>
              <a:gd name="T16" fmla="*/ 459 w 839"/>
              <a:gd name="T17" fmla="*/ 319 h 478"/>
              <a:gd name="T18" fmla="*/ 424 w 839"/>
              <a:gd name="T19" fmla="*/ 281 h 478"/>
              <a:gd name="T20" fmla="*/ 432 w 839"/>
              <a:gd name="T21" fmla="*/ 248 h 478"/>
              <a:gd name="T22" fmla="*/ 286 w 839"/>
              <a:gd name="T23" fmla="*/ 223 h 478"/>
              <a:gd name="T24" fmla="*/ 354 w 839"/>
              <a:gd name="T25" fmla="*/ 293 h 478"/>
              <a:gd name="T26" fmla="*/ 679 w 839"/>
              <a:gd name="T27" fmla="*/ 194 h 478"/>
              <a:gd name="T28" fmla="*/ 672 w 839"/>
              <a:gd name="T29" fmla="*/ 161 h 478"/>
              <a:gd name="T30" fmla="*/ 780 w 839"/>
              <a:gd name="T31" fmla="*/ 197 h 478"/>
              <a:gd name="T32" fmla="*/ 838 w 839"/>
              <a:gd name="T33" fmla="*/ 303 h 478"/>
              <a:gd name="T34" fmla="*/ 812 w 839"/>
              <a:gd name="T35" fmla="*/ 408 h 478"/>
              <a:gd name="T36" fmla="*/ 727 w 839"/>
              <a:gd name="T37" fmla="*/ 471 h 478"/>
              <a:gd name="T38" fmla="*/ 617 w 839"/>
              <a:gd name="T39" fmla="*/ 465 h 478"/>
              <a:gd name="T40" fmla="*/ 531 w 839"/>
              <a:gd name="T41" fmla="*/ 381 h 478"/>
              <a:gd name="T42" fmla="*/ 527 w 839"/>
              <a:gd name="T43" fmla="*/ 271 h 478"/>
              <a:gd name="T44" fmla="*/ 607 w 839"/>
              <a:gd name="T45" fmla="*/ 177 h 478"/>
              <a:gd name="T46" fmla="*/ 488 w 839"/>
              <a:gd name="T47" fmla="*/ 347 h 478"/>
              <a:gd name="T48" fmla="*/ 393 w 839"/>
              <a:gd name="T49" fmla="*/ 385 h 478"/>
              <a:gd name="T50" fmla="*/ 318 w 839"/>
              <a:gd name="T51" fmla="*/ 336 h 478"/>
              <a:gd name="T52" fmla="*/ 272 w 839"/>
              <a:gd name="T53" fmla="*/ 432 h 478"/>
              <a:gd name="T54" fmla="*/ 159 w 839"/>
              <a:gd name="T55" fmla="*/ 478 h 478"/>
              <a:gd name="T56" fmla="*/ 57 w 839"/>
              <a:gd name="T57" fmla="*/ 441 h 478"/>
              <a:gd name="T58" fmla="*/ 1 w 839"/>
              <a:gd name="T59" fmla="*/ 335 h 478"/>
              <a:gd name="T60" fmla="*/ 27 w 839"/>
              <a:gd name="T61" fmla="*/ 230 h 478"/>
              <a:gd name="T62" fmla="*/ 112 w 839"/>
              <a:gd name="T63" fmla="*/ 167 h 478"/>
              <a:gd name="T64" fmla="*/ 208 w 839"/>
              <a:gd name="T65" fmla="*/ 169 h 478"/>
              <a:gd name="T66" fmla="*/ 184 w 839"/>
              <a:gd name="T67" fmla="*/ 197 h 478"/>
              <a:gd name="T68" fmla="*/ 100 w 839"/>
              <a:gd name="T69" fmla="*/ 208 h 478"/>
              <a:gd name="T70" fmla="*/ 44 w 839"/>
              <a:gd name="T71" fmla="*/ 270 h 478"/>
              <a:gd name="T72" fmla="*/ 40 w 839"/>
              <a:gd name="T73" fmla="*/ 356 h 478"/>
              <a:gd name="T74" fmla="*/ 100 w 839"/>
              <a:gd name="T75" fmla="*/ 429 h 478"/>
              <a:gd name="T76" fmla="*/ 184 w 839"/>
              <a:gd name="T77" fmla="*/ 442 h 478"/>
              <a:gd name="T78" fmla="*/ 260 w 839"/>
              <a:gd name="T79" fmla="*/ 392 h 478"/>
              <a:gd name="T80" fmla="*/ 159 w 839"/>
              <a:gd name="T81" fmla="*/ 336 h 478"/>
              <a:gd name="T82" fmla="*/ 314 w 839"/>
              <a:gd name="T83" fmla="*/ 80 h 478"/>
              <a:gd name="T84" fmla="*/ 560 w 839"/>
              <a:gd name="T85" fmla="*/ 19 h 478"/>
              <a:gd name="T86" fmla="*/ 687 w 839"/>
              <a:gd name="T87" fmla="*/ 4 h 478"/>
              <a:gd name="T88" fmla="*/ 727 w 839"/>
              <a:gd name="T89" fmla="*/ 65 h 478"/>
              <a:gd name="T90" fmla="*/ 661 w 839"/>
              <a:gd name="T91" fmla="*/ 131 h 478"/>
              <a:gd name="T92" fmla="*/ 661 w 839"/>
              <a:gd name="T93" fmla="*/ 96 h 478"/>
              <a:gd name="T94" fmla="*/ 692 w 839"/>
              <a:gd name="T95" fmla="*/ 65 h 478"/>
              <a:gd name="T96" fmla="*/ 666 w 839"/>
              <a:gd name="T97" fmla="*/ 34 h 478"/>
              <a:gd name="T98" fmla="*/ 695 w 839"/>
              <a:gd name="T99" fmla="*/ 326 h 478"/>
              <a:gd name="T100" fmla="*/ 606 w 839"/>
              <a:gd name="T101" fmla="*/ 217 h 478"/>
              <a:gd name="T102" fmla="*/ 554 w 839"/>
              <a:gd name="T103" fmla="*/ 309 h 478"/>
              <a:gd name="T104" fmla="*/ 581 w 839"/>
              <a:gd name="T105" fmla="*/ 399 h 478"/>
              <a:gd name="T106" fmla="*/ 665 w 839"/>
              <a:gd name="T107" fmla="*/ 444 h 478"/>
              <a:gd name="T108" fmla="*/ 748 w 839"/>
              <a:gd name="T109" fmla="*/ 422 h 478"/>
              <a:gd name="T110" fmla="*/ 802 w 839"/>
              <a:gd name="T111" fmla="*/ 346 h 478"/>
              <a:gd name="T112" fmla="*/ 789 w 839"/>
              <a:gd name="T113" fmla="*/ 260 h 478"/>
              <a:gd name="T114" fmla="*/ 717 w 839"/>
              <a:gd name="T115" fmla="*/ 200 h 478"/>
              <a:gd name="T116" fmla="*/ 276 w 839"/>
              <a:gd name="T117" fmla="*/ 271 h 4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39" h="478">
                <a:moveTo>
                  <a:pt x="334" y="422"/>
                </a:moveTo>
                <a:lnTo>
                  <a:pt x="327" y="421"/>
                </a:lnTo>
                <a:lnTo>
                  <a:pt x="321" y="416"/>
                </a:lnTo>
                <a:lnTo>
                  <a:pt x="318" y="411"/>
                </a:lnTo>
                <a:lnTo>
                  <a:pt x="316" y="405"/>
                </a:lnTo>
                <a:lnTo>
                  <a:pt x="318" y="398"/>
                </a:lnTo>
                <a:lnTo>
                  <a:pt x="321" y="392"/>
                </a:lnTo>
                <a:lnTo>
                  <a:pt x="327" y="389"/>
                </a:lnTo>
                <a:lnTo>
                  <a:pt x="334" y="388"/>
                </a:lnTo>
                <a:lnTo>
                  <a:pt x="374" y="388"/>
                </a:lnTo>
                <a:lnTo>
                  <a:pt x="380" y="389"/>
                </a:lnTo>
                <a:lnTo>
                  <a:pt x="386" y="392"/>
                </a:lnTo>
                <a:lnTo>
                  <a:pt x="388" y="398"/>
                </a:lnTo>
                <a:lnTo>
                  <a:pt x="390" y="405"/>
                </a:lnTo>
                <a:lnTo>
                  <a:pt x="388" y="411"/>
                </a:lnTo>
                <a:lnTo>
                  <a:pt x="386" y="416"/>
                </a:lnTo>
                <a:lnTo>
                  <a:pt x="380" y="421"/>
                </a:lnTo>
                <a:lnTo>
                  <a:pt x="374" y="422"/>
                </a:lnTo>
                <a:lnTo>
                  <a:pt x="334" y="422"/>
                </a:lnTo>
                <a:close/>
                <a:moveTo>
                  <a:pt x="234" y="34"/>
                </a:moveTo>
                <a:lnTo>
                  <a:pt x="234" y="34"/>
                </a:lnTo>
                <a:lnTo>
                  <a:pt x="227" y="33"/>
                </a:lnTo>
                <a:lnTo>
                  <a:pt x="223" y="29"/>
                </a:lnTo>
                <a:lnTo>
                  <a:pt x="219" y="23"/>
                </a:lnTo>
                <a:lnTo>
                  <a:pt x="217" y="17"/>
                </a:lnTo>
                <a:lnTo>
                  <a:pt x="219" y="10"/>
                </a:lnTo>
                <a:lnTo>
                  <a:pt x="223" y="4"/>
                </a:lnTo>
                <a:lnTo>
                  <a:pt x="227" y="1"/>
                </a:lnTo>
                <a:lnTo>
                  <a:pt x="234" y="0"/>
                </a:lnTo>
                <a:lnTo>
                  <a:pt x="377" y="0"/>
                </a:lnTo>
                <a:lnTo>
                  <a:pt x="384" y="1"/>
                </a:lnTo>
                <a:lnTo>
                  <a:pt x="388" y="4"/>
                </a:lnTo>
                <a:lnTo>
                  <a:pt x="393" y="10"/>
                </a:lnTo>
                <a:lnTo>
                  <a:pt x="394" y="17"/>
                </a:lnTo>
                <a:lnTo>
                  <a:pt x="393" y="23"/>
                </a:lnTo>
                <a:lnTo>
                  <a:pt x="388" y="29"/>
                </a:lnTo>
                <a:lnTo>
                  <a:pt x="384" y="33"/>
                </a:lnTo>
                <a:lnTo>
                  <a:pt x="377" y="34"/>
                </a:lnTo>
                <a:lnTo>
                  <a:pt x="234" y="34"/>
                </a:lnTo>
                <a:close/>
                <a:moveTo>
                  <a:pt x="424" y="281"/>
                </a:moveTo>
                <a:lnTo>
                  <a:pt x="424" y="281"/>
                </a:lnTo>
                <a:lnTo>
                  <a:pt x="437" y="313"/>
                </a:lnTo>
                <a:lnTo>
                  <a:pt x="439" y="319"/>
                </a:lnTo>
                <a:lnTo>
                  <a:pt x="437" y="326"/>
                </a:lnTo>
                <a:lnTo>
                  <a:pt x="433" y="330"/>
                </a:lnTo>
                <a:lnTo>
                  <a:pt x="427" y="335"/>
                </a:lnTo>
                <a:lnTo>
                  <a:pt x="422" y="336"/>
                </a:lnTo>
                <a:lnTo>
                  <a:pt x="414" y="335"/>
                </a:lnTo>
                <a:lnTo>
                  <a:pt x="410" y="332"/>
                </a:lnTo>
                <a:lnTo>
                  <a:pt x="406" y="326"/>
                </a:lnTo>
                <a:lnTo>
                  <a:pt x="393" y="294"/>
                </a:lnTo>
                <a:lnTo>
                  <a:pt x="388" y="300"/>
                </a:lnTo>
                <a:lnTo>
                  <a:pt x="386" y="306"/>
                </a:lnTo>
                <a:lnTo>
                  <a:pt x="384" y="312"/>
                </a:lnTo>
                <a:lnTo>
                  <a:pt x="384" y="319"/>
                </a:lnTo>
                <a:lnTo>
                  <a:pt x="384" y="327"/>
                </a:lnTo>
                <a:lnTo>
                  <a:pt x="387" y="333"/>
                </a:lnTo>
                <a:lnTo>
                  <a:pt x="390" y="340"/>
                </a:lnTo>
                <a:lnTo>
                  <a:pt x="394" y="346"/>
                </a:lnTo>
                <a:lnTo>
                  <a:pt x="394" y="346"/>
                </a:lnTo>
                <a:lnTo>
                  <a:pt x="400" y="350"/>
                </a:lnTo>
                <a:lnTo>
                  <a:pt x="407" y="355"/>
                </a:lnTo>
                <a:lnTo>
                  <a:pt x="414" y="356"/>
                </a:lnTo>
                <a:lnTo>
                  <a:pt x="422" y="358"/>
                </a:lnTo>
                <a:lnTo>
                  <a:pt x="429" y="356"/>
                </a:lnTo>
                <a:lnTo>
                  <a:pt x="436" y="353"/>
                </a:lnTo>
                <a:lnTo>
                  <a:pt x="443" y="350"/>
                </a:lnTo>
                <a:lnTo>
                  <a:pt x="449" y="346"/>
                </a:lnTo>
                <a:lnTo>
                  <a:pt x="453" y="340"/>
                </a:lnTo>
                <a:lnTo>
                  <a:pt x="456" y="333"/>
                </a:lnTo>
                <a:lnTo>
                  <a:pt x="459" y="327"/>
                </a:lnTo>
                <a:lnTo>
                  <a:pt x="459" y="319"/>
                </a:lnTo>
                <a:lnTo>
                  <a:pt x="459" y="312"/>
                </a:lnTo>
                <a:lnTo>
                  <a:pt x="456" y="304"/>
                </a:lnTo>
                <a:lnTo>
                  <a:pt x="453" y="297"/>
                </a:lnTo>
                <a:lnTo>
                  <a:pt x="449" y="293"/>
                </a:lnTo>
                <a:lnTo>
                  <a:pt x="443" y="289"/>
                </a:lnTo>
                <a:lnTo>
                  <a:pt x="437" y="284"/>
                </a:lnTo>
                <a:lnTo>
                  <a:pt x="430" y="283"/>
                </a:lnTo>
                <a:lnTo>
                  <a:pt x="424" y="281"/>
                </a:lnTo>
                <a:close/>
                <a:moveTo>
                  <a:pt x="589" y="129"/>
                </a:moveTo>
                <a:lnTo>
                  <a:pt x="589" y="129"/>
                </a:lnTo>
                <a:lnTo>
                  <a:pt x="581" y="109"/>
                </a:lnTo>
                <a:lnTo>
                  <a:pt x="351" y="109"/>
                </a:lnTo>
                <a:lnTo>
                  <a:pt x="410" y="248"/>
                </a:lnTo>
                <a:lnTo>
                  <a:pt x="416" y="247"/>
                </a:lnTo>
                <a:lnTo>
                  <a:pt x="422" y="247"/>
                </a:lnTo>
                <a:lnTo>
                  <a:pt x="432" y="248"/>
                </a:lnTo>
                <a:lnTo>
                  <a:pt x="442" y="250"/>
                </a:lnTo>
                <a:lnTo>
                  <a:pt x="450" y="253"/>
                </a:lnTo>
                <a:lnTo>
                  <a:pt x="459" y="258"/>
                </a:lnTo>
                <a:lnTo>
                  <a:pt x="589" y="129"/>
                </a:lnTo>
                <a:close/>
                <a:moveTo>
                  <a:pt x="266" y="201"/>
                </a:moveTo>
                <a:lnTo>
                  <a:pt x="266" y="201"/>
                </a:lnTo>
                <a:lnTo>
                  <a:pt x="278" y="211"/>
                </a:lnTo>
                <a:lnTo>
                  <a:pt x="286" y="223"/>
                </a:lnTo>
                <a:lnTo>
                  <a:pt x="295" y="234"/>
                </a:lnTo>
                <a:lnTo>
                  <a:pt x="302" y="247"/>
                </a:lnTo>
                <a:lnTo>
                  <a:pt x="308" y="260"/>
                </a:lnTo>
                <a:lnTo>
                  <a:pt x="312" y="274"/>
                </a:lnTo>
                <a:lnTo>
                  <a:pt x="315" y="287"/>
                </a:lnTo>
                <a:lnTo>
                  <a:pt x="318" y="302"/>
                </a:lnTo>
                <a:lnTo>
                  <a:pt x="351" y="302"/>
                </a:lnTo>
                <a:lnTo>
                  <a:pt x="354" y="293"/>
                </a:lnTo>
                <a:lnTo>
                  <a:pt x="358" y="284"/>
                </a:lnTo>
                <a:lnTo>
                  <a:pt x="364" y="276"/>
                </a:lnTo>
                <a:lnTo>
                  <a:pt x="370" y="269"/>
                </a:lnTo>
                <a:lnTo>
                  <a:pt x="374" y="264"/>
                </a:lnTo>
                <a:lnTo>
                  <a:pt x="378" y="261"/>
                </a:lnTo>
                <a:lnTo>
                  <a:pt x="321" y="126"/>
                </a:lnTo>
                <a:lnTo>
                  <a:pt x="266" y="201"/>
                </a:lnTo>
                <a:close/>
                <a:moveTo>
                  <a:pt x="679" y="194"/>
                </a:moveTo>
                <a:lnTo>
                  <a:pt x="679" y="194"/>
                </a:lnTo>
                <a:lnTo>
                  <a:pt x="672" y="192"/>
                </a:lnTo>
                <a:lnTo>
                  <a:pt x="666" y="190"/>
                </a:lnTo>
                <a:lnTo>
                  <a:pt x="663" y="184"/>
                </a:lnTo>
                <a:lnTo>
                  <a:pt x="662" y="177"/>
                </a:lnTo>
                <a:lnTo>
                  <a:pt x="663" y="171"/>
                </a:lnTo>
                <a:lnTo>
                  <a:pt x="666" y="165"/>
                </a:lnTo>
                <a:lnTo>
                  <a:pt x="672" y="161"/>
                </a:lnTo>
                <a:lnTo>
                  <a:pt x="679" y="159"/>
                </a:lnTo>
                <a:lnTo>
                  <a:pt x="695" y="161"/>
                </a:lnTo>
                <a:lnTo>
                  <a:pt x="711" y="164"/>
                </a:lnTo>
                <a:lnTo>
                  <a:pt x="727" y="167"/>
                </a:lnTo>
                <a:lnTo>
                  <a:pt x="741" y="172"/>
                </a:lnTo>
                <a:lnTo>
                  <a:pt x="756" y="179"/>
                </a:lnTo>
                <a:lnTo>
                  <a:pt x="769" y="187"/>
                </a:lnTo>
                <a:lnTo>
                  <a:pt x="780" y="197"/>
                </a:lnTo>
                <a:lnTo>
                  <a:pt x="792" y="207"/>
                </a:lnTo>
                <a:lnTo>
                  <a:pt x="802" y="218"/>
                </a:lnTo>
                <a:lnTo>
                  <a:pt x="812" y="230"/>
                </a:lnTo>
                <a:lnTo>
                  <a:pt x="819" y="243"/>
                </a:lnTo>
                <a:lnTo>
                  <a:pt x="826" y="257"/>
                </a:lnTo>
                <a:lnTo>
                  <a:pt x="832" y="271"/>
                </a:lnTo>
                <a:lnTo>
                  <a:pt x="835" y="287"/>
                </a:lnTo>
                <a:lnTo>
                  <a:pt x="838" y="303"/>
                </a:lnTo>
                <a:lnTo>
                  <a:pt x="839" y="319"/>
                </a:lnTo>
                <a:lnTo>
                  <a:pt x="839" y="319"/>
                </a:lnTo>
                <a:lnTo>
                  <a:pt x="838" y="336"/>
                </a:lnTo>
                <a:lnTo>
                  <a:pt x="835" y="352"/>
                </a:lnTo>
                <a:lnTo>
                  <a:pt x="832" y="366"/>
                </a:lnTo>
                <a:lnTo>
                  <a:pt x="826" y="381"/>
                </a:lnTo>
                <a:lnTo>
                  <a:pt x="819" y="395"/>
                </a:lnTo>
                <a:lnTo>
                  <a:pt x="812" y="408"/>
                </a:lnTo>
                <a:lnTo>
                  <a:pt x="802" y="421"/>
                </a:lnTo>
                <a:lnTo>
                  <a:pt x="792" y="432"/>
                </a:lnTo>
                <a:lnTo>
                  <a:pt x="792" y="432"/>
                </a:lnTo>
                <a:lnTo>
                  <a:pt x="780" y="442"/>
                </a:lnTo>
                <a:lnTo>
                  <a:pt x="769" y="451"/>
                </a:lnTo>
                <a:lnTo>
                  <a:pt x="756" y="459"/>
                </a:lnTo>
                <a:lnTo>
                  <a:pt x="741" y="465"/>
                </a:lnTo>
                <a:lnTo>
                  <a:pt x="727" y="471"/>
                </a:lnTo>
                <a:lnTo>
                  <a:pt x="711" y="475"/>
                </a:lnTo>
                <a:lnTo>
                  <a:pt x="695" y="477"/>
                </a:lnTo>
                <a:lnTo>
                  <a:pt x="679" y="478"/>
                </a:lnTo>
                <a:lnTo>
                  <a:pt x="679" y="478"/>
                </a:lnTo>
                <a:lnTo>
                  <a:pt x="662" y="478"/>
                </a:lnTo>
                <a:lnTo>
                  <a:pt x="646" y="475"/>
                </a:lnTo>
                <a:lnTo>
                  <a:pt x="632" y="471"/>
                </a:lnTo>
                <a:lnTo>
                  <a:pt x="617" y="465"/>
                </a:lnTo>
                <a:lnTo>
                  <a:pt x="603" y="459"/>
                </a:lnTo>
                <a:lnTo>
                  <a:pt x="590" y="451"/>
                </a:lnTo>
                <a:lnTo>
                  <a:pt x="577" y="442"/>
                </a:lnTo>
                <a:lnTo>
                  <a:pt x="566" y="432"/>
                </a:lnTo>
                <a:lnTo>
                  <a:pt x="555" y="419"/>
                </a:lnTo>
                <a:lnTo>
                  <a:pt x="547" y="408"/>
                </a:lnTo>
                <a:lnTo>
                  <a:pt x="538" y="393"/>
                </a:lnTo>
                <a:lnTo>
                  <a:pt x="531" y="381"/>
                </a:lnTo>
                <a:lnTo>
                  <a:pt x="527" y="365"/>
                </a:lnTo>
                <a:lnTo>
                  <a:pt x="522" y="350"/>
                </a:lnTo>
                <a:lnTo>
                  <a:pt x="519" y="335"/>
                </a:lnTo>
                <a:lnTo>
                  <a:pt x="519" y="319"/>
                </a:lnTo>
                <a:lnTo>
                  <a:pt x="519" y="307"/>
                </a:lnTo>
                <a:lnTo>
                  <a:pt x="521" y="294"/>
                </a:lnTo>
                <a:lnTo>
                  <a:pt x="524" y="283"/>
                </a:lnTo>
                <a:lnTo>
                  <a:pt x="527" y="271"/>
                </a:lnTo>
                <a:lnTo>
                  <a:pt x="531" y="260"/>
                </a:lnTo>
                <a:lnTo>
                  <a:pt x="535" y="250"/>
                </a:lnTo>
                <a:lnTo>
                  <a:pt x="541" y="238"/>
                </a:lnTo>
                <a:lnTo>
                  <a:pt x="548" y="228"/>
                </a:lnTo>
                <a:lnTo>
                  <a:pt x="560" y="214"/>
                </a:lnTo>
                <a:lnTo>
                  <a:pt x="574" y="200"/>
                </a:lnTo>
                <a:lnTo>
                  <a:pt x="590" y="187"/>
                </a:lnTo>
                <a:lnTo>
                  <a:pt x="607" y="177"/>
                </a:lnTo>
                <a:lnTo>
                  <a:pt x="602" y="164"/>
                </a:lnTo>
                <a:lnTo>
                  <a:pt x="483" y="281"/>
                </a:lnTo>
                <a:lnTo>
                  <a:pt x="488" y="290"/>
                </a:lnTo>
                <a:lnTo>
                  <a:pt x="491" y="300"/>
                </a:lnTo>
                <a:lnTo>
                  <a:pt x="492" y="309"/>
                </a:lnTo>
                <a:lnTo>
                  <a:pt x="494" y="319"/>
                </a:lnTo>
                <a:lnTo>
                  <a:pt x="492" y="333"/>
                </a:lnTo>
                <a:lnTo>
                  <a:pt x="488" y="347"/>
                </a:lnTo>
                <a:lnTo>
                  <a:pt x="481" y="359"/>
                </a:lnTo>
                <a:lnTo>
                  <a:pt x="472" y="370"/>
                </a:lnTo>
                <a:lnTo>
                  <a:pt x="462" y="379"/>
                </a:lnTo>
                <a:lnTo>
                  <a:pt x="449" y="385"/>
                </a:lnTo>
                <a:lnTo>
                  <a:pt x="436" y="389"/>
                </a:lnTo>
                <a:lnTo>
                  <a:pt x="422" y="391"/>
                </a:lnTo>
                <a:lnTo>
                  <a:pt x="407" y="389"/>
                </a:lnTo>
                <a:lnTo>
                  <a:pt x="393" y="385"/>
                </a:lnTo>
                <a:lnTo>
                  <a:pt x="381" y="379"/>
                </a:lnTo>
                <a:lnTo>
                  <a:pt x="371" y="370"/>
                </a:lnTo>
                <a:lnTo>
                  <a:pt x="370" y="369"/>
                </a:lnTo>
                <a:lnTo>
                  <a:pt x="364" y="362"/>
                </a:lnTo>
                <a:lnTo>
                  <a:pt x="358" y="355"/>
                </a:lnTo>
                <a:lnTo>
                  <a:pt x="354" y="346"/>
                </a:lnTo>
                <a:lnTo>
                  <a:pt x="351" y="336"/>
                </a:lnTo>
                <a:lnTo>
                  <a:pt x="318" y="336"/>
                </a:lnTo>
                <a:lnTo>
                  <a:pt x="316" y="350"/>
                </a:lnTo>
                <a:lnTo>
                  <a:pt x="312" y="363"/>
                </a:lnTo>
                <a:lnTo>
                  <a:pt x="308" y="376"/>
                </a:lnTo>
                <a:lnTo>
                  <a:pt x="303" y="389"/>
                </a:lnTo>
                <a:lnTo>
                  <a:pt x="296" y="401"/>
                </a:lnTo>
                <a:lnTo>
                  <a:pt x="289" y="412"/>
                </a:lnTo>
                <a:lnTo>
                  <a:pt x="280" y="422"/>
                </a:lnTo>
                <a:lnTo>
                  <a:pt x="272" y="432"/>
                </a:lnTo>
                <a:lnTo>
                  <a:pt x="260" y="442"/>
                </a:lnTo>
                <a:lnTo>
                  <a:pt x="249" y="451"/>
                </a:lnTo>
                <a:lnTo>
                  <a:pt x="236" y="459"/>
                </a:lnTo>
                <a:lnTo>
                  <a:pt x="221" y="465"/>
                </a:lnTo>
                <a:lnTo>
                  <a:pt x="207" y="471"/>
                </a:lnTo>
                <a:lnTo>
                  <a:pt x="191" y="475"/>
                </a:lnTo>
                <a:lnTo>
                  <a:pt x="175" y="477"/>
                </a:lnTo>
                <a:lnTo>
                  <a:pt x="159" y="478"/>
                </a:lnTo>
                <a:lnTo>
                  <a:pt x="159" y="478"/>
                </a:lnTo>
                <a:lnTo>
                  <a:pt x="142" y="478"/>
                </a:lnTo>
                <a:lnTo>
                  <a:pt x="126" y="475"/>
                </a:lnTo>
                <a:lnTo>
                  <a:pt x="112" y="471"/>
                </a:lnTo>
                <a:lnTo>
                  <a:pt x="98" y="465"/>
                </a:lnTo>
                <a:lnTo>
                  <a:pt x="83" y="459"/>
                </a:lnTo>
                <a:lnTo>
                  <a:pt x="70" y="451"/>
                </a:lnTo>
                <a:lnTo>
                  <a:pt x="57" y="441"/>
                </a:lnTo>
                <a:lnTo>
                  <a:pt x="46" y="431"/>
                </a:lnTo>
                <a:lnTo>
                  <a:pt x="36" y="419"/>
                </a:lnTo>
                <a:lnTo>
                  <a:pt x="27" y="408"/>
                </a:lnTo>
                <a:lnTo>
                  <a:pt x="18" y="395"/>
                </a:lnTo>
                <a:lnTo>
                  <a:pt x="13" y="381"/>
                </a:lnTo>
                <a:lnTo>
                  <a:pt x="7" y="366"/>
                </a:lnTo>
                <a:lnTo>
                  <a:pt x="3" y="350"/>
                </a:lnTo>
                <a:lnTo>
                  <a:pt x="1" y="335"/>
                </a:lnTo>
                <a:lnTo>
                  <a:pt x="0" y="319"/>
                </a:lnTo>
                <a:lnTo>
                  <a:pt x="0" y="319"/>
                </a:lnTo>
                <a:lnTo>
                  <a:pt x="1" y="303"/>
                </a:lnTo>
                <a:lnTo>
                  <a:pt x="3" y="287"/>
                </a:lnTo>
                <a:lnTo>
                  <a:pt x="7" y="271"/>
                </a:lnTo>
                <a:lnTo>
                  <a:pt x="13" y="257"/>
                </a:lnTo>
                <a:lnTo>
                  <a:pt x="18" y="243"/>
                </a:lnTo>
                <a:lnTo>
                  <a:pt x="27" y="230"/>
                </a:lnTo>
                <a:lnTo>
                  <a:pt x="36" y="218"/>
                </a:lnTo>
                <a:lnTo>
                  <a:pt x="46" y="207"/>
                </a:lnTo>
                <a:lnTo>
                  <a:pt x="47" y="205"/>
                </a:lnTo>
                <a:lnTo>
                  <a:pt x="59" y="195"/>
                </a:lnTo>
                <a:lnTo>
                  <a:pt x="70" y="187"/>
                </a:lnTo>
                <a:lnTo>
                  <a:pt x="85" y="178"/>
                </a:lnTo>
                <a:lnTo>
                  <a:pt x="98" y="172"/>
                </a:lnTo>
                <a:lnTo>
                  <a:pt x="112" y="167"/>
                </a:lnTo>
                <a:lnTo>
                  <a:pt x="128" y="164"/>
                </a:lnTo>
                <a:lnTo>
                  <a:pt x="144" y="161"/>
                </a:lnTo>
                <a:lnTo>
                  <a:pt x="159" y="159"/>
                </a:lnTo>
                <a:lnTo>
                  <a:pt x="170" y="161"/>
                </a:lnTo>
                <a:lnTo>
                  <a:pt x="181" y="161"/>
                </a:lnTo>
                <a:lnTo>
                  <a:pt x="191" y="164"/>
                </a:lnTo>
                <a:lnTo>
                  <a:pt x="201" y="165"/>
                </a:lnTo>
                <a:lnTo>
                  <a:pt x="208" y="169"/>
                </a:lnTo>
                <a:lnTo>
                  <a:pt x="211" y="174"/>
                </a:lnTo>
                <a:lnTo>
                  <a:pt x="214" y="179"/>
                </a:lnTo>
                <a:lnTo>
                  <a:pt x="214" y="187"/>
                </a:lnTo>
                <a:lnTo>
                  <a:pt x="210" y="192"/>
                </a:lnTo>
                <a:lnTo>
                  <a:pt x="206" y="197"/>
                </a:lnTo>
                <a:lnTo>
                  <a:pt x="200" y="200"/>
                </a:lnTo>
                <a:lnTo>
                  <a:pt x="193" y="198"/>
                </a:lnTo>
                <a:lnTo>
                  <a:pt x="184" y="197"/>
                </a:lnTo>
                <a:lnTo>
                  <a:pt x="177" y="195"/>
                </a:lnTo>
                <a:lnTo>
                  <a:pt x="168" y="194"/>
                </a:lnTo>
                <a:lnTo>
                  <a:pt x="159" y="194"/>
                </a:lnTo>
                <a:lnTo>
                  <a:pt x="147" y="195"/>
                </a:lnTo>
                <a:lnTo>
                  <a:pt x="134" y="197"/>
                </a:lnTo>
                <a:lnTo>
                  <a:pt x="122" y="200"/>
                </a:lnTo>
                <a:lnTo>
                  <a:pt x="111" y="204"/>
                </a:lnTo>
                <a:lnTo>
                  <a:pt x="100" y="208"/>
                </a:lnTo>
                <a:lnTo>
                  <a:pt x="90" y="215"/>
                </a:lnTo>
                <a:lnTo>
                  <a:pt x="80" y="223"/>
                </a:lnTo>
                <a:lnTo>
                  <a:pt x="72" y="230"/>
                </a:lnTo>
                <a:lnTo>
                  <a:pt x="70" y="231"/>
                </a:lnTo>
                <a:lnTo>
                  <a:pt x="63" y="240"/>
                </a:lnTo>
                <a:lnTo>
                  <a:pt x="56" y="250"/>
                </a:lnTo>
                <a:lnTo>
                  <a:pt x="49" y="260"/>
                </a:lnTo>
                <a:lnTo>
                  <a:pt x="44" y="270"/>
                </a:lnTo>
                <a:lnTo>
                  <a:pt x="40" y="281"/>
                </a:lnTo>
                <a:lnTo>
                  <a:pt x="36" y="294"/>
                </a:lnTo>
                <a:lnTo>
                  <a:pt x="34" y="306"/>
                </a:lnTo>
                <a:lnTo>
                  <a:pt x="34" y="319"/>
                </a:lnTo>
                <a:lnTo>
                  <a:pt x="34" y="319"/>
                </a:lnTo>
                <a:lnTo>
                  <a:pt x="34" y="332"/>
                </a:lnTo>
                <a:lnTo>
                  <a:pt x="36" y="345"/>
                </a:lnTo>
                <a:lnTo>
                  <a:pt x="40" y="356"/>
                </a:lnTo>
                <a:lnTo>
                  <a:pt x="44" y="368"/>
                </a:lnTo>
                <a:lnTo>
                  <a:pt x="49" y="379"/>
                </a:lnTo>
                <a:lnTo>
                  <a:pt x="56" y="389"/>
                </a:lnTo>
                <a:lnTo>
                  <a:pt x="63" y="399"/>
                </a:lnTo>
                <a:lnTo>
                  <a:pt x="70" y="408"/>
                </a:lnTo>
                <a:lnTo>
                  <a:pt x="80" y="416"/>
                </a:lnTo>
                <a:lnTo>
                  <a:pt x="89" y="424"/>
                </a:lnTo>
                <a:lnTo>
                  <a:pt x="100" y="429"/>
                </a:lnTo>
                <a:lnTo>
                  <a:pt x="111" y="435"/>
                </a:lnTo>
                <a:lnTo>
                  <a:pt x="122" y="439"/>
                </a:lnTo>
                <a:lnTo>
                  <a:pt x="135" y="442"/>
                </a:lnTo>
                <a:lnTo>
                  <a:pt x="147" y="444"/>
                </a:lnTo>
                <a:lnTo>
                  <a:pt x="159" y="444"/>
                </a:lnTo>
                <a:lnTo>
                  <a:pt x="159" y="444"/>
                </a:lnTo>
                <a:lnTo>
                  <a:pt x="172" y="444"/>
                </a:lnTo>
                <a:lnTo>
                  <a:pt x="184" y="442"/>
                </a:lnTo>
                <a:lnTo>
                  <a:pt x="197" y="438"/>
                </a:lnTo>
                <a:lnTo>
                  <a:pt x="208" y="435"/>
                </a:lnTo>
                <a:lnTo>
                  <a:pt x="219" y="429"/>
                </a:lnTo>
                <a:lnTo>
                  <a:pt x="230" y="424"/>
                </a:lnTo>
                <a:lnTo>
                  <a:pt x="239" y="415"/>
                </a:lnTo>
                <a:lnTo>
                  <a:pt x="247" y="408"/>
                </a:lnTo>
                <a:lnTo>
                  <a:pt x="255" y="401"/>
                </a:lnTo>
                <a:lnTo>
                  <a:pt x="260" y="392"/>
                </a:lnTo>
                <a:lnTo>
                  <a:pt x="266" y="383"/>
                </a:lnTo>
                <a:lnTo>
                  <a:pt x="272" y="375"/>
                </a:lnTo>
                <a:lnTo>
                  <a:pt x="276" y="366"/>
                </a:lnTo>
                <a:lnTo>
                  <a:pt x="279" y="356"/>
                </a:lnTo>
                <a:lnTo>
                  <a:pt x="282" y="346"/>
                </a:lnTo>
                <a:lnTo>
                  <a:pt x="283" y="336"/>
                </a:lnTo>
                <a:lnTo>
                  <a:pt x="159" y="336"/>
                </a:lnTo>
                <a:lnTo>
                  <a:pt x="159" y="336"/>
                </a:lnTo>
                <a:lnTo>
                  <a:pt x="154" y="335"/>
                </a:lnTo>
                <a:lnTo>
                  <a:pt x="149" y="333"/>
                </a:lnTo>
                <a:lnTo>
                  <a:pt x="145" y="327"/>
                </a:lnTo>
                <a:lnTo>
                  <a:pt x="142" y="322"/>
                </a:lnTo>
                <a:lnTo>
                  <a:pt x="142" y="316"/>
                </a:lnTo>
                <a:lnTo>
                  <a:pt x="145" y="309"/>
                </a:lnTo>
                <a:lnTo>
                  <a:pt x="311" y="83"/>
                </a:lnTo>
                <a:lnTo>
                  <a:pt x="314" y="80"/>
                </a:lnTo>
                <a:lnTo>
                  <a:pt x="316" y="78"/>
                </a:lnTo>
                <a:lnTo>
                  <a:pt x="321" y="76"/>
                </a:lnTo>
                <a:lnTo>
                  <a:pt x="325" y="75"/>
                </a:lnTo>
                <a:lnTo>
                  <a:pt x="568" y="75"/>
                </a:lnTo>
                <a:lnTo>
                  <a:pt x="561" y="56"/>
                </a:lnTo>
                <a:lnTo>
                  <a:pt x="560" y="53"/>
                </a:lnTo>
                <a:lnTo>
                  <a:pt x="560" y="50"/>
                </a:lnTo>
                <a:lnTo>
                  <a:pt x="560" y="19"/>
                </a:lnTo>
                <a:lnTo>
                  <a:pt x="560" y="17"/>
                </a:lnTo>
                <a:lnTo>
                  <a:pt x="561" y="10"/>
                </a:lnTo>
                <a:lnTo>
                  <a:pt x="564" y="4"/>
                </a:lnTo>
                <a:lnTo>
                  <a:pt x="570" y="1"/>
                </a:lnTo>
                <a:lnTo>
                  <a:pt x="577" y="0"/>
                </a:lnTo>
                <a:lnTo>
                  <a:pt x="661" y="0"/>
                </a:lnTo>
                <a:lnTo>
                  <a:pt x="674" y="1"/>
                </a:lnTo>
                <a:lnTo>
                  <a:pt x="687" y="4"/>
                </a:lnTo>
                <a:lnTo>
                  <a:pt x="697" y="11"/>
                </a:lnTo>
                <a:lnTo>
                  <a:pt x="707" y="19"/>
                </a:lnTo>
                <a:lnTo>
                  <a:pt x="707" y="19"/>
                </a:lnTo>
                <a:lnTo>
                  <a:pt x="707" y="19"/>
                </a:lnTo>
                <a:lnTo>
                  <a:pt x="715" y="29"/>
                </a:lnTo>
                <a:lnTo>
                  <a:pt x="721" y="40"/>
                </a:lnTo>
                <a:lnTo>
                  <a:pt x="725" y="52"/>
                </a:lnTo>
                <a:lnTo>
                  <a:pt x="727" y="65"/>
                </a:lnTo>
                <a:lnTo>
                  <a:pt x="725" y="79"/>
                </a:lnTo>
                <a:lnTo>
                  <a:pt x="721" y="90"/>
                </a:lnTo>
                <a:lnTo>
                  <a:pt x="715" y="102"/>
                </a:lnTo>
                <a:lnTo>
                  <a:pt x="707" y="112"/>
                </a:lnTo>
                <a:lnTo>
                  <a:pt x="697" y="119"/>
                </a:lnTo>
                <a:lnTo>
                  <a:pt x="687" y="125"/>
                </a:lnTo>
                <a:lnTo>
                  <a:pt x="674" y="129"/>
                </a:lnTo>
                <a:lnTo>
                  <a:pt x="661" y="131"/>
                </a:lnTo>
                <a:lnTo>
                  <a:pt x="653" y="129"/>
                </a:lnTo>
                <a:lnTo>
                  <a:pt x="649" y="125"/>
                </a:lnTo>
                <a:lnTo>
                  <a:pt x="645" y="121"/>
                </a:lnTo>
                <a:lnTo>
                  <a:pt x="643" y="113"/>
                </a:lnTo>
                <a:lnTo>
                  <a:pt x="645" y="106"/>
                </a:lnTo>
                <a:lnTo>
                  <a:pt x="649" y="102"/>
                </a:lnTo>
                <a:lnTo>
                  <a:pt x="653" y="98"/>
                </a:lnTo>
                <a:lnTo>
                  <a:pt x="661" y="96"/>
                </a:lnTo>
                <a:lnTo>
                  <a:pt x="666" y="96"/>
                </a:lnTo>
                <a:lnTo>
                  <a:pt x="672" y="93"/>
                </a:lnTo>
                <a:lnTo>
                  <a:pt x="678" y="90"/>
                </a:lnTo>
                <a:lnTo>
                  <a:pt x="682" y="88"/>
                </a:lnTo>
                <a:lnTo>
                  <a:pt x="687" y="83"/>
                </a:lnTo>
                <a:lnTo>
                  <a:pt x="689" y="78"/>
                </a:lnTo>
                <a:lnTo>
                  <a:pt x="691" y="72"/>
                </a:lnTo>
                <a:lnTo>
                  <a:pt x="692" y="65"/>
                </a:lnTo>
                <a:lnTo>
                  <a:pt x="691" y="59"/>
                </a:lnTo>
                <a:lnTo>
                  <a:pt x="689" y="53"/>
                </a:lnTo>
                <a:lnTo>
                  <a:pt x="687" y="47"/>
                </a:lnTo>
                <a:lnTo>
                  <a:pt x="682" y="43"/>
                </a:lnTo>
                <a:lnTo>
                  <a:pt x="682" y="43"/>
                </a:lnTo>
                <a:lnTo>
                  <a:pt x="678" y="39"/>
                </a:lnTo>
                <a:lnTo>
                  <a:pt x="672" y="36"/>
                </a:lnTo>
                <a:lnTo>
                  <a:pt x="666" y="34"/>
                </a:lnTo>
                <a:lnTo>
                  <a:pt x="661" y="34"/>
                </a:lnTo>
                <a:lnTo>
                  <a:pt x="594" y="34"/>
                </a:lnTo>
                <a:lnTo>
                  <a:pt x="594" y="47"/>
                </a:lnTo>
                <a:lnTo>
                  <a:pt x="607" y="85"/>
                </a:lnTo>
                <a:lnTo>
                  <a:pt x="609" y="88"/>
                </a:lnTo>
                <a:lnTo>
                  <a:pt x="695" y="313"/>
                </a:lnTo>
                <a:lnTo>
                  <a:pt x="697" y="320"/>
                </a:lnTo>
                <a:lnTo>
                  <a:pt x="695" y="326"/>
                </a:lnTo>
                <a:lnTo>
                  <a:pt x="691" y="332"/>
                </a:lnTo>
                <a:lnTo>
                  <a:pt x="685" y="335"/>
                </a:lnTo>
                <a:lnTo>
                  <a:pt x="678" y="336"/>
                </a:lnTo>
                <a:lnTo>
                  <a:pt x="672" y="335"/>
                </a:lnTo>
                <a:lnTo>
                  <a:pt x="666" y="330"/>
                </a:lnTo>
                <a:lnTo>
                  <a:pt x="663" y="325"/>
                </a:lnTo>
                <a:lnTo>
                  <a:pt x="619" y="210"/>
                </a:lnTo>
                <a:lnTo>
                  <a:pt x="606" y="217"/>
                </a:lnTo>
                <a:lnTo>
                  <a:pt x="594" y="227"/>
                </a:lnTo>
                <a:lnTo>
                  <a:pt x="584" y="237"/>
                </a:lnTo>
                <a:lnTo>
                  <a:pt x="576" y="248"/>
                </a:lnTo>
                <a:lnTo>
                  <a:pt x="566" y="264"/>
                </a:lnTo>
                <a:lnTo>
                  <a:pt x="560" y="281"/>
                </a:lnTo>
                <a:lnTo>
                  <a:pt x="557" y="290"/>
                </a:lnTo>
                <a:lnTo>
                  <a:pt x="555" y="300"/>
                </a:lnTo>
                <a:lnTo>
                  <a:pt x="554" y="309"/>
                </a:lnTo>
                <a:lnTo>
                  <a:pt x="554" y="319"/>
                </a:lnTo>
                <a:lnTo>
                  <a:pt x="554" y="332"/>
                </a:lnTo>
                <a:lnTo>
                  <a:pt x="555" y="345"/>
                </a:lnTo>
                <a:lnTo>
                  <a:pt x="560" y="356"/>
                </a:lnTo>
                <a:lnTo>
                  <a:pt x="563" y="368"/>
                </a:lnTo>
                <a:lnTo>
                  <a:pt x="568" y="379"/>
                </a:lnTo>
                <a:lnTo>
                  <a:pt x="574" y="389"/>
                </a:lnTo>
                <a:lnTo>
                  <a:pt x="581" y="399"/>
                </a:lnTo>
                <a:lnTo>
                  <a:pt x="590" y="408"/>
                </a:lnTo>
                <a:lnTo>
                  <a:pt x="599" y="416"/>
                </a:lnTo>
                <a:lnTo>
                  <a:pt x="609" y="424"/>
                </a:lnTo>
                <a:lnTo>
                  <a:pt x="619" y="429"/>
                </a:lnTo>
                <a:lnTo>
                  <a:pt x="630" y="435"/>
                </a:lnTo>
                <a:lnTo>
                  <a:pt x="640" y="439"/>
                </a:lnTo>
                <a:lnTo>
                  <a:pt x="652" y="442"/>
                </a:lnTo>
                <a:lnTo>
                  <a:pt x="665" y="444"/>
                </a:lnTo>
                <a:lnTo>
                  <a:pt x="676" y="444"/>
                </a:lnTo>
                <a:lnTo>
                  <a:pt x="679" y="444"/>
                </a:lnTo>
                <a:lnTo>
                  <a:pt x="692" y="444"/>
                </a:lnTo>
                <a:lnTo>
                  <a:pt x="704" y="442"/>
                </a:lnTo>
                <a:lnTo>
                  <a:pt x="717" y="438"/>
                </a:lnTo>
                <a:lnTo>
                  <a:pt x="728" y="435"/>
                </a:lnTo>
                <a:lnTo>
                  <a:pt x="738" y="429"/>
                </a:lnTo>
                <a:lnTo>
                  <a:pt x="748" y="422"/>
                </a:lnTo>
                <a:lnTo>
                  <a:pt x="759" y="415"/>
                </a:lnTo>
                <a:lnTo>
                  <a:pt x="767" y="408"/>
                </a:lnTo>
                <a:lnTo>
                  <a:pt x="776" y="399"/>
                </a:lnTo>
                <a:lnTo>
                  <a:pt x="783" y="389"/>
                </a:lnTo>
                <a:lnTo>
                  <a:pt x="789" y="379"/>
                </a:lnTo>
                <a:lnTo>
                  <a:pt x="795" y="369"/>
                </a:lnTo>
                <a:lnTo>
                  <a:pt x="799" y="358"/>
                </a:lnTo>
                <a:lnTo>
                  <a:pt x="802" y="346"/>
                </a:lnTo>
                <a:lnTo>
                  <a:pt x="803" y="333"/>
                </a:lnTo>
                <a:lnTo>
                  <a:pt x="805" y="320"/>
                </a:lnTo>
                <a:lnTo>
                  <a:pt x="805" y="319"/>
                </a:lnTo>
                <a:lnTo>
                  <a:pt x="803" y="306"/>
                </a:lnTo>
                <a:lnTo>
                  <a:pt x="802" y="294"/>
                </a:lnTo>
                <a:lnTo>
                  <a:pt x="799" y="281"/>
                </a:lnTo>
                <a:lnTo>
                  <a:pt x="795" y="270"/>
                </a:lnTo>
                <a:lnTo>
                  <a:pt x="789" y="260"/>
                </a:lnTo>
                <a:lnTo>
                  <a:pt x="783" y="250"/>
                </a:lnTo>
                <a:lnTo>
                  <a:pt x="776" y="240"/>
                </a:lnTo>
                <a:lnTo>
                  <a:pt x="767" y="231"/>
                </a:lnTo>
                <a:lnTo>
                  <a:pt x="759" y="223"/>
                </a:lnTo>
                <a:lnTo>
                  <a:pt x="748" y="215"/>
                </a:lnTo>
                <a:lnTo>
                  <a:pt x="738" y="210"/>
                </a:lnTo>
                <a:lnTo>
                  <a:pt x="728" y="204"/>
                </a:lnTo>
                <a:lnTo>
                  <a:pt x="717" y="200"/>
                </a:lnTo>
                <a:lnTo>
                  <a:pt x="704" y="197"/>
                </a:lnTo>
                <a:lnTo>
                  <a:pt x="692" y="194"/>
                </a:lnTo>
                <a:lnTo>
                  <a:pt x="679" y="194"/>
                </a:lnTo>
                <a:close/>
                <a:moveTo>
                  <a:pt x="283" y="302"/>
                </a:moveTo>
                <a:lnTo>
                  <a:pt x="283" y="302"/>
                </a:lnTo>
                <a:lnTo>
                  <a:pt x="282" y="291"/>
                </a:lnTo>
                <a:lnTo>
                  <a:pt x="279" y="281"/>
                </a:lnTo>
                <a:lnTo>
                  <a:pt x="276" y="271"/>
                </a:lnTo>
                <a:lnTo>
                  <a:pt x="272" y="263"/>
                </a:lnTo>
                <a:lnTo>
                  <a:pt x="266" y="253"/>
                </a:lnTo>
                <a:lnTo>
                  <a:pt x="260" y="244"/>
                </a:lnTo>
                <a:lnTo>
                  <a:pt x="253" y="237"/>
                </a:lnTo>
                <a:lnTo>
                  <a:pt x="246" y="228"/>
                </a:lnTo>
                <a:lnTo>
                  <a:pt x="193" y="302"/>
                </a:lnTo>
                <a:lnTo>
                  <a:pt x="283" y="302"/>
                </a:lnTo>
                <a:close/>
              </a:path>
            </a:pathLst>
          </a:custGeom>
          <a:solidFill>
            <a:srgbClr val="009ED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4" name="Skupina 1063">
            <a:extLst>
              <a:ext uri="{FF2B5EF4-FFF2-40B4-BE49-F238E27FC236}">
                <a16:creationId xmlns:a16="http://schemas.microsoft.com/office/drawing/2014/main" id="{B900F3B0-50CB-3406-4A0D-127ABEACB7BF}"/>
              </a:ext>
            </a:extLst>
          </p:cNvPr>
          <p:cNvGrpSpPr/>
          <p:nvPr/>
        </p:nvGrpSpPr>
        <p:grpSpPr>
          <a:xfrm>
            <a:off x="10572750" y="2193925"/>
            <a:ext cx="952500" cy="950913"/>
            <a:chOff x="10572750" y="2193925"/>
            <a:chExt cx="952500" cy="950913"/>
          </a:xfrm>
        </p:grpSpPr>
        <p:sp>
          <p:nvSpPr>
            <p:cNvPr id="19" name="Freeform 16">
              <a:extLst>
                <a:ext uri="{FF2B5EF4-FFF2-40B4-BE49-F238E27FC236}">
                  <a16:creationId xmlns:a16="http://schemas.microsoft.com/office/drawing/2014/main" id="{F29C73B0-FDBE-ED19-835D-21C1D07B8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2750" y="2193925"/>
              <a:ext cx="952500" cy="950913"/>
            </a:xfrm>
            <a:custGeom>
              <a:avLst/>
              <a:gdLst>
                <a:gd name="T0" fmla="*/ 206 w 1800"/>
                <a:gd name="T1" fmla="*/ 325 h 1795"/>
                <a:gd name="T2" fmla="*/ 131 w 1800"/>
                <a:gd name="T3" fmla="*/ 432 h 1795"/>
                <a:gd name="T4" fmla="*/ 71 w 1800"/>
                <a:gd name="T5" fmla="*/ 547 h 1795"/>
                <a:gd name="T6" fmla="*/ 29 w 1800"/>
                <a:gd name="T7" fmla="*/ 672 h 1795"/>
                <a:gd name="T8" fmla="*/ 4 w 1800"/>
                <a:gd name="T9" fmla="*/ 804 h 1795"/>
                <a:gd name="T10" fmla="*/ 0 w 1800"/>
                <a:gd name="T11" fmla="*/ 898 h 1795"/>
                <a:gd name="T12" fmla="*/ 10 w 1800"/>
                <a:gd name="T13" fmla="*/ 1035 h 1795"/>
                <a:gd name="T14" fmla="*/ 40 w 1800"/>
                <a:gd name="T15" fmla="*/ 1164 h 1795"/>
                <a:gd name="T16" fmla="*/ 89 w 1800"/>
                <a:gd name="T17" fmla="*/ 1286 h 1795"/>
                <a:gd name="T18" fmla="*/ 154 w 1800"/>
                <a:gd name="T19" fmla="*/ 1400 h 1795"/>
                <a:gd name="T20" fmla="*/ 233 w 1800"/>
                <a:gd name="T21" fmla="*/ 1500 h 1795"/>
                <a:gd name="T22" fmla="*/ 327 w 1800"/>
                <a:gd name="T23" fmla="*/ 1589 h 1795"/>
                <a:gd name="T24" fmla="*/ 433 w 1800"/>
                <a:gd name="T25" fmla="*/ 1664 h 1795"/>
                <a:gd name="T26" fmla="*/ 550 w 1800"/>
                <a:gd name="T27" fmla="*/ 1724 h 1795"/>
                <a:gd name="T28" fmla="*/ 675 w 1800"/>
                <a:gd name="T29" fmla="*/ 1766 h 1795"/>
                <a:gd name="T30" fmla="*/ 808 w 1800"/>
                <a:gd name="T31" fmla="*/ 1790 h 1795"/>
                <a:gd name="T32" fmla="*/ 900 w 1800"/>
                <a:gd name="T33" fmla="*/ 1795 h 1795"/>
                <a:gd name="T34" fmla="*/ 1037 w 1800"/>
                <a:gd name="T35" fmla="*/ 1784 h 1795"/>
                <a:gd name="T36" fmla="*/ 1168 w 1800"/>
                <a:gd name="T37" fmla="*/ 1754 h 1795"/>
                <a:gd name="T38" fmla="*/ 1290 w 1800"/>
                <a:gd name="T39" fmla="*/ 1705 h 1795"/>
                <a:gd name="T40" fmla="*/ 1404 w 1800"/>
                <a:gd name="T41" fmla="*/ 1641 h 1795"/>
                <a:gd name="T42" fmla="*/ 1505 w 1800"/>
                <a:gd name="T43" fmla="*/ 1562 h 1795"/>
                <a:gd name="T44" fmla="*/ 1594 w 1800"/>
                <a:gd name="T45" fmla="*/ 1469 h 1795"/>
                <a:gd name="T46" fmla="*/ 1670 w 1800"/>
                <a:gd name="T47" fmla="*/ 1362 h 1795"/>
                <a:gd name="T48" fmla="*/ 1729 w 1800"/>
                <a:gd name="T49" fmla="*/ 1246 h 1795"/>
                <a:gd name="T50" fmla="*/ 1771 w 1800"/>
                <a:gd name="T51" fmla="*/ 1121 h 1795"/>
                <a:gd name="T52" fmla="*/ 1796 w 1800"/>
                <a:gd name="T53" fmla="*/ 989 h 1795"/>
                <a:gd name="T54" fmla="*/ 1799 w 1800"/>
                <a:gd name="T55" fmla="*/ 851 h 1795"/>
                <a:gd name="T56" fmla="*/ 1781 w 1800"/>
                <a:gd name="T57" fmla="*/ 716 h 1795"/>
                <a:gd name="T58" fmla="*/ 1745 w 1800"/>
                <a:gd name="T59" fmla="*/ 588 h 1795"/>
                <a:gd name="T60" fmla="*/ 1692 w 1800"/>
                <a:gd name="T61" fmla="*/ 469 h 1795"/>
                <a:gd name="T62" fmla="*/ 1621 w 1800"/>
                <a:gd name="T63" fmla="*/ 360 h 1795"/>
                <a:gd name="T64" fmla="*/ 1536 w 1800"/>
                <a:gd name="T65" fmla="*/ 262 h 1795"/>
                <a:gd name="T66" fmla="*/ 1439 w 1800"/>
                <a:gd name="T67" fmla="*/ 178 h 1795"/>
                <a:gd name="T68" fmla="*/ 1329 w 1800"/>
                <a:gd name="T69" fmla="*/ 107 h 1795"/>
                <a:gd name="T70" fmla="*/ 1210 w 1800"/>
                <a:gd name="T71" fmla="*/ 54 h 1795"/>
                <a:gd name="T72" fmla="*/ 1081 w 1800"/>
                <a:gd name="T73" fmla="*/ 18 h 1795"/>
                <a:gd name="T74" fmla="*/ 946 w 1800"/>
                <a:gd name="T75" fmla="*/ 1 h 1795"/>
                <a:gd name="T76" fmla="*/ 808 w 1800"/>
                <a:gd name="T77" fmla="*/ 4 h 1795"/>
                <a:gd name="T78" fmla="*/ 675 w 1800"/>
                <a:gd name="T79" fmla="*/ 28 h 1795"/>
                <a:gd name="T80" fmla="*/ 550 w 1800"/>
                <a:gd name="T81" fmla="*/ 70 h 1795"/>
                <a:gd name="T82" fmla="*/ 433 w 1800"/>
                <a:gd name="T83" fmla="*/ 129 h 1795"/>
                <a:gd name="T84" fmla="*/ 327 w 1800"/>
                <a:gd name="T85" fmla="*/ 205 h 1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0" h="1795">
                  <a:moveTo>
                    <a:pt x="264" y="262"/>
                  </a:moveTo>
                  <a:lnTo>
                    <a:pt x="233" y="294"/>
                  </a:lnTo>
                  <a:lnTo>
                    <a:pt x="206" y="325"/>
                  </a:lnTo>
                  <a:lnTo>
                    <a:pt x="179" y="360"/>
                  </a:lnTo>
                  <a:lnTo>
                    <a:pt x="154" y="394"/>
                  </a:lnTo>
                  <a:lnTo>
                    <a:pt x="131" y="432"/>
                  </a:lnTo>
                  <a:lnTo>
                    <a:pt x="109" y="469"/>
                  </a:lnTo>
                  <a:lnTo>
                    <a:pt x="89" y="508"/>
                  </a:lnTo>
                  <a:lnTo>
                    <a:pt x="71" y="547"/>
                  </a:lnTo>
                  <a:lnTo>
                    <a:pt x="55" y="588"/>
                  </a:lnTo>
                  <a:lnTo>
                    <a:pt x="40" y="630"/>
                  </a:lnTo>
                  <a:lnTo>
                    <a:pt x="29" y="672"/>
                  </a:lnTo>
                  <a:lnTo>
                    <a:pt x="19" y="715"/>
                  </a:lnTo>
                  <a:lnTo>
                    <a:pt x="10" y="759"/>
                  </a:lnTo>
                  <a:lnTo>
                    <a:pt x="4" y="804"/>
                  </a:lnTo>
                  <a:lnTo>
                    <a:pt x="1" y="850"/>
                  </a:lnTo>
                  <a:lnTo>
                    <a:pt x="0" y="896"/>
                  </a:lnTo>
                  <a:lnTo>
                    <a:pt x="0" y="898"/>
                  </a:lnTo>
                  <a:lnTo>
                    <a:pt x="1" y="944"/>
                  </a:lnTo>
                  <a:lnTo>
                    <a:pt x="4" y="990"/>
                  </a:lnTo>
                  <a:lnTo>
                    <a:pt x="10" y="1035"/>
                  </a:lnTo>
                  <a:lnTo>
                    <a:pt x="19" y="1079"/>
                  </a:lnTo>
                  <a:lnTo>
                    <a:pt x="29" y="1122"/>
                  </a:lnTo>
                  <a:lnTo>
                    <a:pt x="40" y="1164"/>
                  </a:lnTo>
                  <a:lnTo>
                    <a:pt x="55" y="1206"/>
                  </a:lnTo>
                  <a:lnTo>
                    <a:pt x="71" y="1247"/>
                  </a:lnTo>
                  <a:lnTo>
                    <a:pt x="89" y="1286"/>
                  </a:lnTo>
                  <a:lnTo>
                    <a:pt x="109" y="1325"/>
                  </a:lnTo>
                  <a:lnTo>
                    <a:pt x="131" y="1362"/>
                  </a:lnTo>
                  <a:lnTo>
                    <a:pt x="154" y="1400"/>
                  </a:lnTo>
                  <a:lnTo>
                    <a:pt x="179" y="1434"/>
                  </a:lnTo>
                  <a:lnTo>
                    <a:pt x="206" y="1469"/>
                  </a:lnTo>
                  <a:lnTo>
                    <a:pt x="233" y="1500"/>
                  </a:lnTo>
                  <a:lnTo>
                    <a:pt x="264" y="1532"/>
                  </a:lnTo>
                  <a:lnTo>
                    <a:pt x="295" y="1562"/>
                  </a:lnTo>
                  <a:lnTo>
                    <a:pt x="327" y="1589"/>
                  </a:lnTo>
                  <a:lnTo>
                    <a:pt x="361" y="1616"/>
                  </a:lnTo>
                  <a:lnTo>
                    <a:pt x="396" y="1641"/>
                  </a:lnTo>
                  <a:lnTo>
                    <a:pt x="433" y="1664"/>
                  </a:lnTo>
                  <a:lnTo>
                    <a:pt x="471" y="1687"/>
                  </a:lnTo>
                  <a:lnTo>
                    <a:pt x="510" y="1705"/>
                  </a:lnTo>
                  <a:lnTo>
                    <a:pt x="550" y="1724"/>
                  </a:lnTo>
                  <a:lnTo>
                    <a:pt x="590" y="1740"/>
                  </a:lnTo>
                  <a:lnTo>
                    <a:pt x="632" y="1754"/>
                  </a:lnTo>
                  <a:lnTo>
                    <a:pt x="675" y="1766"/>
                  </a:lnTo>
                  <a:lnTo>
                    <a:pt x="719" y="1776"/>
                  </a:lnTo>
                  <a:lnTo>
                    <a:pt x="763" y="1784"/>
                  </a:lnTo>
                  <a:lnTo>
                    <a:pt x="808" y="1790"/>
                  </a:lnTo>
                  <a:lnTo>
                    <a:pt x="852" y="1793"/>
                  </a:lnTo>
                  <a:lnTo>
                    <a:pt x="900" y="1795"/>
                  </a:lnTo>
                  <a:lnTo>
                    <a:pt x="900" y="1795"/>
                  </a:lnTo>
                  <a:lnTo>
                    <a:pt x="948" y="1793"/>
                  </a:lnTo>
                  <a:lnTo>
                    <a:pt x="992" y="1790"/>
                  </a:lnTo>
                  <a:lnTo>
                    <a:pt x="1037" y="1784"/>
                  </a:lnTo>
                  <a:lnTo>
                    <a:pt x="1081" y="1776"/>
                  </a:lnTo>
                  <a:lnTo>
                    <a:pt x="1125" y="1766"/>
                  </a:lnTo>
                  <a:lnTo>
                    <a:pt x="1168" y="1754"/>
                  </a:lnTo>
                  <a:lnTo>
                    <a:pt x="1210" y="1740"/>
                  </a:lnTo>
                  <a:lnTo>
                    <a:pt x="1250" y="1724"/>
                  </a:lnTo>
                  <a:lnTo>
                    <a:pt x="1290" y="1705"/>
                  </a:lnTo>
                  <a:lnTo>
                    <a:pt x="1329" y="1687"/>
                  </a:lnTo>
                  <a:lnTo>
                    <a:pt x="1367" y="1664"/>
                  </a:lnTo>
                  <a:lnTo>
                    <a:pt x="1404" y="1641"/>
                  </a:lnTo>
                  <a:lnTo>
                    <a:pt x="1439" y="1616"/>
                  </a:lnTo>
                  <a:lnTo>
                    <a:pt x="1473" y="1589"/>
                  </a:lnTo>
                  <a:lnTo>
                    <a:pt x="1505" y="1562"/>
                  </a:lnTo>
                  <a:lnTo>
                    <a:pt x="1536" y="1532"/>
                  </a:lnTo>
                  <a:lnTo>
                    <a:pt x="1567" y="1500"/>
                  </a:lnTo>
                  <a:lnTo>
                    <a:pt x="1594" y="1469"/>
                  </a:lnTo>
                  <a:lnTo>
                    <a:pt x="1621" y="1434"/>
                  </a:lnTo>
                  <a:lnTo>
                    <a:pt x="1646" y="1398"/>
                  </a:lnTo>
                  <a:lnTo>
                    <a:pt x="1670" y="1362"/>
                  </a:lnTo>
                  <a:lnTo>
                    <a:pt x="1692" y="1325"/>
                  </a:lnTo>
                  <a:lnTo>
                    <a:pt x="1711" y="1286"/>
                  </a:lnTo>
                  <a:lnTo>
                    <a:pt x="1729" y="1246"/>
                  </a:lnTo>
                  <a:lnTo>
                    <a:pt x="1745" y="1206"/>
                  </a:lnTo>
                  <a:lnTo>
                    <a:pt x="1760" y="1164"/>
                  </a:lnTo>
                  <a:lnTo>
                    <a:pt x="1771" y="1121"/>
                  </a:lnTo>
                  <a:lnTo>
                    <a:pt x="1781" y="1078"/>
                  </a:lnTo>
                  <a:lnTo>
                    <a:pt x="1790" y="1033"/>
                  </a:lnTo>
                  <a:lnTo>
                    <a:pt x="1796" y="989"/>
                  </a:lnTo>
                  <a:lnTo>
                    <a:pt x="1799" y="943"/>
                  </a:lnTo>
                  <a:lnTo>
                    <a:pt x="1800" y="897"/>
                  </a:lnTo>
                  <a:lnTo>
                    <a:pt x="1799" y="851"/>
                  </a:lnTo>
                  <a:lnTo>
                    <a:pt x="1796" y="805"/>
                  </a:lnTo>
                  <a:lnTo>
                    <a:pt x="1790" y="761"/>
                  </a:lnTo>
                  <a:lnTo>
                    <a:pt x="1781" y="716"/>
                  </a:lnTo>
                  <a:lnTo>
                    <a:pt x="1771" y="673"/>
                  </a:lnTo>
                  <a:lnTo>
                    <a:pt x="1760" y="630"/>
                  </a:lnTo>
                  <a:lnTo>
                    <a:pt x="1745" y="588"/>
                  </a:lnTo>
                  <a:lnTo>
                    <a:pt x="1729" y="548"/>
                  </a:lnTo>
                  <a:lnTo>
                    <a:pt x="1711" y="508"/>
                  </a:lnTo>
                  <a:lnTo>
                    <a:pt x="1692" y="469"/>
                  </a:lnTo>
                  <a:lnTo>
                    <a:pt x="1670" y="432"/>
                  </a:lnTo>
                  <a:lnTo>
                    <a:pt x="1646" y="396"/>
                  </a:lnTo>
                  <a:lnTo>
                    <a:pt x="1621" y="360"/>
                  </a:lnTo>
                  <a:lnTo>
                    <a:pt x="1594" y="325"/>
                  </a:lnTo>
                  <a:lnTo>
                    <a:pt x="1567" y="294"/>
                  </a:lnTo>
                  <a:lnTo>
                    <a:pt x="1536" y="262"/>
                  </a:lnTo>
                  <a:lnTo>
                    <a:pt x="1505" y="232"/>
                  </a:lnTo>
                  <a:lnTo>
                    <a:pt x="1473" y="205"/>
                  </a:lnTo>
                  <a:lnTo>
                    <a:pt x="1439" y="178"/>
                  </a:lnTo>
                  <a:lnTo>
                    <a:pt x="1403" y="153"/>
                  </a:lnTo>
                  <a:lnTo>
                    <a:pt x="1367" y="129"/>
                  </a:lnTo>
                  <a:lnTo>
                    <a:pt x="1329" y="107"/>
                  </a:lnTo>
                  <a:lnTo>
                    <a:pt x="1290" y="89"/>
                  </a:lnTo>
                  <a:lnTo>
                    <a:pt x="1250" y="70"/>
                  </a:lnTo>
                  <a:lnTo>
                    <a:pt x="1210" y="54"/>
                  </a:lnTo>
                  <a:lnTo>
                    <a:pt x="1168" y="40"/>
                  </a:lnTo>
                  <a:lnTo>
                    <a:pt x="1125" y="28"/>
                  </a:lnTo>
                  <a:lnTo>
                    <a:pt x="1081" y="18"/>
                  </a:lnTo>
                  <a:lnTo>
                    <a:pt x="1037" y="10"/>
                  </a:lnTo>
                  <a:lnTo>
                    <a:pt x="992" y="4"/>
                  </a:lnTo>
                  <a:lnTo>
                    <a:pt x="946" y="1"/>
                  </a:lnTo>
                  <a:lnTo>
                    <a:pt x="900" y="0"/>
                  </a:lnTo>
                  <a:lnTo>
                    <a:pt x="854" y="1"/>
                  </a:lnTo>
                  <a:lnTo>
                    <a:pt x="808" y="4"/>
                  </a:lnTo>
                  <a:lnTo>
                    <a:pt x="763" y="10"/>
                  </a:lnTo>
                  <a:lnTo>
                    <a:pt x="719" y="18"/>
                  </a:lnTo>
                  <a:lnTo>
                    <a:pt x="675" y="28"/>
                  </a:lnTo>
                  <a:lnTo>
                    <a:pt x="632" y="40"/>
                  </a:lnTo>
                  <a:lnTo>
                    <a:pt x="590" y="54"/>
                  </a:lnTo>
                  <a:lnTo>
                    <a:pt x="550" y="70"/>
                  </a:lnTo>
                  <a:lnTo>
                    <a:pt x="510" y="89"/>
                  </a:lnTo>
                  <a:lnTo>
                    <a:pt x="471" y="107"/>
                  </a:lnTo>
                  <a:lnTo>
                    <a:pt x="433" y="129"/>
                  </a:lnTo>
                  <a:lnTo>
                    <a:pt x="397" y="153"/>
                  </a:lnTo>
                  <a:lnTo>
                    <a:pt x="361" y="178"/>
                  </a:lnTo>
                  <a:lnTo>
                    <a:pt x="327" y="205"/>
                  </a:lnTo>
                  <a:lnTo>
                    <a:pt x="295" y="232"/>
                  </a:lnTo>
                  <a:lnTo>
                    <a:pt x="264" y="26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BE7E31E7-A304-75D4-0629-E89601EC89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90213" y="2211388"/>
              <a:ext cx="917575" cy="914400"/>
            </a:xfrm>
            <a:custGeom>
              <a:avLst/>
              <a:gdLst>
                <a:gd name="T0" fmla="*/ 123 w 1734"/>
                <a:gd name="T1" fmla="*/ 880 h 1728"/>
                <a:gd name="T2" fmla="*/ 675 w 1734"/>
                <a:gd name="T3" fmla="*/ 1559 h 1728"/>
                <a:gd name="T4" fmla="*/ 639 w 1734"/>
                <a:gd name="T5" fmla="*/ 1484 h 1728"/>
                <a:gd name="T6" fmla="*/ 709 w 1734"/>
                <a:gd name="T7" fmla="*/ 1631 h 1728"/>
                <a:gd name="T8" fmla="*/ 736 w 1734"/>
                <a:gd name="T9" fmla="*/ 1545 h 1728"/>
                <a:gd name="T10" fmla="*/ 311 w 1734"/>
                <a:gd name="T11" fmla="*/ 1217 h 1728"/>
                <a:gd name="T12" fmla="*/ 200 w 1734"/>
                <a:gd name="T13" fmla="*/ 1036 h 1728"/>
                <a:gd name="T14" fmla="*/ 223 w 1734"/>
                <a:gd name="T15" fmla="*/ 1003 h 1728"/>
                <a:gd name="T16" fmla="*/ 140 w 1734"/>
                <a:gd name="T17" fmla="*/ 1029 h 1728"/>
                <a:gd name="T18" fmla="*/ 127 w 1734"/>
                <a:gd name="T19" fmla="*/ 1012 h 1728"/>
                <a:gd name="T20" fmla="*/ 114 w 1734"/>
                <a:gd name="T21" fmla="*/ 1092 h 1728"/>
                <a:gd name="T22" fmla="*/ 288 w 1734"/>
                <a:gd name="T23" fmla="*/ 1178 h 1728"/>
                <a:gd name="T24" fmla="*/ 1400 w 1734"/>
                <a:gd name="T25" fmla="*/ 1509 h 1728"/>
                <a:gd name="T26" fmla="*/ 739 w 1734"/>
                <a:gd name="T27" fmla="*/ 1690 h 1728"/>
                <a:gd name="T28" fmla="*/ 173 w 1734"/>
                <a:gd name="T29" fmla="*/ 1331 h 1728"/>
                <a:gd name="T30" fmla="*/ 56 w 1734"/>
                <a:gd name="T31" fmla="*/ 656 h 1728"/>
                <a:gd name="T32" fmla="*/ 468 w 1734"/>
                <a:gd name="T33" fmla="*/ 130 h 1728"/>
                <a:gd name="T34" fmla="*/ 1155 w 1734"/>
                <a:gd name="T35" fmla="*/ 80 h 1728"/>
                <a:gd name="T36" fmla="*/ 1639 w 1734"/>
                <a:gd name="T37" fmla="*/ 539 h 1728"/>
                <a:gd name="T38" fmla="*/ 1622 w 1734"/>
                <a:gd name="T39" fmla="*/ 1226 h 1728"/>
                <a:gd name="T40" fmla="*/ 530 w 1734"/>
                <a:gd name="T41" fmla="*/ 67 h 1728"/>
                <a:gd name="T42" fmla="*/ 52 w 1734"/>
                <a:gd name="T43" fmla="*/ 567 h 1728"/>
                <a:gd name="T44" fmla="*/ 105 w 1734"/>
                <a:gd name="T45" fmla="*/ 1276 h 1728"/>
                <a:gd name="T46" fmla="*/ 651 w 1734"/>
                <a:gd name="T47" fmla="*/ 1701 h 1728"/>
                <a:gd name="T48" fmla="*/ 1352 w 1734"/>
                <a:gd name="T49" fmla="*/ 1581 h 1728"/>
                <a:gd name="T50" fmla="*/ 1724 w 1734"/>
                <a:gd name="T51" fmla="*/ 996 h 1728"/>
                <a:gd name="T52" fmla="*/ 1537 w 1734"/>
                <a:gd name="T53" fmla="*/ 314 h 1728"/>
                <a:gd name="T54" fmla="*/ 912 w 1734"/>
                <a:gd name="T55" fmla="*/ 1 h 1728"/>
                <a:gd name="T56" fmla="*/ 1331 w 1734"/>
                <a:gd name="T57" fmla="*/ 1466 h 1728"/>
                <a:gd name="T58" fmla="*/ 1257 w 1734"/>
                <a:gd name="T59" fmla="*/ 1453 h 1728"/>
                <a:gd name="T60" fmla="*/ 1355 w 1734"/>
                <a:gd name="T61" fmla="*/ 1499 h 1728"/>
                <a:gd name="T62" fmla="*/ 1465 w 1734"/>
                <a:gd name="T63" fmla="*/ 1312 h 1728"/>
                <a:gd name="T64" fmla="*/ 1411 w 1734"/>
                <a:gd name="T65" fmla="*/ 1286 h 1728"/>
                <a:gd name="T66" fmla="*/ 1515 w 1734"/>
                <a:gd name="T67" fmla="*/ 1268 h 1728"/>
                <a:gd name="T68" fmla="*/ 1429 w 1734"/>
                <a:gd name="T69" fmla="*/ 1230 h 1728"/>
                <a:gd name="T70" fmla="*/ 1522 w 1734"/>
                <a:gd name="T71" fmla="*/ 1272 h 1728"/>
                <a:gd name="T72" fmla="*/ 1112 w 1734"/>
                <a:gd name="T73" fmla="*/ 1540 h 1728"/>
                <a:gd name="T74" fmla="*/ 1141 w 1734"/>
                <a:gd name="T75" fmla="*/ 1559 h 1728"/>
                <a:gd name="T76" fmla="*/ 1109 w 1734"/>
                <a:gd name="T77" fmla="*/ 1484 h 1728"/>
                <a:gd name="T78" fmla="*/ 873 w 1734"/>
                <a:gd name="T79" fmla="*/ 1638 h 1728"/>
                <a:gd name="T80" fmla="*/ 1270 w 1734"/>
                <a:gd name="T81" fmla="*/ 170 h 1728"/>
                <a:gd name="T82" fmla="*/ 1037 w 1734"/>
                <a:gd name="T83" fmla="*/ 199 h 1728"/>
                <a:gd name="T84" fmla="*/ 1086 w 1734"/>
                <a:gd name="T85" fmla="*/ 130 h 1728"/>
                <a:gd name="T86" fmla="*/ 1007 w 1734"/>
                <a:gd name="T87" fmla="*/ 107 h 1728"/>
                <a:gd name="T88" fmla="*/ 1041 w 1734"/>
                <a:gd name="T89" fmla="*/ 231 h 1728"/>
                <a:gd name="T90" fmla="*/ 1391 w 1734"/>
                <a:gd name="T91" fmla="*/ 369 h 1728"/>
                <a:gd name="T92" fmla="*/ 1519 w 1734"/>
                <a:gd name="T93" fmla="*/ 728 h 1728"/>
                <a:gd name="T94" fmla="*/ 206 w 1734"/>
                <a:gd name="T95" fmla="*/ 610 h 1728"/>
                <a:gd name="T96" fmla="*/ 236 w 1734"/>
                <a:gd name="T97" fmla="*/ 672 h 1728"/>
                <a:gd name="T98" fmla="*/ 176 w 1734"/>
                <a:gd name="T99" fmla="*/ 558 h 1728"/>
                <a:gd name="T100" fmla="*/ 133 w 1734"/>
                <a:gd name="T101" fmla="*/ 677 h 1728"/>
                <a:gd name="T102" fmla="*/ 546 w 1734"/>
                <a:gd name="T103" fmla="*/ 259 h 1728"/>
                <a:gd name="T104" fmla="*/ 501 w 1734"/>
                <a:gd name="T105" fmla="*/ 182 h 1728"/>
                <a:gd name="T106" fmla="*/ 570 w 1734"/>
                <a:gd name="T107" fmla="*/ 170 h 1728"/>
                <a:gd name="T108" fmla="*/ 448 w 1734"/>
                <a:gd name="T109" fmla="*/ 221 h 1728"/>
                <a:gd name="T110" fmla="*/ 356 w 1734"/>
                <a:gd name="T111" fmla="*/ 331 h 1728"/>
                <a:gd name="T112" fmla="*/ 362 w 1734"/>
                <a:gd name="T113" fmla="*/ 324 h 1728"/>
                <a:gd name="T114" fmla="*/ 392 w 1734"/>
                <a:gd name="T115" fmla="*/ 281 h 1728"/>
                <a:gd name="T116" fmla="*/ 403 w 1734"/>
                <a:gd name="T117" fmla="*/ 396 h 1728"/>
                <a:gd name="T118" fmla="*/ 786 w 1734"/>
                <a:gd name="T119" fmla="*/ 206 h 1728"/>
                <a:gd name="T120" fmla="*/ 1318 w 1734"/>
                <a:gd name="T121" fmla="*/ 1312 h 1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4" h="1728">
                  <a:moveTo>
                    <a:pt x="295" y="1425"/>
                  </a:moveTo>
                  <a:lnTo>
                    <a:pt x="367" y="1493"/>
                  </a:lnTo>
                  <a:lnTo>
                    <a:pt x="386" y="1474"/>
                  </a:lnTo>
                  <a:lnTo>
                    <a:pt x="343" y="1434"/>
                  </a:lnTo>
                  <a:lnTo>
                    <a:pt x="363" y="1413"/>
                  </a:lnTo>
                  <a:lnTo>
                    <a:pt x="406" y="1453"/>
                  </a:lnTo>
                  <a:lnTo>
                    <a:pt x="425" y="1433"/>
                  </a:lnTo>
                  <a:lnTo>
                    <a:pt x="382" y="1392"/>
                  </a:lnTo>
                  <a:lnTo>
                    <a:pt x="402" y="1371"/>
                  </a:lnTo>
                  <a:lnTo>
                    <a:pt x="445" y="1411"/>
                  </a:lnTo>
                  <a:lnTo>
                    <a:pt x="464" y="1392"/>
                  </a:lnTo>
                  <a:lnTo>
                    <a:pt x="392" y="1324"/>
                  </a:lnTo>
                  <a:lnTo>
                    <a:pt x="295" y="1425"/>
                  </a:lnTo>
                  <a:close/>
                  <a:moveTo>
                    <a:pt x="97" y="819"/>
                  </a:moveTo>
                  <a:lnTo>
                    <a:pt x="97" y="819"/>
                  </a:lnTo>
                  <a:lnTo>
                    <a:pt x="125" y="821"/>
                  </a:lnTo>
                  <a:lnTo>
                    <a:pt x="123" y="880"/>
                  </a:lnTo>
                  <a:lnTo>
                    <a:pt x="148" y="881"/>
                  </a:lnTo>
                  <a:lnTo>
                    <a:pt x="153" y="824"/>
                  </a:lnTo>
                  <a:lnTo>
                    <a:pt x="183" y="825"/>
                  </a:lnTo>
                  <a:lnTo>
                    <a:pt x="179" y="883"/>
                  </a:lnTo>
                  <a:lnTo>
                    <a:pt x="206" y="886"/>
                  </a:lnTo>
                  <a:lnTo>
                    <a:pt x="212" y="786"/>
                  </a:lnTo>
                  <a:lnTo>
                    <a:pt x="72" y="778"/>
                  </a:lnTo>
                  <a:lnTo>
                    <a:pt x="65" y="875"/>
                  </a:lnTo>
                  <a:lnTo>
                    <a:pt x="92" y="877"/>
                  </a:lnTo>
                  <a:lnTo>
                    <a:pt x="97" y="819"/>
                  </a:lnTo>
                  <a:close/>
                  <a:moveTo>
                    <a:pt x="694" y="1548"/>
                  </a:moveTo>
                  <a:lnTo>
                    <a:pt x="694" y="1548"/>
                  </a:lnTo>
                  <a:lnTo>
                    <a:pt x="691" y="1552"/>
                  </a:lnTo>
                  <a:lnTo>
                    <a:pt x="690" y="1555"/>
                  </a:lnTo>
                  <a:lnTo>
                    <a:pt x="687" y="1558"/>
                  </a:lnTo>
                  <a:lnTo>
                    <a:pt x="683" y="1559"/>
                  </a:lnTo>
                  <a:lnTo>
                    <a:pt x="675" y="1559"/>
                  </a:lnTo>
                  <a:lnTo>
                    <a:pt x="667" y="1558"/>
                  </a:lnTo>
                  <a:lnTo>
                    <a:pt x="655" y="1555"/>
                  </a:lnTo>
                  <a:lnTo>
                    <a:pt x="652" y="1553"/>
                  </a:lnTo>
                  <a:lnTo>
                    <a:pt x="664" y="1520"/>
                  </a:lnTo>
                  <a:lnTo>
                    <a:pt x="665" y="1520"/>
                  </a:lnTo>
                  <a:lnTo>
                    <a:pt x="677" y="1525"/>
                  </a:lnTo>
                  <a:lnTo>
                    <a:pt x="686" y="1527"/>
                  </a:lnTo>
                  <a:lnTo>
                    <a:pt x="691" y="1533"/>
                  </a:lnTo>
                  <a:lnTo>
                    <a:pt x="693" y="1536"/>
                  </a:lnTo>
                  <a:lnTo>
                    <a:pt x="694" y="1539"/>
                  </a:lnTo>
                  <a:lnTo>
                    <a:pt x="694" y="1543"/>
                  </a:lnTo>
                  <a:lnTo>
                    <a:pt x="694" y="1548"/>
                  </a:lnTo>
                  <a:close/>
                  <a:moveTo>
                    <a:pt x="686" y="1499"/>
                  </a:moveTo>
                  <a:lnTo>
                    <a:pt x="686" y="1499"/>
                  </a:lnTo>
                  <a:lnTo>
                    <a:pt x="671" y="1494"/>
                  </a:lnTo>
                  <a:lnTo>
                    <a:pt x="654" y="1489"/>
                  </a:lnTo>
                  <a:lnTo>
                    <a:pt x="639" y="1484"/>
                  </a:lnTo>
                  <a:lnTo>
                    <a:pt x="634" y="1483"/>
                  </a:lnTo>
                  <a:lnTo>
                    <a:pt x="591" y="1616"/>
                  </a:lnTo>
                  <a:lnTo>
                    <a:pt x="629" y="1628"/>
                  </a:lnTo>
                  <a:lnTo>
                    <a:pt x="645" y="1579"/>
                  </a:lnTo>
                  <a:lnTo>
                    <a:pt x="647" y="1579"/>
                  </a:lnTo>
                  <a:lnTo>
                    <a:pt x="658" y="1583"/>
                  </a:lnTo>
                  <a:lnTo>
                    <a:pt x="664" y="1585"/>
                  </a:lnTo>
                  <a:lnTo>
                    <a:pt x="668" y="1588"/>
                  </a:lnTo>
                  <a:lnTo>
                    <a:pt x="671" y="1591"/>
                  </a:lnTo>
                  <a:lnTo>
                    <a:pt x="673" y="1593"/>
                  </a:lnTo>
                  <a:lnTo>
                    <a:pt x="675" y="1601"/>
                  </a:lnTo>
                  <a:lnTo>
                    <a:pt x="674" y="1609"/>
                  </a:lnTo>
                  <a:lnTo>
                    <a:pt x="670" y="1625"/>
                  </a:lnTo>
                  <a:lnTo>
                    <a:pt x="670" y="1641"/>
                  </a:lnTo>
                  <a:lnTo>
                    <a:pt x="709" y="1652"/>
                  </a:lnTo>
                  <a:lnTo>
                    <a:pt x="707" y="1642"/>
                  </a:lnTo>
                  <a:lnTo>
                    <a:pt x="709" y="1631"/>
                  </a:lnTo>
                  <a:lnTo>
                    <a:pt x="711" y="1619"/>
                  </a:lnTo>
                  <a:lnTo>
                    <a:pt x="713" y="1609"/>
                  </a:lnTo>
                  <a:lnTo>
                    <a:pt x="713" y="1601"/>
                  </a:lnTo>
                  <a:lnTo>
                    <a:pt x="711" y="1592"/>
                  </a:lnTo>
                  <a:lnTo>
                    <a:pt x="709" y="1588"/>
                  </a:lnTo>
                  <a:lnTo>
                    <a:pt x="706" y="1585"/>
                  </a:lnTo>
                  <a:lnTo>
                    <a:pt x="701" y="1582"/>
                  </a:lnTo>
                  <a:lnTo>
                    <a:pt x="696" y="1579"/>
                  </a:lnTo>
                  <a:lnTo>
                    <a:pt x="701" y="1579"/>
                  </a:lnTo>
                  <a:lnTo>
                    <a:pt x="706" y="1578"/>
                  </a:lnTo>
                  <a:lnTo>
                    <a:pt x="711" y="1578"/>
                  </a:lnTo>
                  <a:lnTo>
                    <a:pt x="717" y="1575"/>
                  </a:lnTo>
                  <a:lnTo>
                    <a:pt x="722" y="1572"/>
                  </a:lnTo>
                  <a:lnTo>
                    <a:pt x="727" y="1566"/>
                  </a:lnTo>
                  <a:lnTo>
                    <a:pt x="732" y="1560"/>
                  </a:lnTo>
                  <a:lnTo>
                    <a:pt x="735" y="1552"/>
                  </a:lnTo>
                  <a:lnTo>
                    <a:pt x="736" y="1545"/>
                  </a:lnTo>
                  <a:lnTo>
                    <a:pt x="736" y="1539"/>
                  </a:lnTo>
                  <a:lnTo>
                    <a:pt x="736" y="1535"/>
                  </a:lnTo>
                  <a:lnTo>
                    <a:pt x="735" y="1530"/>
                  </a:lnTo>
                  <a:lnTo>
                    <a:pt x="730" y="1522"/>
                  </a:lnTo>
                  <a:lnTo>
                    <a:pt x="723" y="1515"/>
                  </a:lnTo>
                  <a:lnTo>
                    <a:pt x="714" y="1510"/>
                  </a:lnTo>
                  <a:lnTo>
                    <a:pt x="704" y="1506"/>
                  </a:lnTo>
                  <a:lnTo>
                    <a:pt x="694" y="1502"/>
                  </a:lnTo>
                  <a:lnTo>
                    <a:pt x="686" y="1499"/>
                  </a:lnTo>
                  <a:close/>
                  <a:moveTo>
                    <a:pt x="311" y="1217"/>
                  </a:moveTo>
                  <a:lnTo>
                    <a:pt x="311" y="1217"/>
                  </a:lnTo>
                  <a:lnTo>
                    <a:pt x="235" y="1209"/>
                  </a:lnTo>
                  <a:lnTo>
                    <a:pt x="193" y="1293"/>
                  </a:lnTo>
                  <a:lnTo>
                    <a:pt x="216" y="1334"/>
                  </a:lnTo>
                  <a:lnTo>
                    <a:pt x="258" y="1249"/>
                  </a:lnTo>
                  <a:lnTo>
                    <a:pt x="334" y="1257"/>
                  </a:lnTo>
                  <a:lnTo>
                    <a:pt x="311" y="1217"/>
                  </a:lnTo>
                  <a:close/>
                  <a:moveTo>
                    <a:pt x="171" y="1058"/>
                  </a:moveTo>
                  <a:lnTo>
                    <a:pt x="171" y="1058"/>
                  </a:lnTo>
                  <a:lnTo>
                    <a:pt x="173" y="1039"/>
                  </a:lnTo>
                  <a:lnTo>
                    <a:pt x="174" y="1023"/>
                  </a:lnTo>
                  <a:lnTo>
                    <a:pt x="176" y="1016"/>
                  </a:lnTo>
                  <a:lnTo>
                    <a:pt x="177" y="1012"/>
                  </a:lnTo>
                  <a:lnTo>
                    <a:pt x="179" y="1008"/>
                  </a:lnTo>
                  <a:lnTo>
                    <a:pt x="182" y="1006"/>
                  </a:lnTo>
                  <a:lnTo>
                    <a:pt x="187" y="1006"/>
                  </a:lnTo>
                  <a:lnTo>
                    <a:pt x="192" y="1006"/>
                  </a:lnTo>
                  <a:lnTo>
                    <a:pt x="195" y="1009"/>
                  </a:lnTo>
                  <a:lnTo>
                    <a:pt x="199" y="1012"/>
                  </a:lnTo>
                  <a:lnTo>
                    <a:pt x="200" y="1016"/>
                  </a:lnTo>
                  <a:lnTo>
                    <a:pt x="202" y="1021"/>
                  </a:lnTo>
                  <a:lnTo>
                    <a:pt x="203" y="1028"/>
                  </a:lnTo>
                  <a:lnTo>
                    <a:pt x="202" y="1033"/>
                  </a:lnTo>
                  <a:lnTo>
                    <a:pt x="200" y="1036"/>
                  </a:lnTo>
                  <a:lnTo>
                    <a:pt x="197" y="1039"/>
                  </a:lnTo>
                  <a:lnTo>
                    <a:pt x="193" y="1041"/>
                  </a:lnTo>
                  <a:lnTo>
                    <a:pt x="187" y="1044"/>
                  </a:lnTo>
                  <a:lnTo>
                    <a:pt x="193" y="1066"/>
                  </a:lnTo>
                  <a:lnTo>
                    <a:pt x="196" y="1079"/>
                  </a:lnTo>
                  <a:lnTo>
                    <a:pt x="199" y="1079"/>
                  </a:lnTo>
                  <a:lnTo>
                    <a:pt x="207" y="1077"/>
                  </a:lnTo>
                  <a:lnTo>
                    <a:pt x="212" y="1075"/>
                  </a:lnTo>
                  <a:lnTo>
                    <a:pt x="216" y="1072"/>
                  </a:lnTo>
                  <a:lnTo>
                    <a:pt x="220" y="1068"/>
                  </a:lnTo>
                  <a:lnTo>
                    <a:pt x="223" y="1064"/>
                  </a:lnTo>
                  <a:lnTo>
                    <a:pt x="228" y="1054"/>
                  </a:lnTo>
                  <a:lnTo>
                    <a:pt x="231" y="1044"/>
                  </a:lnTo>
                  <a:lnTo>
                    <a:pt x="231" y="1033"/>
                  </a:lnTo>
                  <a:lnTo>
                    <a:pt x="229" y="1022"/>
                  </a:lnTo>
                  <a:lnTo>
                    <a:pt x="226" y="1012"/>
                  </a:lnTo>
                  <a:lnTo>
                    <a:pt x="223" y="1003"/>
                  </a:lnTo>
                  <a:lnTo>
                    <a:pt x="220" y="995"/>
                  </a:lnTo>
                  <a:lnTo>
                    <a:pt x="216" y="987"/>
                  </a:lnTo>
                  <a:lnTo>
                    <a:pt x="212" y="982"/>
                  </a:lnTo>
                  <a:lnTo>
                    <a:pt x="207" y="977"/>
                  </a:lnTo>
                  <a:lnTo>
                    <a:pt x="200" y="972"/>
                  </a:lnTo>
                  <a:lnTo>
                    <a:pt x="193" y="969"/>
                  </a:lnTo>
                  <a:lnTo>
                    <a:pt x="186" y="967"/>
                  </a:lnTo>
                  <a:lnTo>
                    <a:pt x="179" y="966"/>
                  </a:lnTo>
                  <a:lnTo>
                    <a:pt x="170" y="967"/>
                  </a:lnTo>
                  <a:lnTo>
                    <a:pt x="163" y="970"/>
                  </a:lnTo>
                  <a:lnTo>
                    <a:pt x="157" y="975"/>
                  </a:lnTo>
                  <a:lnTo>
                    <a:pt x="153" y="977"/>
                  </a:lnTo>
                  <a:lnTo>
                    <a:pt x="148" y="982"/>
                  </a:lnTo>
                  <a:lnTo>
                    <a:pt x="146" y="986"/>
                  </a:lnTo>
                  <a:lnTo>
                    <a:pt x="143" y="996"/>
                  </a:lnTo>
                  <a:lnTo>
                    <a:pt x="141" y="1006"/>
                  </a:lnTo>
                  <a:lnTo>
                    <a:pt x="140" y="1029"/>
                  </a:lnTo>
                  <a:lnTo>
                    <a:pt x="138" y="1051"/>
                  </a:lnTo>
                  <a:lnTo>
                    <a:pt x="135" y="1054"/>
                  </a:lnTo>
                  <a:lnTo>
                    <a:pt x="133" y="1056"/>
                  </a:lnTo>
                  <a:lnTo>
                    <a:pt x="128" y="1059"/>
                  </a:lnTo>
                  <a:lnTo>
                    <a:pt x="124" y="1058"/>
                  </a:lnTo>
                  <a:lnTo>
                    <a:pt x="120" y="1056"/>
                  </a:lnTo>
                  <a:lnTo>
                    <a:pt x="115" y="1054"/>
                  </a:lnTo>
                  <a:lnTo>
                    <a:pt x="112" y="1049"/>
                  </a:lnTo>
                  <a:lnTo>
                    <a:pt x="111" y="1045"/>
                  </a:lnTo>
                  <a:lnTo>
                    <a:pt x="110" y="1038"/>
                  </a:lnTo>
                  <a:lnTo>
                    <a:pt x="110" y="1029"/>
                  </a:lnTo>
                  <a:lnTo>
                    <a:pt x="110" y="1026"/>
                  </a:lnTo>
                  <a:lnTo>
                    <a:pt x="111" y="1022"/>
                  </a:lnTo>
                  <a:lnTo>
                    <a:pt x="114" y="1019"/>
                  </a:lnTo>
                  <a:lnTo>
                    <a:pt x="117" y="1018"/>
                  </a:lnTo>
                  <a:lnTo>
                    <a:pt x="124" y="1013"/>
                  </a:lnTo>
                  <a:lnTo>
                    <a:pt x="127" y="1012"/>
                  </a:lnTo>
                  <a:lnTo>
                    <a:pt x="118" y="977"/>
                  </a:lnTo>
                  <a:lnTo>
                    <a:pt x="108" y="979"/>
                  </a:lnTo>
                  <a:lnTo>
                    <a:pt x="98" y="985"/>
                  </a:lnTo>
                  <a:lnTo>
                    <a:pt x="94" y="987"/>
                  </a:lnTo>
                  <a:lnTo>
                    <a:pt x="91" y="990"/>
                  </a:lnTo>
                  <a:lnTo>
                    <a:pt x="88" y="995"/>
                  </a:lnTo>
                  <a:lnTo>
                    <a:pt x="85" y="1000"/>
                  </a:lnTo>
                  <a:lnTo>
                    <a:pt x="82" y="1012"/>
                  </a:lnTo>
                  <a:lnTo>
                    <a:pt x="81" y="1022"/>
                  </a:lnTo>
                  <a:lnTo>
                    <a:pt x="81" y="1033"/>
                  </a:lnTo>
                  <a:lnTo>
                    <a:pt x="82" y="1045"/>
                  </a:lnTo>
                  <a:lnTo>
                    <a:pt x="85" y="1055"/>
                  </a:lnTo>
                  <a:lnTo>
                    <a:pt x="88" y="1065"/>
                  </a:lnTo>
                  <a:lnTo>
                    <a:pt x="94" y="1074"/>
                  </a:lnTo>
                  <a:lnTo>
                    <a:pt x="101" y="1082"/>
                  </a:lnTo>
                  <a:lnTo>
                    <a:pt x="107" y="1088"/>
                  </a:lnTo>
                  <a:lnTo>
                    <a:pt x="114" y="1092"/>
                  </a:lnTo>
                  <a:lnTo>
                    <a:pt x="121" y="1095"/>
                  </a:lnTo>
                  <a:lnTo>
                    <a:pt x="127" y="1097"/>
                  </a:lnTo>
                  <a:lnTo>
                    <a:pt x="134" y="1098"/>
                  </a:lnTo>
                  <a:lnTo>
                    <a:pt x="140" y="1097"/>
                  </a:lnTo>
                  <a:lnTo>
                    <a:pt x="147" y="1095"/>
                  </a:lnTo>
                  <a:lnTo>
                    <a:pt x="153" y="1092"/>
                  </a:lnTo>
                  <a:lnTo>
                    <a:pt x="157" y="1089"/>
                  </a:lnTo>
                  <a:lnTo>
                    <a:pt x="161" y="1085"/>
                  </a:lnTo>
                  <a:lnTo>
                    <a:pt x="164" y="1081"/>
                  </a:lnTo>
                  <a:lnTo>
                    <a:pt x="167" y="1075"/>
                  </a:lnTo>
                  <a:lnTo>
                    <a:pt x="171" y="1065"/>
                  </a:lnTo>
                  <a:lnTo>
                    <a:pt x="171" y="1058"/>
                  </a:lnTo>
                  <a:close/>
                  <a:moveTo>
                    <a:pt x="268" y="1144"/>
                  </a:moveTo>
                  <a:lnTo>
                    <a:pt x="268" y="1144"/>
                  </a:lnTo>
                  <a:lnTo>
                    <a:pt x="146" y="1214"/>
                  </a:lnTo>
                  <a:lnTo>
                    <a:pt x="166" y="1249"/>
                  </a:lnTo>
                  <a:lnTo>
                    <a:pt x="288" y="1178"/>
                  </a:lnTo>
                  <a:lnTo>
                    <a:pt x="268" y="1144"/>
                  </a:lnTo>
                  <a:close/>
                  <a:moveTo>
                    <a:pt x="423" y="1336"/>
                  </a:moveTo>
                  <a:lnTo>
                    <a:pt x="423" y="1336"/>
                  </a:lnTo>
                  <a:lnTo>
                    <a:pt x="448" y="1359"/>
                  </a:lnTo>
                  <a:lnTo>
                    <a:pt x="480" y="1358"/>
                  </a:lnTo>
                  <a:lnTo>
                    <a:pt x="457" y="1335"/>
                  </a:lnTo>
                  <a:lnTo>
                    <a:pt x="423" y="1336"/>
                  </a:lnTo>
                  <a:close/>
                  <a:moveTo>
                    <a:pt x="1521" y="986"/>
                  </a:moveTo>
                  <a:lnTo>
                    <a:pt x="1521" y="986"/>
                  </a:lnTo>
                  <a:lnTo>
                    <a:pt x="1660" y="1005"/>
                  </a:lnTo>
                  <a:lnTo>
                    <a:pt x="1666" y="965"/>
                  </a:lnTo>
                  <a:lnTo>
                    <a:pt x="1527" y="947"/>
                  </a:lnTo>
                  <a:lnTo>
                    <a:pt x="1521" y="986"/>
                  </a:lnTo>
                  <a:close/>
                  <a:moveTo>
                    <a:pt x="1459" y="1454"/>
                  </a:moveTo>
                  <a:lnTo>
                    <a:pt x="1459" y="1454"/>
                  </a:lnTo>
                  <a:lnTo>
                    <a:pt x="1430" y="1481"/>
                  </a:lnTo>
                  <a:lnTo>
                    <a:pt x="1400" y="1509"/>
                  </a:lnTo>
                  <a:lnTo>
                    <a:pt x="1368" y="1533"/>
                  </a:lnTo>
                  <a:lnTo>
                    <a:pt x="1335" y="1556"/>
                  </a:lnTo>
                  <a:lnTo>
                    <a:pt x="1300" y="1578"/>
                  </a:lnTo>
                  <a:lnTo>
                    <a:pt x="1266" y="1598"/>
                  </a:lnTo>
                  <a:lnTo>
                    <a:pt x="1230" y="1616"/>
                  </a:lnTo>
                  <a:lnTo>
                    <a:pt x="1192" y="1634"/>
                  </a:lnTo>
                  <a:lnTo>
                    <a:pt x="1155" y="1648"/>
                  </a:lnTo>
                  <a:lnTo>
                    <a:pt x="1116" y="1661"/>
                  </a:lnTo>
                  <a:lnTo>
                    <a:pt x="1076" y="1672"/>
                  </a:lnTo>
                  <a:lnTo>
                    <a:pt x="1035" y="1681"/>
                  </a:lnTo>
                  <a:lnTo>
                    <a:pt x="995" y="1690"/>
                  </a:lnTo>
                  <a:lnTo>
                    <a:pt x="952" y="1694"/>
                  </a:lnTo>
                  <a:lnTo>
                    <a:pt x="910" y="1698"/>
                  </a:lnTo>
                  <a:lnTo>
                    <a:pt x="867" y="1698"/>
                  </a:lnTo>
                  <a:lnTo>
                    <a:pt x="824" y="1698"/>
                  </a:lnTo>
                  <a:lnTo>
                    <a:pt x="782" y="1694"/>
                  </a:lnTo>
                  <a:lnTo>
                    <a:pt x="739" y="1690"/>
                  </a:lnTo>
                  <a:lnTo>
                    <a:pt x="699" y="1681"/>
                  </a:lnTo>
                  <a:lnTo>
                    <a:pt x="658" y="1672"/>
                  </a:lnTo>
                  <a:lnTo>
                    <a:pt x="618" y="1661"/>
                  </a:lnTo>
                  <a:lnTo>
                    <a:pt x="579" y="1648"/>
                  </a:lnTo>
                  <a:lnTo>
                    <a:pt x="542" y="1634"/>
                  </a:lnTo>
                  <a:lnTo>
                    <a:pt x="504" y="1616"/>
                  </a:lnTo>
                  <a:lnTo>
                    <a:pt x="468" y="1598"/>
                  </a:lnTo>
                  <a:lnTo>
                    <a:pt x="434" y="1578"/>
                  </a:lnTo>
                  <a:lnTo>
                    <a:pt x="399" y="1556"/>
                  </a:lnTo>
                  <a:lnTo>
                    <a:pt x="366" y="1533"/>
                  </a:lnTo>
                  <a:lnTo>
                    <a:pt x="334" y="1509"/>
                  </a:lnTo>
                  <a:lnTo>
                    <a:pt x="304" y="1481"/>
                  </a:lnTo>
                  <a:lnTo>
                    <a:pt x="275" y="1454"/>
                  </a:lnTo>
                  <a:lnTo>
                    <a:pt x="248" y="1425"/>
                  </a:lnTo>
                  <a:lnTo>
                    <a:pt x="220" y="1395"/>
                  </a:lnTo>
                  <a:lnTo>
                    <a:pt x="196" y="1364"/>
                  </a:lnTo>
                  <a:lnTo>
                    <a:pt x="173" y="1331"/>
                  </a:lnTo>
                  <a:lnTo>
                    <a:pt x="151" y="1296"/>
                  </a:lnTo>
                  <a:lnTo>
                    <a:pt x="131" y="1262"/>
                  </a:lnTo>
                  <a:lnTo>
                    <a:pt x="112" y="1226"/>
                  </a:lnTo>
                  <a:lnTo>
                    <a:pt x="95" y="1189"/>
                  </a:lnTo>
                  <a:lnTo>
                    <a:pt x="81" y="1151"/>
                  </a:lnTo>
                  <a:lnTo>
                    <a:pt x="68" y="1112"/>
                  </a:lnTo>
                  <a:lnTo>
                    <a:pt x="56" y="1072"/>
                  </a:lnTo>
                  <a:lnTo>
                    <a:pt x="46" y="1032"/>
                  </a:lnTo>
                  <a:lnTo>
                    <a:pt x="39" y="990"/>
                  </a:lnTo>
                  <a:lnTo>
                    <a:pt x="35" y="949"/>
                  </a:lnTo>
                  <a:lnTo>
                    <a:pt x="30" y="907"/>
                  </a:lnTo>
                  <a:lnTo>
                    <a:pt x="30" y="864"/>
                  </a:lnTo>
                  <a:lnTo>
                    <a:pt x="30" y="821"/>
                  </a:lnTo>
                  <a:lnTo>
                    <a:pt x="35" y="779"/>
                  </a:lnTo>
                  <a:lnTo>
                    <a:pt x="39" y="736"/>
                  </a:lnTo>
                  <a:lnTo>
                    <a:pt x="46" y="696"/>
                  </a:lnTo>
                  <a:lnTo>
                    <a:pt x="56" y="656"/>
                  </a:lnTo>
                  <a:lnTo>
                    <a:pt x="68" y="616"/>
                  </a:lnTo>
                  <a:lnTo>
                    <a:pt x="81" y="577"/>
                  </a:lnTo>
                  <a:lnTo>
                    <a:pt x="95" y="539"/>
                  </a:lnTo>
                  <a:lnTo>
                    <a:pt x="112" y="502"/>
                  </a:lnTo>
                  <a:lnTo>
                    <a:pt x="131" y="466"/>
                  </a:lnTo>
                  <a:lnTo>
                    <a:pt x="151" y="432"/>
                  </a:lnTo>
                  <a:lnTo>
                    <a:pt x="173" y="397"/>
                  </a:lnTo>
                  <a:lnTo>
                    <a:pt x="196" y="364"/>
                  </a:lnTo>
                  <a:lnTo>
                    <a:pt x="220" y="333"/>
                  </a:lnTo>
                  <a:lnTo>
                    <a:pt x="248" y="303"/>
                  </a:lnTo>
                  <a:lnTo>
                    <a:pt x="275" y="274"/>
                  </a:lnTo>
                  <a:lnTo>
                    <a:pt x="304" y="247"/>
                  </a:lnTo>
                  <a:lnTo>
                    <a:pt x="334" y="219"/>
                  </a:lnTo>
                  <a:lnTo>
                    <a:pt x="366" y="195"/>
                  </a:lnTo>
                  <a:lnTo>
                    <a:pt x="399" y="172"/>
                  </a:lnTo>
                  <a:lnTo>
                    <a:pt x="434" y="150"/>
                  </a:lnTo>
                  <a:lnTo>
                    <a:pt x="468" y="130"/>
                  </a:lnTo>
                  <a:lnTo>
                    <a:pt x="504" y="112"/>
                  </a:lnTo>
                  <a:lnTo>
                    <a:pt x="542" y="94"/>
                  </a:lnTo>
                  <a:lnTo>
                    <a:pt x="579" y="80"/>
                  </a:lnTo>
                  <a:lnTo>
                    <a:pt x="618" y="67"/>
                  </a:lnTo>
                  <a:lnTo>
                    <a:pt x="658" y="56"/>
                  </a:lnTo>
                  <a:lnTo>
                    <a:pt x="699" y="45"/>
                  </a:lnTo>
                  <a:lnTo>
                    <a:pt x="739" y="38"/>
                  </a:lnTo>
                  <a:lnTo>
                    <a:pt x="782" y="34"/>
                  </a:lnTo>
                  <a:lnTo>
                    <a:pt x="824" y="30"/>
                  </a:lnTo>
                  <a:lnTo>
                    <a:pt x="867" y="30"/>
                  </a:lnTo>
                  <a:lnTo>
                    <a:pt x="910" y="30"/>
                  </a:lnTo>
                  <a:lnTo>
                    <a:pt x="952" y="34"/>
                  </a:lnTo>
                  <a:lnTo>
                    <a:pt x="995" y="38"/>
                  </a:lnTo>
                  <a:lnTo>
                    <a:pt x="1035" y="45"/>
                  </a:lnTo>
                  <a:lnTo>
                    <a:pt x="1076" y="56"/>
                  </a:lnTo>
                  <a:lnTo>
                    <a:pt x="1116" y="67"/>
                  </a:lnTo>
                  <a:lnTo>
                    <a:pt x="1155" y="80"/>
                  </a:lnTo>
                  <a:lnTo>
                    <a:pt x="1192" y="94"/>
                  </a:lnTo>
                  <a:lnTo>
                    <a:pt x="1230" y="112"/>
                  </a:lnTo>
                  <a:lnTo>
                    <a:pt x="1266" y="130"/>
                  </a:lnTo>
                  <a:lnTo>
                    <a:pt x="1300" y="150"/>
                  </a:lnTo>
                  <a:lnTo>
                    <a:pt x="1335" y="172"/>
                  </a:lnTo>
                  <a:lnTo>
                    <a:pt x="1368" y="195"/>
                  </a:lnTo>
                  <a:lnTo>
                    <a:pt x="1400" y="219"/>
                  </a:lnTo>
                  <a:lnTo>
                    <a:pt x="1430" y="247"/>
                  </a:lnTo>
                  <a:lnTo>
                    <a:pt x="1459" y="274"/>
                  </a:lnTo>
                  <a:lnTo>
                    <a:pt x="1486" y="303"/>
                  </a:lnTo>
                  <a:lnTo>
                    <a:pt x="1514" y="333"/>
                  </a:lnTo>
                  <a:lnTo>
                    <a:pt x="1538" y="364"/>
                  </a:lnTo>
                  <a:lnTo>
                    <a:pt x="1561" y="397"/>
                  </a:lnTo>
                  <a:lnTo>
                    <a:pt x="1583" y="432"/>
                  </a:lnTo>
                  <a:lnTo>
                    <a:pt x="1603" y="466"/>
                  </a:lnTo>
                  <a:lnTo>
                    <a:pt x="1622" y="502"/>
                  </a:lnTo>
                  <a:lnTo>
                    <a:pt x="1639" y="539"/>
                  </a:lnTo>
                  <a:lnTo>
                    <a:pt x="1653" y="577"/>
                  </a:lnTo>
                  <a:lnTo>
                    <a:pt x="1666" y="616"/>
                  </a:lnTo>
                  <a:lnTo>
                    <a:pt x="1678" y="656"/>
                  </a:lnTo>
                  <a:lnTo>
                    <a:pt x="1686" y="696"/>
                  </a:lnTo>
                  <a:lnTo>
                    <a:pt x="1695" y="736"/>
                  </a:lnTo>
                  <a:lnTo>
                    <a:pt x="1699" y="779"/>
                  </a:lnTo>
                  <a:lnTo>
                    <a:pt x="1704" y="821"/>
                  </a:lnTo>
                  <a:lnTo>
                    <a:pt x="1704" y="864"/>
                  </a:lnTo>
                  <a:lnTo>
                    <a:pt x="1704" y="907"/>
                  </a:lnTo>
                  <a:lnTo>
                    <a:pt x="1699" y="949"/>
                  </a:lnTo>
                  <a:lnTo>
                    <a:pt x="1695" y="990"/>
                  </a:lnTo>
                  <a:lnTo>
                    <a:pt x="1686" y="1032"/>
                  </a:lnTo>
                  <a:lnTo>
                    <a:pt x="1678" y="1072"/>
                  </a:lnTo>
                  <a:lnTo>
                    <a:pt x="1666" y="1112"/>
                  </a:lnTo>
                  <a:lnTo>
                    <a:pt x="1653" y="1151"/>
                  </a:lnTo>
                  <a:lnTo>
                    <a:pt x="1639" y="1189"/>
                  </a:lnTo>
                  <a:lnTo>
                    <a:pt x="1622" y="1226"/>
                  </a:lnTo>
                  <a:lnTo>
                    <a:pt x="1603" y="1262"/>
                  </a:lnTo>
                  <a:lnTo>
                    <a:pt x="1583" y="1296"/>
                  </a:lnTo>
                  <a:lnTo>
                    <a:pt x="1561" y="1331"/>
                  </a:lnTo>
                  <a:lnTo>
                    <a:pt x="1538" y="1364"/>
                  </a:lnTo>
                  <a:lnTo>
                    <a:pt x="1514" y="1395"/>
                  </a:lnTo>
                  <a:lnTo>
                    <a:pt x="1486" y="1425"/>
                  </a:lnTo>
                  <a:lnTo>
                    <a:pt x="1459" y="1454"/>
                  </a:lnTo>
                  <a:close/>
                  <a:moveTo>
                    <a:pt x="867" y="0"/>
                  </a:moveTo>
                  <a:lnTo>
                    <a:pt x="867" y="0"/>
                  </a:lnTo>
                  <a:lnTo>
                    <a:pt x="822" y="1"/>
                  </a:lnTo>
                  <a:lnTo>
                    <a:pt x="778" y="4"/>
                  </a:lnTo>
                  <a:lnTo>
                    <a:pt x="735" y="10"/>
                  </a:lnTo>
                  <a:lnTo>
                    <a:pt x="693" y="17"/>
                  </a:lnTo>
                  <a:lnTo>
                    <a:pt x="651" y="27"/>
                  </a:lnTo>
                  <a:lnTo>
                    <a:pt x="609" y="38"/>
                  </a:lnTo>
                  <a:lnTo>
                    <a:pt x="569" y="51"/>
                  </a:lnTo>
                  <a:lnTo>
                    <a:pt x="530" y="67"/>
                  </a:lnTo>
                  <a:lnTo>
                    <a:pt x="491" y="84"/>
                  </a:lnTo>
                  <a:lnTo>
                    <a:pt x="454" y="104"/>
                  </a:lnTo>
                  <a:lnTo>
                    <a:pt x="418" y="124"/>
                  </a:lnTo>
                  <a:lnTo>
                    <a:pt x="382" y="147"/>
                  </a:lnTo>
                  <a:lnTo>
                    <a:pt x="349" y="172"/>
                  </a:lnTo>
                  <a:lnTo>
                    <a:pt x="315" y="196"/>
                  </a:lnTo>
                  <a:lnTo>
                    <a:pt x="284" y="224"/>
                  </a:lnTo>
                  <a:lnTo>
                    <a:pt x="254" y="252"/>
                  </a:lnTo>
                  <a:lnTo>
                    <a:pt x="225" y="282"/>
                  </a:lnTo>
                  <a:lnTo>
                    <a:pt x="197" y="314"/>
                  </a:lnTo>
                  <a:lnTo>
                    <a:pt x="173" y="347"/>
                  </a:lnTo>
                  <a:lnTo>
                    <a:pt x="148" y="380"/>
                  </a:lnTo>
                  <a:lnTo>
                    <a:pt x="125" y="416"/>
                  </a:lnTo>
                  <a:lnTo>
                    <a:pt x="105" y="452"/>
                  </a:lnTo>
                  <a:lnTo>
                    <a:pt x="85" y="489"/>
                  </a:lnTo>
                  <a:lnTo>
                    <a:pt x="68" y="528"/>
                  </a:lnTo>
                  <a:lnTo>
                    <a:pt x="52" y="567"/>
                  </a:lnTo>
                  <a:lnTo>
                    <a:pt x="39" y="607"/>
                  </a:lnTo>
                  <a:lnTo>
                    <a:pt x="27" y="647"/>
                  </a:lnTo>
                  <a:lnTo>
                    <a:pt x="17" y="690"/>
                  </a:lnTo>
                  <a:lnTo>
                    <a:pt x="10" y="732"/>
                  </a:lnTo>
                  <a:lnTo>
                    <a:pt x="4" y="775"/>
                  </a:lnTo>
                  <a:lnTo>
                    <a:pt x="2" y="819"/>
                  </a:lnTo>
                  <a:lnTo>
                    <a:pt x="0" y="864"/>
                  </a:lnTo>
                  <a:lnTo>
                    <a:pt x="2" y="909"/>
                  </a:lnTo>
                  <a:lnTo>
                    <a:pt x="4" y="953"/>
                  </a:lnTo>
                  <a:lnTo>
                    <a:pt x="10" y="996"/>
                  </a:lnTo>
                  <a:lnTo>
                    <a:pt x="17" y="1038"/>
                  </a:lnTo>
                  <a:lnTo>
                    <a:pt x="27" y="1079"/>
                  </a:lnTo>
                  <a:lnTo>
                    <a:pt x="39" y="1121"/>
                  </a:lnTo>
                  <a:lnTo>
                    <a:pt x="52" y="1161"/>
                  </a:lnTo>
                  <a:lnTo>
                    <a:pt x="68" y="1200"/>
                  </a:lnTo>
                  <a:lnTo>
                    <a:pt x="85" y="1239"/>
                  </a:lnTo>
                  <a:lnTo>
                    <a:pt x="105" y="1276"/>
                  </a:lnTo>
                  <a:lnTo>
                    <a:pt x="125" y="1312"/>
                  </a:lnTo>
                  <a:lnTo>
                    <a:pt x="148" y="1348"/>
                  </a:lnTo>
                  <a:lnTo>
                    <a:pt x="173" y="1381"/>
                  </a:lnTo>
                  <a:lnTo>
                    <a:pt x="197" y="1414"/>
                  </a:lnTo>
                  <a:lnTo>
                    <a:pt x="225" y="1446"/>
                  </a:lnTo>
                  <a:lnTo>
                    <a:pt x="254" y="1476"/>
                  </a:lnTo>
                  <a:lnTo>
                    <a:pt x="284" y="1504"/>
                  </a:lnTo>
                  <a:lnTo>
                    <a:pt x="315" y="1532"/>
                  </a:lnTo>
                  <a:lnTo>
                    <a:pt x="349" y="1556"/>
                  </a:lnTo>
                  <a:lnTo>
                    <a:pt x="382" y="1581"/>
                  </a:lnTo>
                  <a:lnTo>
                    <a:pt x="418" y="1604"/>
                  </a:lnTo>
                  <a:lnTo>
                    <a:pt x="454" y="1624"/>
                  </a:lnTo>
                  <a:lnTo>
                    <a:pt x="491" y="1644"/>
                  </a:lnTo>
                  <a:lnTo>
                    <a:pt x="530" y="1661"/>
                  </a:lnTo>
                  <a:lnTo>
                    <a:pt x="569" y="1675"/>
                  </a:lnTo>
                  <a:lnTo>
                    <a:pt x="609" y="1690"/>
                  </a:lnTo>
                  <a:lnTo>
                    <a:pt x="651" y="1701"/>
                  </a:lnTo>
                  <a:lnTo>
                    <a:pt x="693" y="1711"/>
                  </a:lnTo>
                  <a:lnTo>
                    <a:pt x="735" y="1718"/>
                  </a:lnTo>
                  <a:lnTo>
                    <a:pt x="778" y="1724"/>
                  </a:lnTo>
                  <a:lnTo>
                    <a:pt x="822" y="1727"/>
                  </a:lnTo>
                  <a:lnTo>
                    <a:pt x="867" y="1728"/>
                  </a:lnTo>
                  <a:lnTo>
                    <a:pt x="912" y="1727"/>
                  </a:lnTo>
                  <a:lnTo>
                    <a:pt x="956" y="1724"/>
                  </a:lnTo>
                  <a:lnTo>
                    <a:pt x="999" y="1718"/>
                  </a:lnTo>
                  <a:lnTo>
                    <a:pt x="1041" y="1711"/>
                  </a:lnTo>
                  <a:lnTo>
                    <a:pt x="1083" y="1701"/>
                  </a:lnTo>
                  <a:lnTo>
                    <a:pt x="1125" y="1690"/>
                  </a:lnTo>
                  <a:lnTo>
                    <a:pt x="1165" y="1675"/>
                  </a:lnTo>
                  <a:lnTo>
                    <a:pt x="1204" y="1661"/>
                  </a:lnTo>
                  <a:lnTo>
                    <a:pt x="1243" y="1644"/>
                  </a:lnTo>
                  <a:lnTo>
                    <a:pt x="1280" y="1624"/>
                  </a:lnTo>
                  <a:lnTo>
                    <a:pt x="1316" y="1604"/>
                  </a:lnTo>
                  <a:lnTo>
                    <a:pt x="1352" y="1581"/>
                  </a:lnTo>
                  <a:lnTo>
                    <a:pt x="1385" y="1556"/>
                  </a:lnTo>
                  <a:lnTo>
                    <a:pt x="1419" y="1532"/>
                  </a:lnTo>
                  <a:lnTo>
                    <a:pt x="1450" y="1504"/>
                  </a:lnTo>
                  <a:lnTo>
                    <a:pt x="1480" y="1476"/>
                  </a:lnTo>
                  <a:lnTo>
                    <a:pt x="1509" y="1446"/>
                  </a:lnTo>
                  <a:lnTo>
                    <a:pt x="1537" y="1414"/>
                  </a:lnTo>
                  <a:lnTo>
                    <a:pt x="1561" y="1381"/>
                  </a:lnTo>
                  <a:lnTo>
                    <a:pt x="1586" y="1348"/>
                  </a:lnTo>
                  <a:lnTo>
                    <a:pt x="1609" y="1312"/>
                  </a:lnTo>
                  <a:lnTo>
                    <a:pt x="1629" y="1276"/>
                  </a:lnTo>
                  <a:lnTo>
                    <a:pt x="1649" y="1239"/>
                  </a:lnTo>
                  <a:lnTo>
                    <a:pt x="1666" y="1200"/>
                  </a:lnTo>
                  <a:lnTo>
                    <a:pt x="1681" y="1161"/>
                  </a:lnTo>
                  <a:lnTo>
                    <a:pt x="1695" y="1121"/>
                  </a:lnTo>
                  <a:lnTo>
                    <a:pt x="1707" y="1079"/>
                  </a:lnTo>
                  <a:lnTo>
                    <a:pt x="1717" y="1038"/>
                  </a:lnTo>
                  <a:lnTo>
                    <a:pt x="1724" y="996"/>
                  </a:lnTo>
                  <a:lnTo>
                    <a:pt x="1730" y="953"/>
                  </a:lnTo>
                  <a:lnTo>
                    <a:pt x="1732" y="909"/>
                  </a:lnTo>
                  <a:lnTo>
                    <a:pt x="1734" y="864"/>
                  </a:lnTo>
                  <a:lnTo>
                    <a:pt x="1732" y="819"/>
                  </a:lnTo>
                  <a:lnTo>
                    <a:pt x="1730" y="775"/>
                  </a:lnTo>
                  <a:lnTo>
                    <a:pt x="1724" y="732"/>
                  </a:lnTo>
                  <a:lnTo>
                    <a:pt x="1717" y="690"/>
                  </a:lnTo>
                  <a:lnTo>
                    <a:pt x="1707" y="647"/>
                  </a:lnTo>
                  <a:lnTo>
                    <a:pt x="1695" y="607"/>
                  </a:lnTo>
                  <a:lnTo>
                    <a:pt x="1681" y="567"/>
                  </a:lnTo>
                  <a:lnTo>
                    <a:pt x="1666" y="528"/>
                  </a:lnTo>
                  <a:lnTo>
                    <a:pt x="1649" y="489"/>
                  </a:lnTo>
                  <a:lnTo>
                    <a:pt x="1629" y="452"/>
                  </a:lnTo>
                  <a:lnTo>
                    <a:pt x="1609" y="416"/>
                  </a:lnTo>
                  <a:lnTo>
                    <a:pt x="1586" y="380"/>
                  </a:lnTo>
                  <a:lnTo>
                    <a:pt x="1561" y="347"/>
                  </a:lnTo>
                  <a:lnTo>
                    <a:pt x="1537" y="314"/>
                  </a:lnTo>
                  <a:lnTo>
                    <a:pt x="1509" y="282"/>
                  </a:lnTo>
                  <a:lnTo>
                    <a:pt x="1480" y="252"/>
                  </a:lnTo>
                  <a:lnTo>
                    <a:pt x="1450" y="224"/>
                  </a:lnTo>
                  <a:lnTo>
                    <a:pt x="1419" y="196"/>
                  </a:lnTo>
                  <a:lnTo>
                    <a:pt x="1385" y="172"/>
                  </a:lnTo>
                  <a:lnTo>
                    <a:pt x="1352" y="147"/>
                  </a:lnTo>
                  <a:lnTo>
                    <a:pt x="1316" y="124"/>
                  </a:lnTo>
                  <a:lnTo>
                    <a:pt x="1280" y="104"/>
                  </a:lnTo>
                  <a:lnTo>
                    <a:pt x="1243" y="84"/>
                  </a:lnTo>
                  <a:lnTo>
                    <a:pt x="1204" y="67"/>
                  </a:lnTo>
                  <a:lnTo>
                    <a:pt x="1165" y="51"/>
                  </a:lnTo>
                  <a:lnTo>
                    <a:pt x="1125" y="38"/>
                  </a:lnTo>
                  <a:lnTo>
                    <a:pt x="1083" y="27"/>
                  </a:lnTo>
                  <a:lnTo>
                    <a:pt x="1041" y="17"/>
                  </a:lnTo>
                  <a:lnTo>
                    <a:pt x="999" y="10"/>
                  </a:lnTo>
                  <a:lnTo>
                    <a:pt x="956" y="4"/>
                  </a:lnTo>
                  <a:lnTo>
                    <a:pt x="912" y="1"/>
                  </a:lnTo>
                  <a:lnTo>
                    <a:pt x="867" y="0"/>
                  </a:lnTo>
                  <a:close/>
                  <a:moveTo>
                    <a:pt x="1594" y="1137"/>
                  </a:moveTo>
                  <a:lnTo>
                    <a:pt x="1594" y="1137"/>
                  </a:lnTo>
                  <a:lnTo>
                    <a:pt x="1488" y="1097"/>
                  </a:lnTo>
                  <a:lnTo>
                    <a:pt x="1473" y="1134"/>
                  </a:lnTo>
                  <a:lnTo>
                    <a:pt x="1604" y="1184"/>
                  </a:lnTo>
                  <a:lnTo>
                    <a:pt x="1640" y="1091"/>
                  </a:lnTo>
                  <a:lnTo>
                    <a:pt x="1614" y="1082"/>
                  </a:lnTo>
                  <a:lnTo>
                    <a:pt x="1594" y="1137"/>
                  </a:lnTo>
                  <a:close/>
                  <a:moveTo>
                    <a:pt x="1306" y="1364"/>
                  </a:moveTo>
                  <a:lnTo>
                    <a:pt x="1306" y="1364"/>
                  </a:lnTo>
                  <a:lnTo>
                    <a:pt x="1275" y="1387"/>
                  </a:lnTo>
                  <a:lnTo>
                    <a:pt x="1282" y="1398"/>
                  </a:lnTo>
                  <a:lnTo>
                    <a:pt x="1299" y="1423"/>
                  </a:lnTo>
                  <a:lnTo>
                    <a:pt x="1318" y="1448"/>
                  </a:lnTo>
                  <a:lnTo>
                    <a:pt x="1328" y="1461"/>
                  </a:lnTo>
                  <a:lnTo>
                    <a:pt x="1331" y="1466"/>
                  </a:lnTo>
                  <a:lnTo>
                    <a:pt x="1331" y="1470"/>
                  </a:lnTo>
                  <a:lnTo>
                    <a:pt x="1331" y="1474"/>
                  </a:lnTo>
                  <a:lnTo>
                    <a:pt x="1331" y="1480"/>
                  </a:lnTo>
                  <a:lnTo>
                    <a:pt x="1328" y="1484"/>
                  </a:lnTo>
                  <a:lnTo>
                    <a:pt x="1326" y="1487"/>
                  </a:lnTo>
                  <a:lnTo>
                    <a:pt x="1323" y="1492"/>
                  </a:lnTo>
                  <a:lnTo>
                    <a:pt x="1319" y="1494"/>
                  </a:lnTo>
                  <a:lnTo>
                    <a:pt x="1315" y="1497"/>
                  </a:lnTo>
                  <a:lnTo>
                    <a:pt x="1311" y="1499"/>
                  </a:lnTo>
                  <a:lnTo>
                    <a:pt x="1306" y="1500"/>
                  </a:lnTo>
                  <a:lnTo>
                    <a:pt x="1302" y="1500"/>
                  </a:lnTo>
                  <a:lnTo>
                    <a:pt x="1298" y="1499"/>
                  </a:lnTo>
                  <a:lnTo>
                    <a:pt x="1293" y="1497"/>
                  </a:lnTo>
                  <a:lnTo>
                    <a:pt x="1289" y="1496"/>
                  </a:lnTo>
                  <a:lnTo>
                    <a:pt x="1286" y="1492"/>
                  </a:lnTo>
                  <a:lnTo>
                    <a:pt x="1276" y="1479"/>
                  </a:lnTo>
                  <a:lnTo>
                    <a:pt x="1257" y="1453"/>
                  </a:lnTo>
                  <a:lnTo>
                    <a:pt x="1240" y="1428"/>
                  </a:lnTo>
                  <a:lnTo>
                    <a:pt x="1231" y="1417"/>
                  </a:lnTo>
                  <a:lnTo>
                    <a:pt x="1200" y="1440"/>
                  </a:lnTo>
                  <a:lnTo>
                    <a:pt x="1207" y="1451"/>
                  </a:lnTo>
                  <a:lnTo>
                    <a:pt x="1224" y="1476"/>
                  </a:lnTo>
                  <a:lnTo>
                    <a:pt x="1243" y="1502"/>
                  </a:lnTo>
                  <a:lnTo>
                    <a:pt x="1253" y="1516"/>
                  </a:lnTo>
                  <a:lnTo>
                    <a:pt x="1260" y="1523"/>
                  </a:lnTo>
                  <a:lnTo>
                    <a:pt x="1269" y="1530"/>
                  </a:lnTo>
                  <a:lnTo>
                    <a:pt x="1279" y="1533"/>
                  </a:lnTo>
                  <a:lnTo>
                    <a:pt x="1289" y="1535"/>
                  </a:lnTo>
                  <a:lnTo>
                    <a:pt x="1300" y="1533"/>
                  </a:lnTo>
                  <a:lnTo>
                    <a:pt x="1312" y="1530"/>
                  </a:lnTo>
                  <a:lnTo>
                    <a:pt x="1323" y="1525"/>
                  </a:lnTo>
                  <a:lnTo>
                    <a:pt x="1335" y="1517"/>
                  </a:lnTo>
                  <a:lnTo>
                    <a:pt x="1347" y="1509"/>
                  </a:lnTo>
                  <a:lnTo>
                    <a:pt x="1355" y="1499"/>
                  </a:lnTo>
                  <a:lnTo>
                    <a:pt x="1362" y="1489"/>
                  </a:lnTo>
                  <a:lnTo>
                    <a:pt x="1367" y="1479"/>
                  </a:lnTo>
                  <a:lnTo>
                    <a:pt x="1370" y="1469"/>
                  </a:lnTo>
                  <a:lnTo>
                    <a:pt x="1368" y="1459"/>
                  </a:lnTo>
                  <a:lnTo>
                    <a:pt x="1367" y="1448"/>
                  </a:lnTo>
                  <a:lnTo>
                    <a:pt x="1361" y="1438"/>
                  </a:lnTo>
                  <a:lnTo>
                    <a:pt x="1351" y="1424"/>
                  </a:lnTo>
                  <a:lnTo>
                    <a:pt x="1332" y="1398"/>
                  </a:lnTo>
                  <a:lnTo>
                    <a:pt x="1315" y="1374"/>
                  </a:lnTo>
                  <a:lnTo>
                    <a:pt x="1306" y="1364"/>
                  </a:lnTo>
                  <a:close/>
                  <a:moveTo>
                    <a:pt x="1488" y="1331"/>
                  </a:moveTo>
                  <a:lnTo>
                    <a:pt x="1488" y="1331"/>
                  </a:lnTo>
                  <a:lnTo>
                    <a:pt x="1480" y="1339"/>
                  </a:lnTo>
                  <a:lnTo>
                    <a:pt x="1479" y="1342"/>
                  </a:lnTo>
                  <a:lnTo>
                    <a:pt x="1456" y="1324"/>
                  </a:lnTo>
                  <a:lnTo>
                    <a:pt x="1457" y="1322"/>
                  </a:lnTo>
                  <a:lnTo>
                    <a:pt x="1465" y="1312"/>
                  </a:lnTo>
                  <a:lnTo>
                    <a:pt x="1472" y="1306"/>
                  </a:lnTo>
                  <a:lnTo>
                    <a:pt x="1478" y="1302"/>
                  </a:lnTo>
                  <a:lnTo>
                    <a:pt x="1480" y="1301"/>
                  </a:lnTo>
                  <a:lnTo>
                    <a:pt x="1485" y="1301"/>
                  </a:lnTo>
                  <a:lnTo>
                    <a:pt x="1488" y="1302"/>
                  </a:lnTo>
                  <a:lnTo>
                    <a:pt x="1491" y="1305"/>
                  </a:lnTo>
                  <a:lnTo>
                    <a:pt x="1493" y="1306"/>
                  </a:lnTo>
                  <a:lnTo>
                    <a:pt x="1495" y="1309"/>
                  </a:lnTo>
                  <a:lnTo>
                    <a:pt x="1495" y="1313"/>
                  </a:lnTo>
                  <a:lnTo>
                    <a:pt x="1495" y="1316"/>
                  </a:lnTo>
                  <a:lnTo>
                    <a:pt x="1492" y="1324"/>
                  </a:lnTo>
                  <a:lnTo>
                    <a:pt x="1488" y="1331"/>
                  </a:lnTo>
                  <a:close/>
                  <a:moveTo>
                    <a:pt x="1443" y="1295"/>
                  </a:moveTo>
                  <a:lnTo>
                    <a:pt x="1443" y="1295"/>
                  </a:lnTo>
                  <a:lnTo>
                    <a:pt x="1436" y="1303"/>
                  </a:lnTo>
                  <a:lnTo>
                    <a:pt x="1433" y="1305"/>
                  </a:lnTo>
                  <a:lnTo>
                    <a:pt x="1411" y="1286"/>
                  </a:lnTo>
                  <a:lnTo>
                    <a:pt x="1413" y="1285"/>
                  </a:lnTo>
                  <a:lnTo>
                    <a:pt x="1420" y="1276"/>
                  </a:lnTo>
                  <a:lnTo>
                    <a:pt x="1427" y="1269"/>
                  </a:lnTo>
                  <a:lnTo>
                    <a:pt x="1433" y="1265"/>
                  </a:lnTo>
                  <a:lnTo>
                    <a:pt x="1436" y="1265"/>
                  </a:lnTo>
                  <a:lnTo>
                    <a:pt x="1440" y="1265"/>
                  </a:lnTo>
                  <a:lnTo>
                    <a:pt x="1443" y="1265"/>
                  </a:lnTo>
                  <a:lnTo>
                    <a:pt x="1446" y="1268"/>
                  </a:lnTo>
                  <a:lnTo>
                    <a:pt x="1449" y="1270"/>
                  </a:lnTo>
                  <a:lnTo>
                    <a:pt x="1450" y="1273"/>
                  </a:lnTo>
                  <a:lnTo>
                    <a:pt x="1450" y="1276"/>
                  </a:lnTo>
                  <a:lnTo>
                    <a:pt x="1450" y="1279"/>
                  </a:lnTo>
                  <a:lnTo>
                    <a:pt x="1447" y="1286"/>
                  </a:lnTo>
                  <a:lnTo>
                    <a:pt x="1443" y="1295"/>
                  </a:lnTo>
                  <a:close/>
                  <a:moveTo>
                    <a:pt x="1522" y="1272"/>
                  </a:moveTo>
                  <a:lnTo>
                    <a:pt x="1522" y="1272"/>
                  </a:lnTo>
                  <a:lnTo>
                    <a:pt x="1515" y="1268"/>
                  </a:lnTo>
                  <a:lnTo>
                    <a:pt x="1509" y="1265"/>
                  </a:lnTo>
                  <a:lnTo>
                    <a:pt x="1503" y="1263"/>
                  </a:lnTo>
                  <a:lnTo>
                    <a:pt x="1498" y="1263"/>
                  </a:lnTo>
                  <a:lnTo>
                    <a:pt x="1486" y="1266"/>
                  </a:lnTo>
                  <a:lnTo>
                    <a:pt x="1475" y="1273"/>
                  </a:lnTo>
                  <a:lnTo>
                    <a:pt x="1478" y="1268"/>
                  </a:lnTo>
                  <a:lnTo>
                    <a:pt x="1479" y="1257"/>
                  </a:lnTo>
                  <a:lnTo>
                    <a:pt x="1479" y="1252"/>
                  </a:lnTo>
                  <a:lnTo>
                    <a:pt x="1478" y="1246"/>
                  </a:lnTo>
                  <a:lnTo>
                    <a:pt x="1473" y="1239"/>
                  </a:lnTo>
                  <a:lnTo>
                    <a:pt x="1467" y="1233"/>
                  </a:lnTo>
                  <a:lnTo>
                    <a:pt x="1462" y="1229"/>
                  </a:lnTo>
                  <a:lnTo>
                    <a:pt x="1457" y="1226"/>
                  </a:lnTo>
                  <a:lnTo>
                    <a:pt x="1452" y="1224"/>
                  </a:lnTo>
                  <a:lnTo>
                    <a:pt x="1447" y="1224"/>
                  </a:lnTo>
                  <a:lnTo>
                    <a:pt x="1437" y="1226"/>
                  </a:lnTo>
                  <a:lnTo>
                    <a:pt x="1429" y="1230"/>
                  </a:lnTo>
                  <a:lnTo>
                    <a:pt x="1420" y="1236"/>
                  </a:lnTo>
                  <a:lnTo>
                    <a:pt x="1413" y="1243"/>
                  </a:lnTo>
                  <a:lnTo>
                    <a:pt x="1406" y="1252"/>
                  </a:lnTo>
                  <a:lnTo>
                    <a:pt x="1400" y="1259"/>
                  </a:lnTo>
                  <a:lnTo>
                    <a:pt x="1380" y="1283"/>
                  </a:lnTo>
                  <a:lnTo>
                    <a:pt x="1365" y="1301"/>
                  </a:lnTo>
                  <a:lnTo>
                    <a:pt x="1473" y="1390"/>
                  </a:lnTo>
                  <a:lnTo>
                    <a:pt x="1488" y="1372"/>
                  </a:lnTo>
                  <a:lnTo>
                    <a:pt x="1508" y="1348"/>
                  </a:lnTo>
                  <a:lnTo>
                    <a:pt x="1521" y="1331"/>
                  </a:lnTo>
                  <a:lnTo>
                    <a:pt x="1528" y="1316"/>
                  </a:lnTo>
                  <a:lnTo>
                    <a:pt x="1532" y="1305"/>
                  </a:lnTo>
                  <a:lnTo>
                    <a:pt x="1534" y="1295"/>
                  </a:lnTo>
                  <a:lnTo>
                    <a:pt x="1532" y="1286"/>
                  </a:lnTo>
                  <a:lnTo>
                    <a:pt x="1529" y="1280"/>
                  </a:lnTo>
                  <a:lnTo>
                    <a:pt x="1527" y="1276"/>
                  </a:lnTo>
                  <a:lnTo>
                    <a:pt x="1522" y="1272"/>
                  </a:lnTo>
                  <a:close/>
                  <a:moveTo>
                    <a:pt x="1097" y="1549"/>
                  </a:moveTo>
                  <a:lnTo>
                    <a:pt x="1097" y="1549"/>
                  </a:lnTo>
                  <a:lnTo>
                    <a:pt x="1086" y="1552"/>
                  </a:lnTo>
                  <a:lnTo>
                    <a:pt x="1083" y="1553"/>
                  </a:lnTo>
                  <a:lnTo>
                    <a:pt x="1074" y="1519"/>
                  </a:lnTo>
                  <a:lnTo>
                    <a:pt x="1076" y="1519"/>
                  </a:lnTo>
                  <a:lnTo>
                    <a:pt x="1087" y="1516"/>
                  </a:lnTo>
                  <a:lnTo>
                    <a:pt x="1096" y="1515"/>
                  </a:lnTo>
                  <a:lnTo>
                    <a:pt x="1105" y="1515"/>
                  </a:lnTo>
                  <a:lnTo>
                    <a:pt x="1107" y="1516"/>
                  </a:lnTo>
                  <a:lnTo>
                    <a:pt x="1110" y="1519"/>
                  </a:lnTo>
                  <a:lnTo>
                    <a:pt x="1112" y="1522"/>
                  </a:lnTo>
                  <a:lnTo>
                    <a:pt x="1115" y="1526"/>
                  </a:lnTo>
                  <a:lnTo>
                    <a:pt x="1115" y="1530"/>
                  </a:lnTo>
                  <a:lnTo>
                    <a:pt x="1115" y="1535"/>
                  </a:lnTo>
                  <a:lnTo>
                    <a:pt x="1113" y="1537"/>
                  </a:lnTo>
                  <a:lnTo>
                    <a:pt x="1112" y="1540"/>
                  </a:lnTo>
                  <a:lnTo>
                    <a:pt x="1106" y="1546"/>
                  </a:lnTo>
                  <a:lnTo>
                    <a:pt x="1097" y="1549"/>
                  </a:lnTo>
                  <a:close/>
                  <a:moveTo>
                    <a:pt x="1080" y="1490"/>
                  </a:moveTo>
                  <a:lnTo>
                    <a:pt x="1080" y="1490"/>
                  </a:lnTo>
                  <a:lnTo>
                    <a:pt x="1066" y="1494"/>
                  </a:lnTo>
                  <a:lnTo>
                    <a:pt x="1048" y="1499"/>
                  </a:lnTo>
                  <a:lnTo>
                    <a:pt x="1034" y="1503"/>
                  </a:lnTo>
                  <a:lnTo>
                    <a:pt x="1028" y="1504"/>
                  </a:lnTo>
                  <a:lnTo>
                    <a:pt x="1067" y="1639"/>
                  </a:lnTo>
                  <a:lnTo>
                    <a:pt x="1106" y="1628"/>
                  </a:lnTo>
                  <a:lnTo>
                    <a:pt x="1092" y="1579"/>
                  </a:lnTo>
                  <a:lnTo>
                    <a:pt x="1093" y="1578"/>
                  </a:lnTo>
                  <a:lnTo>
                    <a:pt x="1105" y="1575"/>
                  </a:lnTo>
                  <a:lnTo>
                    <a:pt x="1113" y="1572"/>
                  </a:lnTo>
                  <a:lnTo>
                    <a:pt x="1123" y="1569"/>
                  </a:lnTo>
                  <a:lnTo>
                    <a:pt x="1133" y="1565"/>
                  </a:lnTo>
                  <a:lnTo>
                    <a:pt x="1141" y="1559"/>
                  </a:lnTo>
                  <a:lnTo>
                    <a:pt x="1145" y="1555"/>
                  </a:lnTo>
                  <a:lnTo>
                    <a:pt x="1148" y="1550"/>
                  </a:lnTo>
                  <a:lnTo>
                    <a:pt x="1151" y="1546"/>
                  </a:lnTo>
                  <a:lnTo>
                    <a:pt x="1152" y="1542"/>
                  </a:lnTo>
                  <a:lnTo>
                    <a:pt x="1154" y="1536"/>
                  </a:lnTo>
                  <a:lnTo>
                    <a:pt x="1154" y="1530"/>
                  </a:lnTo>
                  <a:lnTo>
                    <a:pt x="1152" y="1523"/>
                  </a:lnTo>
                  <a:lnTo>
                    <a:pt x="1151" y="1516"/>
                  </a:lnTo>
                  <a:lnTo>
                    <a:pt x="1148" y="1507"/>
                  </a:lnTo>
                  <a:lnTo>
                    <a:pt x="1145" y="1502"/>
                  </a:lnTo>
                  <a:lnTo>
                    <a:pt x="1142" y="1497"/>
                  </a:lnTo>
                  <a:lnTo>
                    <a:pt x="1138" y="1493"/>
                  </a:lnTo>
                  <a:lnTo>
                    <a:pt x="1133" y="1489"/>
                  </a:lnTo>
                  <a:lnTo>
                    <a:pt x="1129" y="1487"/>
                  </a:lnTo>
                  <a:lnTo>
                    <a:pt x="1125" y="1486"/>
                  </a:lnTo>
                  <a:lnTo>
                    <a:pt x="1119" y="1484"/>
                  </a:lnTo>
                  <a:lnTo>
                    <a:pt x="1109" y="1484"/>
                  </a:lnTo>
                  <a:lnTo>
                    <a:pt x="1099" y="1484"/>
                  </a:lnTo>
                  <a:lnTo>
                    <a:pt x="1089" y="1487"/>
                  </a:lnTo>
                  <a:lnTo>
                    <a:pt x="1080" y="1490"/>
                  </a:lnTo>
                  <a:close/>
                  <a:moveTo>
                    <a:pt x="873" y="1638"/>
                  </a:moveTo>
                  <a:lnTo>
                    <a:pt x="873" y="1638"/>
                  </a:lnTo>
                  <a:lnTo>
                    <a:pt x="873" y="1608"/>
                  </a:lnTo>
                  <a:lnTo>
                    <a:pt x="932" y="1608"/>
                  </a:lnTo>
                  <a:lnTo>
                    <a:pt x="932" y="1581"/>
                  </a:lnTo>
                  <a:lnTo>
                    <a:pt x="873" y="1581"/>
                  </a:lnTo>
                  <a:lnTo>
                    <a:pt x="873" y="1552"/>
                  </a:lnTo>
                  <a:lnTo>
                    <a:pt x="930" y="1550"/>
                  </a:lnTo>
                  <a:lnTo>
                    <a:pt x="930" y="1525"/>
                  </a:lnTo>
                  <a:lnTo>
                    <a:pt x="832" y="1525"/>
                  </a:lnTo>
                  <a:lnTo>
                    <a:pt x="832" y="1664"/>
                  </a:lnTo>
                  <a:lnTo>
                    <a:pt x="932" y="1664"/>
                  </a:lnTo>
                  <a:lnTo>
                    <a:pt x="932" y="1637"/>
                  </a:lnTo>
                  <a:lnTo>
                    <a:pt x="873" y="1638"/>
                  </a:lnTo>
                  <a:close/>
                  <a:moveTo>
                    <a:pt x="1531" y="595"/>
                  </a:moveTo>
                  <a:lnTo>
                    <a:pt x="1531" y="595"/>
                  </a:lnTo>
                  <a:lnTo>
                    <a:pt x="1492" y="644"/>
                  </a:lnTo>
                  <a:lnTo>
                    <a:pt x="1508" y="682"/>
                  </a:lnTo>
                  <a:lnTo>
                    <a:pt x="1573" y="601"/>
                  </a:lnTo>
                  <a:lnTo>
                    <a:pt x="1617" y="581"/>
                  </a:lnTo>
                  <a:lnTo>
                    <a:pt x="1601" y="545"/>
                  </a:lnTo>
                  <a:lnTo>
                    <a:pt x="1557" y="564"/>
                  </a:lnTo>
                  <a:lnTo>
                    <a:pt x="1452" y="551"/>
                  </a:lnTo>
                  <a:lnTo>
                    <a:pt x="1467" y="587"/>
                  </a:lnTo>
                  <a:lnTo>
                    <a:pt x="1531" y="595"/>
                  </a:lnTo>
                  <a:close/>
                  <a:moveTo>
                    <a:pt x="1270" y="170"/>
                  </a:moveTo>
                  <a:lnTo>
                    <a:pt x="1270" y="170"/>
                  </a:lnTo>
                  <a:lnTo>
                    <a:pt x="1233" y="152"/>
                  </a:lnTo>
                  <a:lnTo>
                    <a:pt x="1171" y="278"/>
                  </a:lnTo>
                  <a:lnTo>
                    <a:pt x="1207" y="295"/>
                  </a:lnTo>
                  <a:lnTo>
                    <a:pt x="1270" y="170"/>
                  </a:lnTo>
                  <a:close/>
                  <a:moveTo>
                    <a:pt x="1041" y="231"/>
                  </a:moveTo>
                  <a:lnTo>
                    <a:pt x="1041" y="231"/>
                  </a:lnTo>
                  <a:lnTo>
                    <a:pt x="1053" y="232"/>
                  </a:lnTo>
                  <a:lnTo>
                    <a:pt x="1063" y="232"/>
                  </a:lnTo>
                  <a:lnTo>
                    <a:pt x="1073" y="231"/>
                  </a:lnTo>
                  <a:lnTo>
                    <a:pt x="1083" y="228"/>
                  </a:lnTo>
                  <a:lnTo>
                    <a:pt x="1092" y="222"/>
                  </a:lnTo>
                  <a:lnTo>
                    <a:pt x="1099" y="216"/>
                  </a:lnTo>
                  <a:lnTo>
                    <a:pt x="1106" y="208"/>
                  </a:lnTo>
                  <a:lnTo>
                    <a:pt x="1110" y="198"/>
                  </a:lnTo>
                  <a:lnTo>
                    <a:pt x="1077" y="191"/>
                  </a:lnTo>
                  <a:lnTo>
                    <a:pt x="1070" y="198"/>
                  </a:lnTo>
                  <a:lnTo>
                    <a:pt x="1063" y="202"/>
                  </a:lnTo>
                  <a:lnTo>
                    <a:pt x="1056" y="205"/>
                  </a:lnTo>
                  <a:lnTo>
                    <a:pt x="1047" y="203"/>
                  </a:lnTo>
                  <a:lnTo>
                    <a:pt x="1041" y="202"/>
                  </a:lnTo>
                  <a:lnTo>
                    <a:pt x="1037" y="199"/>
                  </a:lnTo>
                  <a:lnTo>
                    <a:pt x="1033" y="195"/>
                  </a:lnTo>
                  <a:lnTo>
                    <a:pt x="1030" y="189"/>
                  </a:lnTo>
                  <a:lnTo>
                    <a:pt x="1027" y="182"/>
                  </a:lnTo>
                  <a:lnTo>
                    <a:pt x="1025" y="173"/>
                  </a:lnTo>
                  <a:lnTo>
                    <a:pt x="1027" y="163"/>
                  </a:lnTo>
                  <a:lnTo>
                    <a:pt x="1028" y="153"/>
                  </a:lnTo>
                  <a:lnTo>
                    <a:pt x="1031" y="142"/>
                  </a:lnTo>
                  <a:lnTo>
                    <a:pt x="1035" y="133"/>
                  </a:lnTo>
                  <a:lnTo>
                    <a:pt x="1040" y="126"/>
                  </a:lnTo>
                  <a:lnTo>
                    <a:pt x="1044" y="122"/>
                  </a:lnTo>
                  <a:lnTo>
                    <a:pt x="1050" y="117"/>
                  </a:lnTo>
                  <a:lnTo>
                    <a:pt x="1056" y="116"/>
                  </a:lnTo>
                  <a:lnTo>
                    <a:pt x="1061" y="114"/>
                  </a:lnTo>
                  <a:lnTo>
                    <a:pt x="1067" y="116"/>
                  </a:lnTo>
                  <a:lnTo>
                    <a:pt x="1074" y="119"/>
                  </a:lnTo>
                  <a:lnTo>
                    <a:pt x="1080" y="123"/>
                  </a:lnTo>
                  <a:lnTo>
                    <a:pt x="1086" y="130"/>
                  </a:lnTo>
                  <a:lnTo>
                    <a:pt x="1087" y="139"/>
                  </a:lnTo>
                  <a:lnTo>
                    <a:pt x="1122" y="147"/>
                  </a:lnTo>
                  <a:lnTo>
                    <a:pt x="1122" y="136"/>
                  </a:lnTo>
                  <a:lnTo>
                    <a:pt x="1119" y="124"/>
                  </a:lnTo>
                  <a:lnTo>
                    <a:pt x="1115" y="116"/>
                  </a:lnTo>
                  <a:lnTo>
                    <a:pt x="1109" y="107"/>
                  </a:lnTo>
                  <a:lnTo>
                    <a:pt x="1102" y="101"/>
                  </a:lnTo>
                  <a:lnTo>
                    <a:pt x="1095" y="96"/>
                  </a:lnTo>
                  <a:lnTo>
                    <a:pt x="1084" y="91"/>
                  </a:lnTo>
                  <a:lnTo>
                    <a:pt x="1073" y="89"/>
                  </a:lnTo>
                  <a:lnTo>
                    <a:pt x="1060" y="86"/>
                  </a:lnTo>
                  <a:lnTo>
                    <a:pt x="1046" y="86"/>
                  </a:lnTo>
                  <a:lnTo>
                    <a:pt x="1034" y="89"/>
                  </a:lnTo>
                  <a:lnTo>
                    <a:pt x="1021" y="94"/>
                  </a:lnTo>
                  <a:lnTo>
                    <a:pt x="1017" y="99"/>
                  </a:lnTo>
                  <a:lnTo>
                    <a:pt x="1011" y="103"/>
                  </a:lnTo>
                  <a:lnTo>
                    <a:pt x="1007" y="107"/>
                  </a:lnTo>
                  <a:lnTo>
                    <a:pt x="1002" y="113"/>
                  </a:lnTo>
                  <a:lnTo>
                    <a:pt x="998" y="120"/>
                  </a:lnTo>
                  <a:lnTo>
                    <a:pt x="995" y="127"/>
                  </a:lnTo>
                  <a:lnTo>
                    <a:pt x="992" y="135"/>
                  </a:lnTo>
                  <a:lnTo>
                    <a:pt x="989" y="145"/>
                  </a:lnTo>
                  <a:lnTo>
                    <a:pt x="988" y="153"/>
                  </a:lnTo>
                  <a:lnTo>
                    <a:pt x="987" y="162"/>
                  </a:lnTo>
                  <a:lnTo>
                    <a:pt x="987" y="170"/>
                  </a:lnTo>
                  <a:lnTo>
                    <a:pt x="988" y="178"/>
                  </a:lnTo>
                  <a:lnTo>
                    <a:pt x="989" y="185"/>
                  </a:lnTo>
                  <a:lnTo>
                    <a:pt x="991" y="191"/>
                  </a:lnTo>
                  <a:lnTo>
                    <a:pt x="994" y="198"/>
                  </a:lnTo>
                  <a:lnTo>
                    <a:pt x="997" y="203"/>
                  </a:lnTo>
                  <a:lnTo>
                    <a:pt x="1005" y="213"/>
                  </a:lnTo>
                  <a:lnTo>
                    <a:pt x="1015" y="221"/>
                  </a:lnTo>
                  <a:lnTo>
                    <a:pt x="1027" y="226"/>
                  </a:lnTo>
                  <a:lnTo>
                    <a:pt x="1041" y="231"/>
                  </a:lnTo>
                  <a:close/>
                  <a:moveTo>
                    <a:pt x="1532" y="858"/>
                  </a:moveTo>
                  <a:lnTo>
                    <a:pt x="1532" y="858"/>
                  </a:lnTo>
                  <a:lnTo>
                    <a:pt x="1672" y="842"/>
                  </a:lnTo>
                  <a:lnTo>
                    <a:pt x="1668" y="802"/>
                  </a:lnTo>
                  <a:lnTo>
                    <a:pt x="1528" y="818"/>
                  </a:lnTo>
                  <a:lnTo>
                    <a:pt x="1532" y="858"/>
                  </a:lnTo>
                  <a:close/>
                  <a:moveTo>
                    <a:pt x="893" y="64"/>
                  </a:moveTo>
                  <a:lnTo>
                    <a:pt x="893" y="64"/>
                  </a:lnTo>
                  <a:lnTo>
                    <a:pt x="853" y="64"/>
                  </a:lnTo>
                  <a:lnTo>
                    <a:pt x="853" y="205"/>
                  </a:lnTo>
                  <a:lnTo>
                    <a:pt x="893" y="205"/>
                  </a:lnTo>
                  <a:lnTo>
                    <a:pt x="893" y="64"/>
                  </a:lnTo>
                  <a:close/>
                  <a:moveTo>
                    <a:pt x="1371" y="392"/>
                  </a:moveTo>
                  <a:lnTo>
                    <a:pt x="1371" y="392"/>
                  </a:lnTo>
                  <a:lnTo>
                    <a:pt x="1328" y="353"/>
                  </a:lnTo>
                  <a:lnTo>
                    <a:pt x="1347" y="330"/>
                  </a:lnTo>
                  <a:lnTo>
                    <a:pt x="1391" y="369"/>
                  </a:lnTo>
                  <a:lnTo>
                    <a:pt x="1408" y="348"/>
                  </a:lnTo>
                  <a:lnTo>
                    <a:pt x="1365" y="310"/>
                  </a:lnTo>
                  <a:lnTo>
                    <a:pt x="1385" y="288"/>
                  </a:lnTo>
                  <a:lnTo>
                    <a:pt x="1429" y="327"/>
                  </a:lnTo>
                  <a:lnTo>
                    <a:pt x="1447" y="307"/>
                  </a:lnTo>
                  <a:lnTo>
                    <a:pt x="1372" y="241"/>
                  </a:lnTo>
                  <a:lnTo>
                    <a:pt x="1279" y="346"/>
                  </a:lnTo>
                  <a:lnTo>
                    <a:pt x="1352" y="412"/>
                  </a:lnTo>
                  <a:lnTo>
                    <a:pt x="1371" y="392"/>
                  </a:lnTo>
                  <a:close/>
                  <a:moveTo>
                    <a:pt x="1519" y="728"/>
                  </a:moveTo>
                  <a:lnTo>
                    <a:pt x="1519" y="728"/>
                  </a:lnTo>
                  <a:lnTo>
                    <a:pt x="1524" y="772"/>
                  </a:lnTo>
                  <a:lnTo>
                    <a:pt x="1590" y="811"/>
                  </a:lnTo>
                  <a:lnTo>
                    <a:pt x="1663" y="751"/>
                  </a:lnTo>
                  <a:lnTo>
                    <a:pt x="1658" y="706"/>
                  </a:lnTo>
                  <a:lnTo>
                    <a:pt x="1584" y="766"/>
                  </a:lnTo>
                  <a:lnTo>
                    <a:pt x="1519" y="728"/>
                  </a:lnTo>
                  <a:close/>
                  <a:moveTo>
                    <a:pt x="133" y="677"/>
                  </a:moveTo>
                  <a:lnTo>
                    <a:pt x="133" y="677"/>
                  </a:lnTo>
                  <a:lnTo>
                    <a:pt x="144" y="644"/>
                  </a:lnTo>
                  <a:lnTo>
                    <a:pt x="138" y="637"/>
                  </a:lnTo>
                  <a:lnTo>
                    <a:pt x="134" y="630"/>
                  </a:lnTo>
                  <a:lnTo>
                    <a:pt x="133" y="621"/>
                  </a:lnTo>
                  <a:lnTo>
                    <a:pt x="134" y="614"/>
                  </a:lnTo>
                  <a:lnTo>
                    <a:pt x="137" y="608"/>
                  </a:lnTo>
                  <a:lnTo>
                    <a:pt x="141" y="604"/>
                  </a:lnTo>
                  <a:lnTo>
                    <a:pt x="146" y="600"/>
                  </a:lnTo>
                  <a:lnTo>
                    <a:pt x="151" y="597"/>
                  </a:lnTo>
                  <a:lnTo>
                    <a:pt x="159" y="595"/>
                  </a:lnTo>
                  <a:lnTo>
                    <a:pt x="167" y="595"/>
                  </a:lnTo>
                  <a:lnTo>
                    <a:pt x="176" y="598"/>
                  </a:lnTo>
                  <a:lnTo>
                    <a:pt x="187" y="601"/>
                  </a:lnTo>
                  <a:lnTo>
                    <a:pt x="197" y="606"/>
                  </a:lnTo>
                  <a:lnTo>
                    <a:pt x="206" y="610"/>
                  </a:lnTo>
                  <a:lnTo>
                    <a:pt x="212" y="616"/>
                  </a:lnTo>
                  <a:lnTo>
                    <a:pt x="218" y="620"/>
                  </a:lnTo>
                  <a:lnTo>
                    <a:pt x="220" y="626"/>
                  </a:lnTo>
                  <a:lnTo>
                    <a:pt x="222" y="631"/>
                  </a:lnTo>
                  <a:lnTo>
                    <a:pt x="222" y="637"/>
                  </a:lnTo>
                  <a:lnTo>
                    <a:pt x="220" y="643"/>
                  </a:lnTo>
                  <a:lnTo>
                    <a:pt x="216" y="650"/>
                  </a:lnTo>
                  <a:lnTo>
                    <a:pt x="210" y="656"/>
                  </a:lnTo>
                  <a:lnTo>
                    <a:pt x="203" y="660"/>
                  </a:lnTo>
                  <a:lnTo>
                    <a:pt x="193" y="662"/>
                  </a:lnTo>
                  <a:lnTo>
                    <a:pt x="182" y="695"/>
                  </a:lnTo>
                  <a:lnTo>
                    <a:pt x="195" y="695"/>
                  </a:lnTo>
                  <a:lnTo>
                    <a:pt x="205" y="693"/>
                  </a:lnTo>
                  <a:lnTo>
                    <a:pt x="215" y="690"/>
                  </a:lnTo>
                  <a:lnTo>
                    <a:pt x="223" y="686"/>
                  </a:lnTo>
                  <a:lnTo>
                    <a:pt x="231" y="680"/>
                  </a:lnTo>
                  <a:lnTo>
                    <a:pt x="236" y="672"/>
                  </a:lnTo>
                  <a:lnTo>
                    <a:pt x="242" y="663"/>
                  </a:lnTo>
                  <a:lnTo>
                    <a:pt x="246" y="653"/>
                  </a:lnTo>
                  <a:lnTo>
                    <a:pt x="251" y="640"/>
                  </a:lnTo>
                  <a:lnTo>
                    <a:pt x="252" y="626"/>
                  </a:lnTo>
                  <a:lnTo>
                    <a:pt x="251" y="613"/>
                  </a:lnTo>
                  <a:lnTo>
                    <a:pt x="246" y="601"/>
                  </a:lnTo>
                  <a:lnTo>
                    <a:pt x="243" y="595"/>
                  </a:lnTo>
                  <a:lnTo>
                    <a:pt x="239" y="590"/>
                  </a:lnTo>
                  <a:lnTo>
                    <a:pt x="235" y="584"/>
                  </a:lnTo>
                  <a:lnTo>
                    <a:pt x="229" y="580"/>
                  </a:lnTo>
                  <a:lnTo>
                    <a:pt x="223" y="574"/>
                  </a:lnTo>
                  <a:lnTo>
                    <a:pt x="216" y="570"/>
                  </a:lnTo>
                  <a:lnTo>
                    <a:pt x="209" y="567"/>
                  </a:lnTo>
                  <a:lnTo>
                    <a:pt x="200" y="562"/>
                  </a:lnTo>
                  <a:lnTo>
                    <a:pt x="192" y="560"/>
                  </a:lnTo>
                  <a:lnTo>
                    <a:pt x="183" y="558"/>
                  </a:lnTo>
                  <a:lnTo>
                    <a:pt x="176" y="558"/>
                  </a:lnTo>
                  <a:lnTo>
                    <a:pt x="167" y="557"/>
                  </a:lnTo>
                  <a:lnTo>
                    <a:pt x="160" y="558"/>
                  </a:lnTo>
                  <a:lnTo>
                    <a:pt x="153" y="560"/>
                  </a:lnTo>
                  <a:lnTo>
                    <a:pt x="147" y="561"/>
                  </a:lnTo>
                  <a:lnTo>
                    <a:pt x="141" y="564"/>
                  </a:lnTo>
                  <a:lnTo>
                    <a:pt x="130" y="571"/>
                  </a:lnTo>
                  <a:lnTo>
                    <a:pt x="121" y="580"/>
                  </a:lnTo>
                  <a:lnTo>
                    <a:pt x="114" y="591"/>
                  </a:lnTo>
                  <a:lnTo>
                    <a:pt x="108" y="604"/>
                  </a:lnTo>
                  <a:lnTo>
                    <a:pt x="105" y="616"/>
                  </a:lnTo>
                  <a:lnTo>
                    <a:pt x="104" y="626"/>
                  </a:lnTo>
                  <a:lnTo>
                    <a:pt x="104" y="636"/>
                  </a:lnTo>
                  <a:lnTo>
                    <a:pt x="107" y="646"/>
                  </a:lnTo>
                  <a:lnTo>
                    <a:pt x="111" y="656"/>
                  </a:lnTo>
                  <a:lnTo>
                    <a:pt x="117" y="663"/>
                  </a:lnTo>
                  <a:lnTo>
                    <a:pt x="124" y="672"/>
                  </a:lnTo>
                  <a:lnTo>
                    <a:pt x="133" y="677"/>
                  </a:lnTo>
                  <a:close/>
                  <a:moveTo>
                    <a:pt x="501" y="182"/>
                  </a:moveTo>
                  <a:lnTo>
                    <a:pt x="501" y="182"/>
                  </a:lnTo>
                  <a:lnTo>
                    <a:pt x="507" y="179"/>
                  </a:lnTo>
                  <a:lnTo>
                    <a:pt x="513" y="179"/>
                  </a:lnTo>
                  <a:lnTo>
                    <a:pt x="519" y="179"/>
                  </a:lnTo>
                  <a:lnTo>
                    <a:pt x="524" y="182"/>
                  </a:lnTo>
                  <a:lnTo>
                    <a:pt x="530" y="186"/>
                  </a:lnTo>
                  <a:lnTo>
                    <a:pt x="536" y="192"/>
                  </a:lnTo>
                  <a:lnTo>
                    <a:pt x="542" y="201"/>
                  </a:lnTo>
                  <a:lnTo>
                    <a:pt x="547" y="209"/>
                  </a:lnTo>
                  <a:lnTo>
                    <a:pt x="552" y="221"/>
                  </a:lnTo>
                  <a:lnTo>
                    <a:pt x="555" y="229"/>
                  </a:lnTo>
                  <a:lnTo>
                    <a:pt x="555" y="238"/>
                  </a:lnTo>
                  <a:lnTo>
                    <a:pt x="555" y="245"/>
                  </a:lnTo>
                  <a:lnTo>
                    <a:pt x="553" y="251"/>
                  </a:lnTo>
                  <a:lnTo>
                    <a:pt x="549" y="257"/>
                  </a:lnTo>
                  <a:lnTo>
                    <a:pt x="546" y="259"/>
                  </a:lnTo>
                  <a:lnTo>
                    <a:pt x="540" y="264"/>
                  </a:lnTo>
                  <a:lnTo>
                    <a:pt x="534" y="265"/>
                  </a:lnTo>
                  <a:lnTo>
                    <a:pt x="529" y="265"/>
                  </a:lnTo>
                  <a:lnTo>
                    <a:pt x="523" y="265"/>
                  </a:lnTo>
                  <a:lnTo>
                    <a:pt x="517" y="262"/>
                  </a:lnTo>
                  <a:lnTo>
                    <a:pt x="510" y="258"/>
                  </a:lnTo>
                  <a:lnTo>
                    <a:pt x="504" y="252"/>
                  </a:lnTo>
                  <a:lnTo>
                    <a:pt x="500" y="245"/>
                  </a:lnTo>
                  <a:lnTo>
                    <a:pt x="494" y="235"/>
                  </a:lnTo>
                  <a:lnTo>
                    <a:pt x="490" y="225"/>
                  </a:lnTo>
                  <a:lnTo>
                    <a:pt x="487" y="215"/>
                  </a:lnTo>
                  <a:lnTo>
                    <a:pt x="487" y="208"/>
                  </a:lnTo>
                  <a:lnTo>
                    <a:pt x="487" y="201"/>
                  </a:lnTo>
                  <a:lnTo>
                    <a:pt x="488" y="193"/>
                  </a:lnTo>
                  <a:lnTo>
                    <a:pt x="491" y="189"/>
                  </a:lnTo>
                  <a:lnTo>
                    <a:pt x="495" y="185"/>
                  </a:lnTo>
                  <a:lnTo>
                    <a:pt x="501" y="182"/>
                  </a:lnTo>
                  <a:close/>
                  <a:moveTo>
                    <a:pt x="552" y="288"/>
                  </a:moveTo>
                  <a:lnTo>
                    <a:pt x="552" y="288"/>
                  </a:lnTo>
                  <a:lnTo>
                    <a:pt x="565" y="281"/>
                  </a:lnTo>
                  <a:lnTo>
                    <a:pt x="575" y="274"/>
                  </a:lnTo>
                  <a:lnTo>
                    <a:pt x="583" y="264"/>
                  </a:lnTo>
                  <a:lnTo>
                    <a:pt x="589" y="252"/>
                  </a:lnTo>
                  <a:lnTo>
                    <a:pt x="591" y="245"/>
                  </a:lnTo>
                  <a:lnTo>
                    <a:pt x="592" y="239"/>
                  </a:lnTo>
                  <a:lnTo>
                    <a:pt x="593" y="232"/>
                  </a:lnTo>
                  <a:lnTo>
                    <a:pt x="592" y="225"/>
                  </a:lnTo>
                  <a:lnTo>
                    <a:pt x="592" y="216"/>
                  </a:lnTo>
                  <a:lnTo>
                    <a:pt x="591" y="209"/>
                  </a:lnTo>
                  <a:lnTo>
                    <a:pt x="588" y="201"/>
                  </a:lnTo>
                  <a:lnTo>
                    <a:pt x="583" y="192"/>
                  </a:lnTo>
                  <a:lnTo>
                    <a:pt x="579" y="185"/>
                  </a:lnTo>
                  <a:lnTo>
                    <a:pt x="575" y="178"/>
                  </a:lnTo>
                  <a:lnTo>
                    <a:pt x="570" y="170"/>
                  </a:lnTo>
                  <a:lnTo>
                    <a:pt x="565" y="165"/>
                  </a:lnTo>
                  <a:lnTo>
                    <a:pt x="559" y="160"/>
                  </a:lnTo>
                  <a:lnTo>
                    <a:pt x="553" y="156"/>
                  </a:lnTo>
                  <a:lnTo>
                    <a:pt x="547" y="153"/>
                  </a:lnTo>
                  <a:lnTo>
                    <a:pt x="542" y="150"/>
                  </a:lnTo>
                  <a:lnTo>
                    <a:pt x="529" y="149"/>
                  </a:lnTo>
                  <a:lnTo>
                    <a:pt x="516" y="149"/>
                  </a:lnTo>
                  <a:lnTo>
                    <a:pt x="503" y="150"/>
                  </a:lnTo>
                  <a:lnTo>
                    <a:pt x="490" y="156"/>
                  </a:lnTo>
                  <a:lnTo>
                    <a:pt x="477" y="163"/>
                  </a:lnTo>
                  <a:lnTo>
                    <a:pt x="467" y="172"/>
                  </a:lnTo>
                  <a:lnTo>
                    <a:pt x="458" y="182"/>
                  </a:lnTo>
                  <a:lnTo>
                    <a:pt x="452" y="193"/>
                  </a:lnTo>
                  <a:lnTo>
                    <a:pt x="451" y="199"/>
                  </a:lnTo>
                  <a:lnTo>
                    <a:pt x="449" y="206"/>
                  </a:lnTo>
                  <a:lnTo>
                    <a:pt x="448" y="212"/>
                  </a:lnTo>
                  <a:lnTo>
                    <a:pt x="448" y="221"/>
                  </a:lnTo>
                  <a:lnTo>
                    <a:pt x="449" y="228"/>
                  </a:lnTo>
                  <a:lnTo>
                    <a:pt x="451" y="235"/>
                  </a:lnTo>
                  <a:lnTo>
                    <a:pt x="454" y="244"/>
                  </a:lnTo>
                  <a:lnTo>
                    <a:pt x="458" y="252"/>
                  </a:lnTo>
                  <a:lnTo>
                    <a:pt x="462" y="259"/>
                  </a:lnTo>
                  <a:lnTo>
                    <a:pt x="467" y="268"/>
                  </a:lnTo>
                  <a:lnTo>
                    <a:pt x="471" y="274"/>
                  </a:lnTo>
                  <a:lnTo>
                    <a:pt x="477" y="280"/>
                  </a:lnTo>
                  <a:lnTo>
                    <a:pt x="483" y="284"/>
                  </a:lnTo>
                  <a:lnTo>
                    <a:pt x="488" y="288"/>
                  </a:lnTo>
                  <a:lnTo>
                    <a:pt x="494" y="291"/>
                  </a:lnTo>
                  <a:lnTo>
                    <a:pt x="500" y="294"/>
                  </a:lnTo>
                  <a:lnTo>
                    <a:pt x="513" y="297"/>
                  </a:lnTo>
                  <a:lnTo>
                    <a:pt x="526" y="297"/>
                  </a:lnTo>
                  <a:lnTo>
                    <a:pt x="539" y="294"/>
                  </a:lnTo>
                  <a:lnTo>
                    <a:pt x="552" y="288"/>
                  </a:lnTo>
                  <a:close/>
                  <a:moveTo>
                    <a:pt x="356" y="331"/>
                  </a:moveTo>
                  <a:lnTo>
                    <a:pt x="356" y="331"/>
                  </a:lnTo>
                  <a:lnTo>
                    <a:pt x="349" y="340"/>
                  </a:lnTo>
                  <a:lnTo>
                    <a:pt x="347" y="341"/>
                  </a:lnTo>
                  <a:lnTo>
                    <a:pt x="321" y="317"/>
                  </a:lnTo>
                  <a:lnTo>
                    <a:pt x="323" y="315"/>
                  </a:lnTo>
                  <a:lnTo>
                    <a:pt x="331" y="307"/>
                  </a:lnTo>
                  <a:lnTo>
                    <a:pt x="339" y="301"/>
                  </a:lnTo>
                  <a:lnTo>
                    <a:pt x="346" y="298"/>
                  </a:lnTo>
                  <a:lnTo>
                    <a:pt x="350" y="298"/>
                  </a:lnTo>
                  <a:lnTo>
                    <a:pt x="353" y="298"/>
                  </a:lnTo>
                  <a:lnTo>
                    <a:pt x="357" y="300"/>
                  </a:lnTo>
                  <a:lnTo>
                    <a:pt x="360" y="303"/>
                  </a:lnTo>
                  <a:lnTo>
                    <a:pt x="363" y="307"/>
                  </a:lnTo>
                  <a:lnTo>
                    <a:pt x="364" y="310"/>
                  </a:lnTo>
                  <a:lnTo>
                    <a:pt x="366" y="314"/>
                  </a:lnTo>
                  <a:lnTo>
                    <a:pt x="364" y="317"/>
                  </a:lnTo>
                  <a:lnTo>
                    <a:pt x="362" y="324"/>
                  </a:lnTo>
                  <a:lnTo>
                    <a:pt x="356" y="331"/>
                  </a:lnTo>
                  <a:close/>
                  <a:moveTo>
                    <a:pt x="403" y="396"/>
                  </a:moveTo>
                  <a:lnTo>
                    <a:pt x="403" y="396"/>
                  </a:lnTo>
                  <a:lnTo>
                    <a:pt x="366" y="360"/>
                  </a:lnTo>
                  <a:lnTo>
                    <a:pt x="367" y="359"/>
                  </a:lnTo>
                  <a:lnTo>
                    <a:pt x="376" y="350"/>
                  </a:lnTo>
                  <a:lnTo>
                    <a:pt x="383" y="343"/>
                  </a:lnTo>
                  <a:lnTo>
                    <a:pt x="389" y="336"/>
                  </a:lnTo>
                  <a:lnTo>
                    <a:pt x="395" y="327"/>
                  </a:lnTo>
                  <a:lnTo>
                    <a:pt x="399" y="318"/>
                  </a:lnTo>
                  <a:lnTo>
                    <a:pt x="400" y="313"/>
                  </a:lnTo>
                  <a:lnTo>
                    <a:pt x="402" y="308"/>
                  </a:lnTo>
                  <a:lnTo>
                    <a:pt x="402" y="303"/>
                  </a:lnTo>
                  <a:lnTo>
                    <a:pt x="400" y="298"/>
                  </a:lnTo>
                  <a:lnTo>
                    <a:pt x="399" y="292"/>
                  </a:lnTo>
                  <a:lnTo>
                    <a:pt x="396" y="287"/>
                  </a:lnTo>
                  <a:lnTo>
                    <a:pt x="392" y="281"/>
                  </a:lnTo>
                  <a:lnTo>
                    <a:pt x="387" y="275"/>
                  </a:lnTo>
                  <a:lnTo>
                    <a:pt x="382" y="271"/>
                  </a:lnTo>
                  <a:lnTo>
                    <a:pt x="376" y="267"/>
                  </a:lnTo>
                  <a:lnTo>
                    <a:pt x="370" y="264"/>
                  </a:lnTo>
                  <a:lnTo>
                    <a:pt x="364" y="262"/>
                  </a:lnTo>
                  <a:lnTo>
                    <a:pt x="359" y="261"/>
                  </a:lnTo>
                  <a:lnTo>
                    <a:pt x="354" y="261"/>
                  </a:lnTo>
                  <a:lnTo>
                    <a:pt x="349" y="262"/>
                  </a:lnTo>
                  <a:lnTo>
                    <a:pt x="344" y="264"/>
                  </a:lnTo>
                  <a:lnTo>
                    <a:pt x="336" y="268"/>
                  </a:lnTo>
                  <a:lnTo>
                    <a:pt x="327" y="274"/>
                  </a:lnTo>
                  <a:lnTo>
                    <a:pt x="320" y="281"/>
                  </a:lnTo>
                  <a:lnTo>
                    <a:pt x="313" y="288"/>
                  </a:lnTo>
                  <a:lnTo>
                    <a:pt x="290" y="311"/>
                  </a:lnTo>
                  <a:lnTo>
                    <a:pt x="274" y="327"/>
                  </a:lnTo>
                  <a:lnTo>
                    <a:pt x="375" y="425"/>
                  </a:lnTo>
                  <a:lnTo>
                    <a:pt x="403" y="396"/>
                  </a:lnTo>
                  <a:close/>
                  <a:moveTo>
                    <a:pt x="264" y="699"/>
                  </a:moveTo>
                  <a:lnTo>
                    <a:pt x="264" y="699"/>
                  </a:lnTo>
                  <a:lnTo>
                    <a:pt x="272" y="674"/>
                  </a:lnTo>
                  <a:lnTo>
                    <a:pt x="262" y="657"/>
                  </a:lnTo>
                  <a:lnTo>
                    <a:pt x="281" y="650"/>
                  </a:lnTo>
                  <a:lnTo>
                    <a:pt x="290" y="624"/>
                  </a:lnTo>
                  <a:lnTo>
                    <a:pt x="261" y="636"/>
                  </a:lnTo>
                  <a:lnTo>
                    <a:pt x="248" y="673"/>
                  </a:lnTo>
                  <a:lnTo>
                    <a:pt x="264" y="699"/>
                  </a:lnTo>
                  <a:close/>
                  <a:moveTo>
                    <a:pt x="786" y="206"/>
                  </a:moveTo>
                  <a:lnTo>
                    <a:pt x="786" y="206"/>
                  </a:lnTo>
                  <a:lnTo>
                    <a:pt x="781" y="179"/>
                  </a:lnTo>
                  <a:lnTo>
                    <a:pt x="724" y="192"/>
                  </a:lnTo>
                  <a:lnTo>
                    <a:pt x="699" y="83"/>
                  </a:lnTo>
                  <a:lnTo>
                    <a:pt x="660" y="91"/>
                  </a:lnTo>
                  <a:lnTo>
                    <a:pt x="691" y="228"/>
                  </a:lnTo>
                  <a:lnTo>
                    <a:pt x="786" y="206"/>
                  </a:lnTo>
                  <a:close/>
                  <a:moveTo>
                    <a:pt x="1119" y="967"/>
                  </a:moveTo>
                  <a:lnTo>
                    <a:pt x="1119" y="967"/>
                  </a:lnTo>
                  <a:lnTo>
                    <a:pt x="1503" y="863"/>
                  </a:lnTo>
                  <a:lnTo>
                    <a:pt x="1119" y="758"/>
                  </a:lnTo>
                  <a:lnTo>
                    <a:pt x="1318" y="413"/>
                  </a:lnTo>
                  <a:lnTo>
                    <a:pt x="971" y="611"/>
                  </a:lnTo>
                  <a:lnTo>
                    <a:pt x="867" y="228"/>
                  </a:lnTo>
                  <a:lnTo>
                    <a:pt x="762" y="611"/>
                  </a:lnTo>
                  <a:lnTo>
                    <a:pt x="416" y="413"/>
                  </a:lnTo>
                  <a:lnTo>
                    <a:pt x="614" y="758"/>
                  </a:lnTo>
                  <a:lnTo>
                    <a:pt x="229" y="863"/>
                  </a:lnTo>
                  <a:lnTo>
                    <a:pt x="614" y="967"/>
                  </a:lnTo>
                  <a:lnTo>
                    <a:pt x="416" y="1312"/>
                  </a:lnTo>
                  <a:lnTo>
                    <a:pt x="762" y="1115"/>
                  </a:lnTo>
                  <a:lnTo>
                    <a:pt x="867" y="1499"/>
                  </a:lnTo>
                  <a:lnTo>
                    <a:pt x="971" y="1115"/>
                  </a:lnTo>
                  <a:lnTo>
                    <a:pt x="1318" y="1312"/>
                  </a:lnTo>
                  <a:lnTo>
                    <a:pt x="1119" y="9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B94C315A-47BC-77F6-0C72-17EC00BFBD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20388" y="2341563"/>
              <a:ext cx="657225" cy="654050"/>
            </a:xfrm>
            <a:custGeom>
              <a:avLst/>
              <a:gdLst>
                <a:gd name="T0" fmla="*/ 470 w 1242"/>
                <a:gd name="T1" fmla="*/ 619 h 1237"/>
                <a:gd name="T2" fmla="*/ 628 w 1242"/>
                <a:gd name="T3" fmla="*/ 627 h 1237"/>
                <a:gd name="T4" fmla="*/ 621 w 1242"/>
                <a:gd name="T5" fmla="*/ 468 h 1237"/>
                <a:gd name="T6" fmla="*/ 182 w 1242"/>
                <a:gd name="T7" fmla="*/ 1057 h 1237"/>
                <a:gd name="T8" fmla="*/ 504 w 1242"/>
                <a:gd name="T9" fmla="*/ 735 h 1237"/>
                <a:gd name="T10" fmla="*/ 455 w 1242"/>
                <a:gd name="T11" fmla="*/ 621 h 1237"/>
                <a:gd name="T12" fmla="*/ 375 w 1242"/>
                <a:gd name="T13" fmla="*/ 721 h 1237"/>
                <a:gd name="T14" fmla="*/ 467 w 1242"/>
                <a:gd name="T15" fmla="*/ 682 h 1237"/>
                <a:gd name="T16" fmla="*/ 491 w 1242"/>
                <a:gd name="T17" fmla="*/ 722 h 1237"/>
                <a:gd name="T18" fmla="*/ 467 w 1242"/>
                <a:gd name="T19" fmla="*/ 682 h 1237"/>
                <a:gd name="T20" fmla="*/ 723 w 1242"/>
                <a:gd name="T21" fmla="*/ 864 h 1237"/>
                <a:gd name="T22" fmla="*/ 712 w 1242"/>
                <a:gd name="T23" fmla="*/ 756 h 1237"/>
                <a:gd name="T24" fmla="*/ 455 w 1242"/>
                <a:gd name="T25" fmla="*/ 616 h 1237"/>
                <a:gd name="T26" fmla="*/ 458 w 1242"/>
                <a:gd name="T27" fmla="*/ 586 h 1237"/>
                <a:gd name="T28" fmla="*/ 375 w 1242"/>
                <a:gd name="T29" fmla="*/ 517 h 1237"/>
                <a:gd name="T30" fmla="*/ 621 w 1242"/>
                <a:gd name="T31" fmla="*/ 784 h 1237"/>
                <a:gd name="T32" fmla="*/ 723 w 1242"/>
                <a:gd name="T33" fmla="*/ 864 h 1237"/>
                <a:gd name="T34" fmla="*/ 723 w 1242"/>
                <a:gd name="T35" fmla="*/ 864 h 1237"/>
                <a:gd name="T36" fmla="*/ 723 w 1242"/>
                <a:gd name="T37" fmla="*/ 864 h 1237"/>
                <a:gd name="T38" fmla="*/ 519 w 1242"/>
                <a:gd name="T39" fmla="*/ 864 h 1237"/>
                <a:gd name="T40" fmla="*/ 586 w 1242"/>
                <a:gd name="T41" fmla="*/ 781 h 1237"/>
                <a:gd name="T42" fmla="*/ 519 w 1242"/>
                <a:gd name="T43" fmla="*/ 864 h 1237"/>
                <a:gd name="T44" fmla="*/ 738 w 1242"/>
                <a:gd name="T45" fmla="*/ 735 h 1237"/>
                <a:gd name="T46" fmla="*/ 739 w 1242"/>
                <a:gd name="T47" fmla="*/ 733 h 1237"/>
                <a:gd name="T48" fmla="*/ 785 w 1242"/>
                <a:gd name="T49" fmla="*/ 637 h 1237"/>
                <a:gd name="T50" fmla="*/ 774 w 1242"/>
                <a:gd name="T51" fmla="*/ 682 h 1237"/>
                <a:gd name="T52" fmla="*/ 867 w 1242"/>
                <a:gd name="T53" fmla="*/ 517 h 1237"/>
                <a:gd name="T54" fmla="*/ 787 w 1242"/>
                <a:gd name="T55" fmla="*/ 619 h 1237"/>
                <a:gd name="T56" fmla="*/ 867 w 1242"/>
                <a:gd name="T57" fmla="*/ 517 h 1237"/>
                <a:gd name="T58" fmla="*/ 749 w 1242"/>
                <a:gd name="T59" fmla="*/ 515 h 1237"/>
                <a:gd name="T60" fmla="*/ 774 w 1242"/>
                <a:gd name="T61" fmla="*/ 555 h 1237"/>
                <a:gd name="T62" fmla="*/ 501 w 1242"/>
                <a:gd name="T63" fmla="*/ 504 h 1237"/>
                <a:gd name="T64" fmla="*/ 375 w 1242"/>
                <a:gd name="T65" fmla="*/ 517 h 1237"/>
                <a:gd name="T66" fmla="*/ 519 w 1242"/>
                <a:gd name="T67" fmla="*/ 373 h 1237"/>
                <a:gd name="T68" fmla="*/ 529 w 1242"/>
                <a:gd name="T69" fmla="*/ 481 h 1237"/>
                <a:gd name="T70" fmla="*/ 519 w 1242"/>
                <a:gd name="T71" fmla="*/ 373 h 1237"/>
                <a:gd name="T72" fmla="*/ 1060 w 1242"/>
                <a:gd name="T73" fmla="*/ 181 h 1237"/>
                <a:gd name="T74" fmla="*/ 738 w 1242"/>
                <a:gd name="T75" fmla="*/ 502 h 1237"/>
                <a:gd name="T76" fmla="*/ 621 w 1242"/>
                <a:gd name="T77" fmla="*/ 0 h 1237"/>
                <a:gd name="T78" fmla="*/ 621 w 1242"/>
                <a:gd name="T79" fmla="*/ 453 h 1237"/>
                <a:gd name="T80" fmla="*/ 622 w 1242"/>
                <a:gd name="T81" fmla="*/ 453 h 1237"/>
                <a:gd name="T82" fmla="*/ 670 w 1242"/>
                <a:gd name="T83" fmla="*/ 461 h 1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42" h="1237">
                  <a:moveTo>
                    <a:pt x="621" y="468"/>
                  </a:moveTo>
                  <a:lnTo>
                    <a:pt x="612" y="611"/>
                  </a:lnTo>
                  <a:lnTo>
                    <a:pt x="470" y="619"/>
                  </a:lnTo>
                  <a:lnTo>
                    <a:pt x="612" y="627"/>
                  </a:lnTo>
                  <a:lnTo>
                    <a:pt x="621" y="769"/>
                  </a:lnTo>
                  <a:lnTo>
                    <a:pt x="628" y="627"/>
                  </a:lnTo>
                  <a:lnTo>
                    <a:pt x="772" y="619"/>
                  </a:lnTo>
                  <a:lnTo>
                    <a:pt x="628" y="611"/>
                  </a:lnTo>
                  <a:lnTo>
                    <a:pt x="621" y="468"/>
                  </a:lnTo>
                  <a:close/>
                  <a:moveTo>
                    <a:pt x="504" y="735"/>
                  </a:moveTo>
                  <a:lnTo>
                    <a:pt x="504" y="735"/>
                  </a:lnTo>
                  <a:lnTo>
                    <a:pt x="182" y="1057"/>
                  </a:lnTo>
                  <a:lnTo>
                    <a:pt x="519" y="864"/>
                  </a:lnTo>
                  <a:lnTo>
                    <a:pt x="506" y="738"/>
                  </a:lnTo>
                  <a:lnTo>
                    <a:pt x="504" y="735"/>
                  </a:lnTo>
                  <a:close/>
                  <a:moveTo>
                    <a:pt x="375" y="721"/>
                  </a:moveTo>
                  <a:lnTo>
                    <a:pt x="375" y="7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0" y="619"/>
                  </a:lnTo>
                  <a:lnTo>
                    <a:pt x="375" y="721"/>
                  </a:lnTo>
                  <a:lnTo>
                    <a:pt x="375" y="721"/>
                  </a:lnTo>
                  <a:close/>
                  <a:moveTo>
                    <a:pt x="467" y="682"/>
                  </a:moveTo>
                  <a:lnTo>
                    <a:pt x="467" y="682"/>
                  </a:lnTo>
                  <a:lnTo>
                    <a:pt x="375" y="721"/>
                  </a:lnTo>
                  <a:lnTo>
                    <a:pt x="503" y="733"/>
                  </a:lnTo>
                  <a:lnTo>
                    <a:pt x="491" y="722"/>
                  </a:lnTo>
                  <a:lnTo>
                    <a:pt x="483" y="710"/>
                  </a:lnTo>
                  <a:lnTo>
                    <a:pt x="474" y="696"/>
                  </a:lnTo>
                  <a:lnTo>
                    <a:pt x="467" y="682"/>
                  </a:lnTo>
                  <a:close/>
                  <a:moveTo>
                    <a:pt x="684" y="771"/>
                  </a:moveTo>
                  <a:lnTo>
                    <a:pt x="684" y="771"/>
                  </a:lnTo>
                  <a:lnTo>
                    <a:pt x="723" y="864"/>
                  </a:lnTo>
                  <a:lnTo>
                    <a:pt x="736" y="736"/>
                  </a:lnTo>
                  <a:lnTo>
                    <a:pt x="725" y="748"/>
                  </a:lnTo>
                  <a:lnTo>
                    <a:pt x="712" y="756"/>
                  </a:lnTo>
                  <a:lnTo>
                    <a:pt x="699" y="765"/>
                  </a:lnTo>
                  <a:lnTo>
                    <a:pt x="684" y="771"/>
                  </a:lnTo>
                  <a:close/>
                  <a:moveTo>
                    <a:pt x="455" y="616"/>
                  </a:moveTo>
                  <a:lnTo>
                    <a:pt x="455" y="616"/>
                  </a:lnTo>
                  <a:lnTo>
                    <a:pt x="455" y="600"/>
                  </a:lnTo>
                  <a:lnTo>
                    <a:pt x="458" y="586"/>
                  </a:lnTo>
                  <a:lnTo>
                    <a:pt x="463" y="570"/>
                  </a:lnTo>
                  <a:lnTo>
                    <a:pt x="467" y="555"/>
                  </a:lnTo>
                  <a:lnTo>
                    <a:pt x="375" y="517"/>
                  </a:lnTo>
                  <a:lnTo>
                    <a:pt x="455" y="616"/>
                  </a:lnTo>
                  <a:close/>
                  <a:moveTo>
                    <a:pt x="621" y="784"/>
                  </a:moveTo>
                  <a:lnTo>
                    <a:pt x="621" y="784"/>
                  </a:lnTo>
                  <a:lnTo>
                    <a:pt x="621" y="1237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624" y="784"/>
                  </a:lnTo>
                  <a:lnTo>
                    <a:pt x="621" y="784"/>
                  </a:lnTo>
                  <a:close/>
                  <a:moveTo>
                    <a:pt x="723" y="864"/>
                  </a:move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lnTo>
                    <a:pt x="723" y="864"/>
                  </a:lnTo>
                  <a:close/>
                  <a:moveTo>
                    <a:pt x="519" y="864"/>
                  </a:moveTo>
                  <a:lnTo>
                    <a:pt x="519" y="864"/>
                  </a:lnTo>
                  <a:lnTo>
                    <a:pt x="618" y="784"/>
                  </a:lnTo>
                  <a:lnTo>
                    <a:pt x="602" y="782"/>
                  </a:lnTo>
                  <a:lnTo>
                    <a:pt x="586" y="781"/>
                  </a:lnTo>
                  <a:lnTo>
                    <a:pt x="572" y="777"/>
                  </a:lnTo>
                  <a:lnTo>
                    <a:pt x="558" y="771"/>
                  </a:lnTo>
                  <a:lnTo>
                    <a:pt x="519" y="864"/>
                  </a:lnTo>
                  <a:close/>
                  <a:moveTo>
                    <a:pt x="739" y="733"/>
                  </a:moveTo>
                  <a:lnTo>
                    <a:pt x="739" y="733"/>
                  </a:lnTo>
                  <a:lnTo>
                    <a:pt x="738" y="735"/>
                  </a:lnTo>
                  <a:lnTo>
                    <a:pt x="1060" y="1057"/>
                  </a:lnTo>
                  <a:lnTo>
                    <a:pt x="867" y="721"/>
                  </a:lnTo>
                  <a:lnTo>
                    <a:pt x="739" y="733"/>
                  </a:lnTo>
                  <a:close/>
                  <a:moveTo>
                    <a:pt x="787" y="621"/>
                  </a:moveTo>
                  <a:lnTo>
                    <a:pt x="787" y="621"/>
                  </a:lnTo>
                  <a:lnTo>
                    <a:pt x="785" y="637"/>
                  </a:lnTo>
                  <a:lnTo>
                    <a:pt x="782" y="653"/>
                  </a:lnTo>
                  <a:lnTo>
                    <a:pt x="779" y="667"/>
                  </a:lnTo>
                  <a:lnTo>
                    <a:pt x="774" y="682"/>
                  </a:lnTo>
                  <a:lnTo>
                    <a:pt x="867" y="721"/>
                  </a:lnTo>
                  <a:lnTo>
                    <a:pt x="787" y="621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87" y="616"/>
                  </a:lnTo>
                  <a:lnTo>
                    <a:pt x="787" y="619"/>
                  </a:lnTo>
                  <a:lnTo>
                    <a:pt x="1242" y="619"/>
                  </a:lnTo>
                  <a:lnTo>
                    <a:pt x="867" y="517"/>
                  </a:lnTo>
                  <a:close/>
                  <a:moveTo>
                    <a:pt x="867" y="517"/>
                  </a:moveTo>
                  <a:lnTo>
                    <a:pt x="867" y="517"/>
                  </a:lnTo>
                  <a:lnTo>
                    <a:pt x="739" y="504"/>
                  </a:lnTo>
                  <a:lnTo>
                    <a:pt x="749" y="515"/>
                  </a:lnTo>
                  <a:lnTo>
                    <a:pt x="759" y="528"/>
                  </a:lnTo>
                  <a:lnTo>
                    <a:pt x="766" y="541"/>
                  </a:lnTo>
                  <a:lnTo>
                    <a:pt x="774" y="555"/>
                  </a:lnTo>
                  <a:lnTo>
                    <a:pt x="867" y="517"/>
                  </a:lnTo>
                  <a:close/>
                  <a:moveTo>
                    <a:pt x="501" y="504"/>
                  </a:moveTo>
                  <a:lnTo>
                    <a:pt x="501" y="504"/>
                  </a:lnTo>
                  <a:lnTo>
                    <a:pt x="504" y="502"/>
                  </a:lnTo>
                  <a:lnTo>
                    <a:pt x="182" y="181"/>
                  </a:lnTo>
                  <a:lnTo>
                    <a:pt x="375" y="517"/>
                  </a:lnTo>
                  <a:lnTo>
                    <a:pt x="501" y="504"/>
                  </a:lnTo>
                  <a:close/>
                  <a:moveTo>
                    <a:pt x="519" y="373"/>
                  </a:moveTo>
                  <a:lnTo>
                    <a:pt x="519" y="373"/>
                  </a:lnTo>
                  <a:lnTo>
                    <a:pt x="506" y="501"/>
                  </a:lnTo>
                  <a:lnTo>
                    <a:pt x="517" y="491"/>
                  </a:lnTo>
                  <a:lnTo>
                    <a:pt x="529" y="481"/>
                  </a:lnTo>
                  <a:lnTo>
                    <a:pt x="543" y="474"/>
                  </a:lnTo>
                  <a:lnTo>
                    <a:pt x="558" y="466"/>
                  </a:lnTo>
                  <a:lnTo>
                    <a:pt x="519" y="373"/>
                  </a:lnTo>
                  <a:close/>
                  <a:moveTo>
                    <a:pt x="738" y="502"/>
                  </a:moveTo>
                  <a:lnTo>
                    <a:pt x="738" y="502"/>
                  </a:lnTo>
                  <a:lnTo>
                    <a:pt x="1060" y="181"/>
                  </a:lnTo>
                  <a:lnTo>
                    <a:pt x="723" y="373"/>
                  </a:lnTo>
                  <a:lnTo>
                    <a:pt x="736" y="501"/>
                  </a:lnTo>
                  <a:lnTo>
                    <a:pt x="738" y="502"/>
                  </a:lnTo>
                  <a:close/>
                  <a:moveTo>
                    <a:pt x="621" y="453"/>
                  </a:moveTo>
                  <a:lnTo>
                    <a:pt x="621" y="453"/>
                  </a:lnTo>
                  <a:lnTo>
                    <a:pt x="621" y="0"/>
                  </a:lnTo>
                  <a:lnTo>
                    <a:pt x="519" y="373"/>
                  </a:lnTo>
                  <a:lnTo>
                    <a:pt x="618" y="453"/>
                  </a:lnTo>
                  <a:lnTo>
                    <a:pt x="621" y="453"/>
                  </a:lnTo>
                  <a:close/>
                  <a:moveTo>
                    <a:pt x="723" y="373"/>
                  </a:moveTo>
                  <a:lnTo>
                    <a:pt x="723" y="373"/>
                  </a:lnTo>
                  <a:lnTo>
                    <a:pt x="622" y="453"/>
                  </a:lnTo>
                  <a:lnTo>
                    <a:pt x="640" y="455"/>
                  </a:lnTo>
                  <a:lnTo>
                    <a:pt x="654" y="458"/>
                  </a:lnTo>
                  <a:lnTo>
                    <a:pt x="670" y="461"/>
                  </a:lnTo>
                  <a:lnTo>
                    <a:pt x="684" y="466"/>
                  </a:lnTo>
                  <a:lnTo>
                    <a:pt x="723" y="373"/>
                  </a:lnTo>
                  <a:close/>
                </a:path>
              </a:pathLst>
            </a:custGeom>
            <a:solidFill>
              <a:srgbClr val="B8B8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2" name="Freeform 19">
              <a:extLst>
                <a:ext uri="{FF2B5EF4-FFF2-40B4-BE49-F238E27FC236}">
                  <a16:creationId xmlns:a16="http://schemas.microsoft.com/office/drawing/2014/main" id="{1A68B2DA-2152-2B25-6799-B0BFBCD83A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63275" y="2582863"/>
              <a:ext cx="171450" cy="169863"/>
            </a:xfrm>
            <a:custGeom>
              <a:avLst/>
              <a:gdLst>
                <a:gd name="T0" fmla="*/ 170 w 322"/>
                <a:gd name="T1" fmla="*/ 184 h 321"/>
                <a:gd name="T2" fmla="*/ 178 w 322"/>
                <a:gd name="T3" fmla="*/ 321 h 321"/>
                <a:gd name="T4" fmla="*/ 210 w 322"/>
                <a:gd name="T5" fmla="*/ 314 h 321"/>
                <a:gd name="T6" fmla="*/ 239 w 322"/>
                <a:gd name="T7" fmla="*/ 303 h 321"/>
                <a:gd name="T8" fmla="*/ 263 w 322"/>
                <a:gd name="T9" fmla="*/ 285 h 321"/>
                <a:gd name="T10" fmla="*/ 285 w 322"/>
                <a:gd name="T11" fmla="*/ 264 h 321"/>
                <a:gd name="T12" fmla="*/ 302 w 322"/>
                <a:gd name="T13" fmla="*/ 238 h 321"/>
                <a:gd name="T14" fmla="*/ 315 w 322"/>
                <a:gd name="T15" fmla="*/ 209 h 321"/>
                <a:gd name="T16" fmla="*/ 321 w 322"/>
                <a:gd name="T17" fmla="*/ 178 h 321"/>
                <a:gd name="T18" fmla="*/ 183 w 322"/>
                <a:gd name="T19" fmla="*/ 171 h 321"/>
                <a:gd name="T20" fmla="*/ 151 w 322"/>
                <a:gd name="T21" fmla="*/ 171 h 321"/>
                <a:gd name="T22" fmla="*/ 138 w 322"/>
                <a:gd name="T23" fmla="*/ 171 h 321"/>
                <a:gd name="T24" fmla="*/ 0 w 322"/>
                <a:gd name="T25" fmla="*/ 178 h 321"/>
                <a:gd name="T26" fmla="*/ 7 w 322"/>
                <a:gd name="T27" fmla="*/ 209 h 321"/>
                <a:gd name="T28" fmla="*/ 18 w 322"/>
                <a:gd name="T29" fmla="*/ 238 h 321"/>
                <a:gd name="T30" fmla="*/ 36 w 322"/>
                <a:gd name="T31" fmla="*/ 264 h 321"/>
                <a:gd name="T32" fmla="*/ 57 w 322"/>
                <a:gd name="T33" fmla="*/ 285 h 321"/>
                <a:gd name="T34" fmla="*/ 83 w 322"/>
                <a:gd name="T35" fmla="*/ 303 h 321"/>
                <a:gd name="T36" fmla="*/ 112 w 322"/>
                <a:gd name="T37" fmla="*/ 314 h 321"/>
                <a:gd name="T38" fmla="*/ 142 w 322"/>
                <a:gd name="T39" fmla="*/ 321 h 321"/>
                <a:gd name="T40" fmla="*/ 151 w 322"/>
                <a:gd name="T41" fmla="*/ 184 h 321"/>
                <a:gd name="T42" fmla="*/ 171 w 322"/>
                <a:gd name="T43" fmla="*/ 151 h 321"/>
                <a:gd name="T44" fmla="*/ 183 w 322"/>
                <a:gd name="T45" fmla="*/ 152 h 321"/>
                <a:gd name="T46" fmla="*/ 321 w 322"/>
                <a:gd name="T47" fmla="*/ 143 h 321"/>
                <a:gd name="T48" fmla="*/ 315 w 322"/>
                <a:gd name="T49" fmla="*/ 112 h 321"/>
                <a:gd name="T50" fmla="*/ 302 w 322"/>
                <a:gd name="T51" fmla="*/ 83 h 321"/>
                <a:gd name="T52" fmla="*/ 285 w 322"/>
                <a:gd name="T53" fmla="*/ 59 h 321"/>
                <a:gd name="T54" fmla="*/ 263 w 322"/>
                <a:gd name="T55" fmla="*/ 37 h 321"/>
                <a:gd name="T56" fmla="*/ 239 w 322"/>
                <a:gd name="T57" fmla="*/ 20 h 321"/>
                <a:gd name="T58" fmla="*/ 210 w 322"/>
                <a:gd name="T59" fmla="*/ 7 h 321"/>
                <a:gd name="T60" fmla="*/ 178 w 322"/>
                <a:gd name="T61" fmla="*/ 1 h 321"/>
                <a:gd name="T62" fmla="*/ 170 w 322"/>
                <a:gd name="T63" fmla="*/ 139 h 321"/>
                <a:gd name="T64" fmla="*/ 0 w 322"/>
                <a:gd name="T65" fmla="*/ 159 h 321"/>
                <a:gd name="T66" fmla="*/ 138 w 322"/>
                <a:gd name="T67" fmla="*/ 152 h 321"/>
                <a:gd name="T68" fmla="*/ 151 w 322"/>
                <a:gd name="T69" fmla="*/ 139 h 321"/>
                <a:gd name="T70" fmla="*/ 142 w 322"/>
                <a:gd name="T71" fmla="*/ 1 h 321"/>
                <a:gd name="T72" fmla="*/ 112 w 322"/>
                <a:gd name="T73" fmla="*/ 7 h 321"/>
                <a:gd name="T74" fmla="*/ 83 w 322"/>
                <a:gd name="T75" fmla="*/ 20 h 321"/>
                <a:gd name="T76" fmla="*/ 57 w 322"/>
                <a:gd name="T77" fmla="*/ 37 h 321"/>
                <a:gd name="T78" fmla="*/ 36 w 322"/>
                <a:gd name="T79" fmla="*/ 59 h 321"/>
                <a:gd name="T80" fmla="*/ 18 w 322"/>
                <a:gd name="T81" fmla="*/ 83 h 321"/>
                <a:gd name="T82" fmla="*/ 7 w 322"/>
                <a:gd name="T83" fmla="*/ 112 h 321"/>
                <a:gd name="T84" fmla="*/ 0 w 322"/>
                <a:gd name="T85" fmla="*/ 143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2" h="321">
                  <a:moveTo>
                    <a:pt x="171" y="171"/>
                  </a:moveTo>
                  <a:lnTo>
                    <a:pt x="170" y="184"/>
                  </a:lnTo>
                  <a:lnTo>
                    <a:pt x="162" y="321"/>
                  </a:lnTo>
                  <a:lnTo>
                    <a:pt x="178" y="321"/>
                  </a:lnTo>
                  <a:lnTo>
                    <a:pt x="194" y="319"/>
                  </a:lnTo>
                  <a:lnTo>
                    <a:pt x="210" y="314"/>
                  </a:lnTo>
                  <a:lnTo>
                    <a:pt x="224" y="308"/>
                  </a:lnTo>
                  <a:lnTo>
                    <a:pt x="239" y="303"/>
                  </a:lnTo>
                  <a:lnTo>
                    <a:pt x="252" y="294"/>
                  </a:lnTo>
                  <a:lnTo>
                    <a:pt x="263" y="285"/>
                  </a:lnTo>
                  <a:lnTo>
                    <a:pt x="275" y="274"/>
                  </a:lnTo>
                  <a:lnTo>
                    <a:pt x="285" y="264"/>
                  </a:lnTo>
                  <a:lnTo>
                    <a:pt x="295" y="251"/>
                  </a:lnTo>
                  <a:lnTo>
                    <a:pt x="302" y="238"/>
                  </a:lnTo>
                  <a:lnTo>
                    <a:pt x="309" y="224"/>
                  </a:lnTo>
                  <a:lnTo>
                    <a:pt x="315" y="209"/>
                  </a:lnTo>
                  <a:lnTo>
                    <a:pt x="318" y="194"/>
                  </a:lnTo>
                  <a:lnTo>
                    <a:pt x="321" y="178"/>
                  </a:lnTo>
                  <a:lnTo>
                    <a:pt x="322" y="162"/>
                  </a:lnTo>
                  <a:lnTo>
                    <a:pt x="183" y="171"/>
                  </a:lnTo>
                  <a:lnTo>
                    <a:pt x="171" y="171"/>
                  </a:lnTo>
                  <a:close/>
                  <a:moveTo>
                    <a:pt x="151" y="171"/>
                  </a:moveTo>
                  <a:lnTo>
                    <a:pt x="151" y="171"/>
                  </a:lnTo>
                  <a:lnTo>
                    <a:pt x="138" y="171"/>
                  </a:lnTo>
                  <a:lnTo>
                    <a:pt x="0" y="162"/>
                  </a:lnTo>
                  <a:lnTo>
                    <a:pt x="0" y="178"/>
                  </a:lnTo>
                  <a:lnTo>
                    <a:pt x="3" y="194"/>
                  </a:lnTo>
                  <a:lnTo>
                    <a:pt x="7" y="209"/>
                  </a:lnTo>
                  <a:lnTo>
                    <a:pt x="13" y="224"/>
                  </a:lnTo>
                  <a:lnTo>
                    <a:pt x="18" y="238"/>
                  </a:lnTo>
                  <a:lnTo>
                    <a:pt x="27" y="251"/>
                  </a:lnTo>
                  <a:lnTo>
                    <a:pt x="36" y="264"/>
                  </a:lnTo>
                  <a:lnTo>
                    <a:pt x="47" y="274"/>
                  </a:lnTo>
                  <a:lnTo>
                    <a:pt x="57" y="285"/>
                  </a:lnTo>
                  <a:lnTo>
                    <a:pt x="70" y="294"/>
                  </a:lnTo>
                  <a:lnTo>
                    <a:pt x="83" y="303"/>
                  </a:lnTo>
                  <a:lnTo>
                    <a:pt x="98" y="308"/>
                  </a:lnTo>
                  <a:lnTo>
                    <a:pt x="112" y="314"/>
                  </a:lnTo>
                  <a:lnTo>
                    <a:pt x="126" y="319"/>
                  </a:lnTo>
                  <a:lnTo>
                    <a:pt x="142" y="321"/>
                  </a:lnTo>
                  <a:lnTo>
                    <a:pt x="160" y="321"/>
                  </a:lnTo>
                  <a:lnTo>
                    <a:pt x="151" y="184"/>
                  </a:lnTo>
                  <a:lnTo>
                    <a:pt x="151" y="171"/>
                  </a:lnTo>
                  <a:close/>
                  <a:moveTo>
                    <a:pt x="171" y="151"/>
                  </a:moveTo>
                  <a:lnTo>
                    <a:pt x="171" y="151"/>
                  </a:lnTo>
                  <a:lnTo>
                    <a:pt x="183" y="152"/>
                  </a:lnTo>
                  <a:lnTo>
                    <a:pt x="322" y="159"/>
                  </a:lnTo>
                  <a:lnTo>
                    <a:pt x="321" y="143"/>
                  </a:lnTo>
                  <a:lnTo>
                    <a:pt x="318" y="128"/>
                  </a:lnTo>
                  <a:lnTo>
                    <a:pt x="315" y="112"/>
                  </a:lnTo>
                  <a:lnTo>
                    <a:pt x="309" y="97"/>
                  </a:lnTo>
                  <a:lnTo>
                    <a:pt x="302" y="83"/>
                  </a:lnTo>
                  <a:lnTo>
                    <a:pt x="295" y="70"/>
                  </a:lnTo>
                  <a:lnTo>
                    <a:pt x="285" y="59"/>
                  </a:lnTo>
                  <a:lnTo>
                    <a:pt x="275" y="47"/>
                  </a:lnTo>
                  <a:lnTo>
                    <a:pt x="263" y="37"/>
                  </a:lnTo>
                  <a:lnTo>
                    <a:pt x="252" y="27"/>
                  </a:lnTo>
                  <a:lnTo>
                    <a:pt x="239" y="20"/>
                  </a:lnTo>
                  <a:lnTo>
                    <a:pt x="224" y="13"/>
                  </a:lnTo>
                  <a:lnTo>
                    <a:pt x="210" y="7"/>
                  </a:lnTo>
                  <a:lnTo>
                    <a:pt x="194" y="4"/>
                  </a:lnTo>
                  <a:lnTo>
                    <a:pt x="178" y="1"/>
                  </a:lnTo>
                  <a:lnTo>
                    <a:pt x="162" y="0"/>
                  </a:lnTo>
                  <a:lnTo>
                    <a:pt x="170" y="139"/>
                  </a:lnTo>
                  <a:lnTo>
                    <a:pt x="171" y="151"/>
                  </a:lnTo>
                  <a:close/>
                  <a:moveTo>
                    <a:pt x="0" y="159"/>
                  </a:moveTo>
                  <a:lnTo>
                    <a:pt x="0" y="159"/>
                  </a:lnTo>
                  <a:lnTo>
                    <a:pt x="138" y="152"/>
                  </a:lnTo>
                  <a:lnTo>
                    <a:pt x="151" y="151"/>
                  </a:lnTo>
                  <a:lnTo>
                    <a:pt x="151" y="139"/>
                  </a:lnTo>
                  <a:lnTo>
                    <a:pt x="160" y="0"/>
                  </a:lnTo>
                  <a:lnTo>
                    <a:pt x="142" y="1"/>
                  </a:lnTo>
                  <a:lnTo>
                    <a:pt x="126" y="4"/>
                  </a:lnTo>
                  <a:lnTo>
                    <a:pt x="112" y="7"/>
                  </a:lnTo>
                  <a:lnTo>
                    <a:pt x="98" y="13"/>
                  </a:lnTo>
                  <a:lnTo>
                    <a:pt x="83" y="20"/>
                  </a:lnTo>
                  <a:lnTo>
                    <a:pt x="70" y="27"/>
                  </a:lnTo>
                  <a:lnTo>
                    <a:pt x="57" y="37"/>
                  </a:lnTo>
                  <a:lnTo>
                    <a:pt x="47" y="47"/>
                  </a:lnTo>
                  <a:lnTo>
                    <a:pt x="36" y="59"/>
                  </a:lnTo>
                  <a:lnTo>
                    <a:pt x="27" y="70"/>
                  </a:lnTo>
                  <a:lnTo>
                    <a:pt x="18" y="83"/>
                  </a:lnTo>
                  <a:lnTo>
                    <a:pt x="13" y="97"/>
                  </a:lnTo>
                  <a:lnTo>
                    <a:pt x="7" y="112"/>
                  </a:lnTo>
                  <a:lnTo>
                    <a:pt x="3" y="128"/>
                  </a:lnTo>
                  <a:lnTo>
                    <a:pt x="0" y="143"/>
                  </a:lnTo>
                  <a:lnTo>
                    <a:pt x="0" y="15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8CBCFA57-D499-C5A4-DCD9-D15BA3233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35250"/>
              <a:ext cx="65088" cy="31750"/>
            </a:xfrm>
            <a:custGeom>
              <a:avLst/>
              <a:gdLst>
                <a:gd name="T0" fmla="*/ 61 w 121"/>
                <a:gd name="T1" fmla="*/ 0 h 60"/>
                <a:gd name="T2" fmla="*/ 61 w 121"/>
                <a:gd name="T3" fmla="*/ 0 h 60"/>
                <a:gd name="T4" fmla="*/ 29 w 121"/>
                <a:gd name="T5" fmla="*/ 0 h 60"/>
                <a:gd name="T6" fmla="*/ 29 w 121"/>
                <a:gd name="T7" fmla="*/ 0 h 60"/>
                <a:gd name="T8" fmla="*/ 0 w 121"/>
                <a:gd name="T9" fmla="*/ 29 h 60"/>
                <a:gd name="T10" fmla="*/ 0 w 121"/>
                <a:gd name="T11" fmla="*/ 46 h 60"/>
                <a:gd name="T12" fmla="*/ 9 w 121"/>
                <a:gd name="T13" fmla="*/ 54 h 60"/>
                <a:gd name="T14" fmla="*/ 121 w 121"/>
                <a:gd name="T15" fmla="*/ 60 h 60"/>
                <a:gd name="T16" fmla="*/ 61 w 121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60">
                  <a:moveTo>
                    <a:pt x="61" y="0"/>
                  </a:moveTo>
                  <a:lnTo>
                    <a:pt x="61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46"/>
                  </a:lnTo>
                  <a:lnTo>
                    <a:pt x="9" y="54"/>
                  </a:lnTo>
                  <a:lnTo>
                    <a:pt x="121" y="6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5CAFA9FE-5995-FAA3-829B-BAD3C15C4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68050" y="2668588"/>
              <a:ext cx="65088" cy="31750"/>
            </a:xfrm>
            <a:custGeom>
              <a:avLst/>
              <a:gdLst>
                <a:gd name="T0" fmla="*/ 9 w 121"/>
                <a:gd name="T1" fmla="*/ 7 h 60"/>
                <a:gd name="T2" fmla="*/ 0 w 121"/>
                <a:gd name="T3" fmla="*/ 14 h 60"/>
                <a:gd name="T4" fmla="*/ 0 w 121"/>
                <a:gd name="T5" fmla="*/ 32 h 60"/>
                <a:gd name="T6" fmla="*/ 29 w 121"/>
                <a:gd name="T7" fmla="*/ 60 h 60"/>
                <a:gd name="T8" fmla="*/ 61 w 121"/>
                <a:gd name="T9" fmla="*/ 60 h 60"/>
                <a:gd name="T10" fmla="*/ 121 w 121"/>
                <a:gd name="T11" fmla="*/ 0 h 60"/>
                <a:gd name="T12" fmla="*/ 9 w 121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60">
                  <a:moveTo>
                    <a:pt x="9" y="7"/>
                  </a:moveTo>
                  <a:lnTo>
                    <a:pt x="0" y="14"/>
                  </a:lnTo>
                  <a:lnTo>
                    <a:pt x="0" y="32"/>
                  </a:lnTo>
                  <a:lnTo>
                    <a:pt x="29" y="60"/>
                  </a:lnTo>
                  <a:lnTo>
                    <a:pt x="61" y="60"/>
                  </a:lnTo>
                  <a:lnTo>
                    <a:pt x="121" y="0"/>
                  </a:lnTo>
                  <a:lnTo>
                    <a:pt x="9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5" name="Freeform 22">
              <a:extLst>
                <a:ext uri="{FF2B5EF4-FFF2-40B4-BE49-F238E27FC236}">
                  <a16:creationId xmlns:a16="http://schemas.microsoft.com/office/drawing/2014/main" id="{04FB3DA4-F46C-7393-F8F5-80B572A29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35250"/>
              <a:ext cx="63500" cy="31750"/>
            </a:xfrm>
            <a:custGeom>
              <a:avLst/>
              <a:gdLst>
                <a:gd name="T0" fmla="*/ 59 w 119"/>
                <a:gd name="T1" fmla="*/ 0 h 60"/>
                <a:gd name="T2" fmla="*/ 59 w 119"/>
                <a:gd name="T3" fmla="*/ 0 h 60"/>
                <a:gd name="T4" fmla="*/ 92 w 119"/>
                <a:gd name="T5" fmla="*/ 0 h 60"/>
                <a:gd name="T6" fmla="*/ 92 w 119"/>
                <a:gd name="T7" fmla="*/ 0 h 60"/>
                <a:gd name="T8" fmla="*/ 119 w 119"/>
                <a:gd name="T9" fmla="*/ 29 h 60"/>
                <a:gd name="T10" fmla="*/ 119 w 119"/>
                <a:gd name="T11" fmla="*/ 46 h 60"/>
                <a:gd name="T12" fmla="*/ 112 w 119"/>
                <a:gd name="T13" fmla="*/ 54 h 60"/>
                <a:gd name="T14" fmla="*/ 0 w 119"/>
                <a:gd name="T15" fmla="*/ 60 h 60"/>
                <a:gd name="T16" fmla="*/ 59 w 119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9" h="60">
                  <a:moveTo>
                    <a:pt x="59" y="0"/>
                  </a:moveTo>
                  <a:lnTo>
                    <a:pt x="59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119" y="29"/>
                  </a:lnTo>
                  <a:lnTo>
                    <a:pt x="119" y="46"/>
                  </a:lnTo>
                  <a:lnTo>
                    <a:pt x="112" y="54"/>
                  </a:lnTo>
                  <a:lnTo>
                    <a:pt x="0" y="6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6" name="Freeform 23">
              <a:extLst>
                <a:ext uri="{FF2B5EF4-FFF2-40B4-BE49-F238E27FC236}">
                  <a16:creationId xmlns:a16="http://schemas.microsoft.com/office/drawing/2014/main" id="{CC365492-0639-DB67-CAF8-885118405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64863" y="2668588"/>
              <a:ext cx="63500" cy="31750"/>
            </a:xfrm>
            <a:custGeom>
              <a:avLst/>
              <a:gdLst>
                <a:gd name="T0" fmla="*/ 112 w 119"/>
                <a:gd name="T1" fmla="*/ 7 h 60"/>
                <a:gd name="T2" fmla="*/ 119 w 119"/>
                <a:gd name="T3" fmla="*/ 14 h 60"/>
                <a:gd name="T4" fmla="*/ 119 w 119"/>
                <a:gd name="T5" fmla="*/ 32 h 60"/>
                <a:gd name="T6" fmla="*/ 90 w 119"/>
                <a:gd name="T7" fmla="*/ 60 h 60"/>
                <a:gd name="T8" fmla="*/ 60 w 119"/>
                <a:gd name="T9" fmla="*/ 60 h 60"/>
                <a:gd name="T10" fmla="*/ 0 w 119"/>
                <a:gd name="T11" fmla="*/ 0 h 60"/>
                <a:gd name="T12" fmla="*/ 112 w 119"/>
                <a:gd name="T13" fmla="*/ 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60">
                  <a:moveTo>
                    <a:pt x="112" y="7"/>
                  </a:moveTo>
                  <a:lnTo>
                    <a:pt x="119" y="14"/>
                  </a:lnTo>
                  <a:lnTo>
                    <a:pt x="119" y="32"/>
                  </a:lnTo>
                  <a:lnTo>
                    <a:pt x="90" y="60"/>
                  </a:lnTo>
                  <a:lnTo>
                    <a:pt x="60" y="60"/>
                  </a:lnTo>
                  <a:lnTo>
                    <a:pt x="0" y="0"/>
                  </a:lnTo>
                  <a:lnTo>
                    <a:pt x="112" y="7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68823327-977F-71A1-F6F8-7ED3653F2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584450"/>
              <a:ext cx="33338" cy="63500"/>
            </a:xfrm>
            <a:custGeom>
              <a:avLst/>
              <a:gdLst>
                <a:gd name="T0" fmla="*/ 61 w 61"/>
                <a:gd name="T1" fmla="*/ 60 h 120"/>
                <a:gd name="T2" fmla="*/ 59 w 61"/>
                <a:gd name="T3" fmla="*/ 60 h 120"/>
                <a:gd name="T4" fmla="*/ 59 w 61"/>
                <a:gd name="T5" fmla="*/ 92 h 120"/>
                <a:gd name="T6" fmla="*/ 61 w 61"/>
                <a:gd name="T7" fmla="*/ 92 h 120"/>
                <a:gd name="T8" fmla="*/ 32 w 61"/>
                <a:gd name="T9" fmla="*/ 120 h 120"/>
                <a:gd name="T10" fmla="*/ 15 w 61"/>
                <a:gd name="T11" fmla="*/ 120 h 120"/>
                <a:gd name="T12" fmla="*/ 6 w 61"/>
                <a:gd name="T13" fmla="*/ 112 h 120"/>
                <a:gd name="T14" fmla="*/ 0 w 61"/>
                <a:gd name="T15" fmla="*/ 0 h 120"/>
                <a:gd name="T16" fmla="*/ 61 w 61"/>
                <a:gd name="T17" fmla="*/ 6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0"/>
                  </a:moveTo>
                  <a:lnTo>
                    <a:pt x="59" y="60"/>
                  </a:lnTo>
                  <a:lnTo>
                    <a:pt x="59" y="92"/>
                  </a:lnTo>
                  <a:lnTo>
                    <a:pt x="61" y="92"/>
                  </a:lnTo>
                  <a:lnTo>
                    <a:pt x="32" y="120"/>
                  </a:lnTo>
                  <a:lnTo>
                    <a:pt x="15" y="120"/>
                  </a:lnTo>
                  <a:lnTo>
                    <a:pt x="6" y="112"/>
                  </a:lnTo>
                  <a:lnTo>
                    <a:pt x="0" y="0"/>
                  </a:lnTo>
                  <a:lnTo>
                    <a:pt x="61" y="60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A070502B-1D7D-A90A-4B66-F1368334B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584450"/>
              <a:ext cx="33338" cy="63500"/>
            </a:xfrm>
            <a:custGeom>
              <a:avLst/>
              <a:gdLst>
                <a:gd name="T0" fmla="*/ 53 w 61"/>
                <a:gd name="T1" fmla="*/ 112 h 120"/>
                <a:gd name="T2" fmla="*/ 46 w 61"/>
                <a:gd name="T3" fmla="*/ 120 h 120"/>
                <a:gd name="T4" fmla="*/ 29 w 61"/>
                <a:gd name="T5" fmla="*/ 120 h 120"/>
                <a:gd name="T6" fmla="*/ 0 w 61"/>
                <a:gd name="T7" fmla="*/ 92 h 120"/>
                <a:gd name="T8" fmla="*/ 0 w 61"/>
                <a:gd name="T9" fmla="*/ 60 h 120"/>
                <a:gd name="T10" fmla="*/ 61 w 61"/>
                <a:gd name="T11" fmla="*/ 0 h 120"/>
                <a:gd name="T12" fmla="*/ 53 w 61"/>
                <a:gd name="T13" fmla="*/ 11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112"/>
                  </a:moveTo>
                  <a:lnTo>
                    <a:pt x="46" y="120"/>
                  </a:lnTo>
                  <a:lnTo>
                    <a:pt x="29" y="120"/>
                  </a:lnTo>
                  <a:lnTo>
                    <a:pt x="0" y="92"/>
                  </a:lnTo>
                  <a:lnTo>
                    <a:pt x="0" y="60"/>
                  </a:lnTo>
                  <a:lnTo>
                    <a:pt x="61" y="0"/>
                  </a:lnTo>
                  <a:lnTo>
                    <a:pt x="53" y="112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29" name="Freeform 26">
              <a:extLst>
                <a:ext uri="{FF2B5EF4-FFF2-40B4-BE49-F238E27FC236}">
                  <a16:creationId xmlns:a16="http://schemas.microsoft.com/office/drawing/2014/main" id="{F2E26F5F-4D8F-9704-B65C-31B3D29D7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9000" y="2689225"/>
              <a:ext cx="33338" cy="63500"/>
            </a:xfrm>
            <a:custGeom>
              <a:avLst/>
              <a:gdLst>
                <a:gd name="T0" fmla="*/ 61 w 61"/>
                <a:gd name="T1" fmla="*/ 61 h 120"/>
                <a:gd name="T2" fmla="*/ 59 w 61"/>
                <a:gd name="T3" fmla="*/ 61 h 120"/>
                <a:gd name="T4" fmla="*/ 59 w 61"/>
                <a:gd name="T5" fmla="*/ 28 h 120"/>
                <a:gd name="T6" fmla="*/ 61 w 61"/>
                <a:gd name="T7" fmla="*/ 28 h 120"/>
                <a:gd name="T8" fmla="*/ 32 w 61"/>
                <a:gd name="T9" fmla="*/ 0 h 120"/>
                <a:gd name="T10" fmla="*/ 15 w 61"/>
                <a:gd name="T11" fmla="*/ 0 h 120"/>
                <a:gd name="T12" fmla="*/ 6 w 61"/>
                <a:gd name="T13" fmla="*/ 8 h 120"/>
                <a:gd name="T14" fmla="*/ 0 w 61"/>
                <a:gd name="T15" fmla="*/ 120 h 120"/>
                <a:gd name="T16" fmla="*/ 61 w 61"/>
                <a:gd name="T17" fmla="*/ 6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20">
                  <a:moveTo>
                    <a:pt x="61" y="61"/>
                  </a:moveTo>
                  <a:lnTo>
                    <a:pt x="59" y="61"/>
                  </a:lnTo>
                  <a:lnTo>
                    <a:pt x="59" y="28"/>
                  </a:lnTo>
                  <a:lnTo>
                    <a:pt x="61" y="28"/>
                  </a:lnTo>
                  <a:lnTo>
                    <a:pt x="32" y="0"/>
                  </a:lnTo>
                  <a:lnTo>
                    <a:pt x="15" y="0"/>
                  </a:lnTo>
                  <a:lnTo>
                    <a:pt x="6" y="8"/>
                  </a:lnTo>
                  <a:lnTo>
                    <a:pt x="0" y="120"/>
                  </a:lnTo>
                  <a:lnTo>
                    <a:pt x="61" y="61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30" name="Freeform 27">
              <a:extLst>
                <a:ext uri="{FF2B5EF4-FFF2-40B4-BE49-F238E27FC236}">
                  <a16:creationId xmlns:a16="http://schemas.microsoft.com/office/drawing/2014/main" id="{EF42C38A-2B1C-7116-029F-45741B7F14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15663" y="2689225"/>
              <a:ext cx="33338" cy="63500"/>
            </a:xfrm>
            <a:custGeom>
              <a:avLst/>
              <a:gdLst>
                <a:gd name="T0" fmla="*/ 53 w 61"/>
                <a:gd name="T1" fmla="*/ 8 h 120"/>
                <a:gd name="T2" fmla="*/ 46 w 61"/>
                <a:gd name="T3" fmla="*/ 0 h 120"/>
                <a:gd name="T4" fmla="*/ 29 w 61"/>
                <a:gd name="T5" fmla="*/ 0 h 120"/>
                <a:gd name="T6" fmla="*/ 0 w 61"/>
                <a:gd name="T7" fmla="*/ 29 h 120"/>
                <a:gd name="T8" fmla="*/ 0 w 61"/>
                <a:gd name="T9" fmla="*/ 59 h 120"/>
                <a:gd name="T10" fmla="*/ 61 w 61"/>
                <a:gd name="T11" fmla="*/ 120 h 120"/>
                <a:gd name="T12" fmla="*/ 53 w 61"/>
                <a:gd name="T13" fmla="*/ 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0">
                  <a:moveTo>
                    <a:pt x="53" y="8"/>
                  </a:moveTo>
                  <a:lnTo>
                    <a:pt x="46" y="0"/>
                  </a:lnTo>
                  <a:lnTo>
                    <a:pt x="29" y="0"/>
                  </a:lnTo>
                  <a:lnTo>
                    <a:pt x="0" y="29"/>
                  </a:lnTo>
                  <a:lnTo>
                    <a:pt x="0" y="59"/>
                  </a:lnTo>
                  <a:lnTo>
                    <a:pt x="61" y="120"/>
                  </a:lnTo>
                  <a:lnTo>
                    <a:pt x="53" y="8"/>
                  </a:lnTo>
                  <a:close/>
                </a:path>
              </a:pathLst>
            </a:custGeom>
            <a:solidFill>
              <a:srgbClr val="0093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2" name="Skupina 1061">
            <a:extLst>
              <a:ext uri="{FF2B5EF4-FFF2-40B4-BE49-F238E27FC236}">
                <a16:creationId xmlns:a16="http://schemas.microsoft.com/office/drawing/2014/main" id="{A42A0414-D3E2-E604-DBB5-CBD2EE97453E}"/>
              </a:ext>
            </a:extLst>
          </p:cNvPr>
          <p:cNvGrpSpPr/>
          <p:nvPr/>
        </p:nvGrpSpPr>
        <p:grpSpPr>
          <a:xfrm>
            <a:off x="10363200" y="785813"/>
            <a:ext cx="1371600" cy="536575"/>
            <a:chOff x="10363200" y="785813"/>
            <a:chExt cx="1371600" cy="536575"/>
          </a:xfrm>
        </p:grpSpPr>
        <p:sp>
          <p:nvSpPr>
            <p:cNvPr id="31" name="Freeform 28">
              <a:extLst>
                <a:ext uri="{FF2B5EF4-FFF2-40B4-BE49-F238E27FC236}">
                  <a16:creationId xmlns:a16="http://schemas.microsoft.com/office/drawing/2014/main" id="{02EE8710-E01C-B596-38DD-9695069147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90250" y="879475"/>
              <a:ext cx="844550" cy="401638"/>
            </a:xfrm>
            <a:custGeom>
              <a:avLst/>
              <a:gdLst>
                <a:gd name="T0" fmla="*/ 950 w 1597"/>
                <a:gd name="T1" fmla="*/ 308 h 758"/>
                <a:gd name="T2" fmla="*/ 827 w 1597"/>
                <a:gd name="T3" fmla="*/ 308 h 758"/>
                <a:gd name="T4" fmla="*/ 707 w 1597"/>
                <a:gd name="T5" fmla="*/ 297 h 758"/>
                <a:gd name="T6" fmla="*/ 660 w 1597"/>
                <a:gd name="T7" fmla="*/ 309 h 758"/>
                <a:gd name="T8" fmla="*/ 688 w 1597"/>
                <a:gd name="T9" fmla="*/ 510 h 758"/>
                <a:gd name="T10" fmla="*/ 713 w 1597"/>
                <a:gd name="T11" fmla="*/ 473 h 758"/>
                <a:gd name="T12" fmla="*/ 727 w 1597"/>
                <a:gd name="T13" fmla="*/ 506 h 758"/>
                <a:gd name="T14" fmla="*/ 765 w 1597"/>
                <a:gd name="T15" fmla="*/ 359 h 758"/>
                <a:gd name="T16" fmla="*/ 599 w 1597"/>
                <a:gd name="T17" fmla="*/ 308 h 758"/>
                <a:gd name="T18" fmla="*/ 418 w 1597"/>
                <a:gd name="T19" fmla="*/ 507 h 758"/>
                <a:gd name="T20" fmla="*/ 350 w 1597"/>
                <a:gd name="T21" fmla="*/ 473 h 758"/>
                <a:gd name="T22" fmla="*/ 170 w 1597"/>
                <a:gd name="T23" fmla="*/ 308 h 758"/>
                <a:gd name="T24" fmla="*/ 97 w 1597"/>
                <a:gd name="T25" fmla="*/ 471 h 758"/>
                <a:gd name="T26" fmla="*/ 20 w 1597"/>
                <a:gd name="T27" fmla="*/ 389 h 758"/>
                <a:gd name="T28" fmla="*/ 61 w 1597"/>
                <a:gd name="T29" fmla="*/ 339 h 758"/>
                <a:gd name="T30" fmla="*/ 117 w 1597"/>
                <a:gd name="T31" fmla="*/ 411 h 758"/>
                <a:gd name="T32" fmla="*/ 45 w 1597"/>
                <a:gd name="T33" fmla="*/ 454 h 758"/>
                <a:gd name="T34" fmla="*/ 10 w 1597"/>
                <a:gd name="T35" fmla="*/ 484 h 758"/>
                <a:gd name="T36" fmla="*/ 85 w 1597"/>
                <a:gd name="T37" fmla="*/ 339 h 758"/>
                <a:gd name="T38" fmla="*/ 386 w 1597"/>
                <a:gd name="T39" fmla="*/ 244 h 758"/>
                <a:gd name="T40" fmla="*/ 295 w 1597"/>
                <a:gd name="T41" fmla="*/ 61 h 758"/>
                <a:gd name="T42" fmla="*/ 207 w 1597"/>
                <a:gd name="T43" fmla="*/ 114 h 758"/>
                <a:gd name="T44" fmla="*/ 189 w 1597"/>
                <a:gd name="T45" fmla="*/ 193 h 758"/>
                <a:gd name="T46" fmla="*/ 46 w 1597"/>
                <a:gd name="T47" fmla="*/ 101 h 758"/>
                <a:gd name="T48" fmla="*/ 1387 w 1597"/>
                <a:gd name="T49" fmla="*/ 708 h 758"/>
                <a:gd name="T50" fmla="*/ 1339 w 1597"/>
                <a:gd name="T51" fmla="*/ 718 h 758"/>
                <a:gd name="T52" fmla="*/ 1251 w 1597"/>
                <a:gd name="T53" fmla="*/ 628 h 758"/>
                <a:gd name="T54" fmla="*/ 1295 w 1597"/>
                <a:gd name="T55" fmla="*/ 590 h 758"/>
                <a:gd name="T56" fmla="*/ 1359 w 1597"/>
                <a:gd name="T57" fmla="*/ 661 h 758"/>
                <a:gd name="T58" fmla="*/ 1286 w 1597"/>
                <a:gd name="T59" fmla="*/ 708 h 758"/>
                <a:gd name="T60" fmla="*/ 1244 w 1597"/>
                <a:gd name="T61" fmla="*/ 723 h 758"/>
                <a:gd name="T62" fmla="*/ 1319 w 1597"/>
                <a:gd name="T63" fmla="*/ 586 h 758"/>
                <a:gd name="T64" fmla="*/ 1218 w 1597"/>
                <a:gd name="T65" fmla="*/ 593 h 758"/>
                <a:gd name="T66" fmla="*/ 1174 w 1597"/>
                <a:gd name="T67" fmla="*/ 707 h 758"/>
                <a:gd name="T68" fmla="*/ 1220 w 1597"/>
                <a:gd name="T69" fmla="*/ 701 h 758"/>
                <a:gd name="T70" fmla="*/ 1138 w 1597"/>
                <a:gd name="T71" fmla="*/ 586 h 758"/>
                <a:gd name="T72" fmla="*/ 1097 w 1597"/>
                <a:gd name="T73" fmla="*/ 743 h 758"/>
                <a:gd name="T74" fmla="*/ 903 w 1597"/>
                <a:gd name="T75" fmla="*/ 556 h 758"/>
                <a:gd name="T76" fmla="*/ 860 w 1597"/>
                <a:gd name="T77" fmla="*/ 516 h 758"/>
                <a:gd name="T78" fmla="*/ 765 w 1597"/>
                <a:gd name="T79" fmla="*/ 560 h 758"/>
                <a:gd name="T80" fmla="*/ 804 w 1597"/>
                <a:gd name="T81" fmla="*/ 727 h 758"/>
                <a:gd name="T82" fmla="*/ 822 w 1597"/>
                <a:gd name="T83" fmla="*/ 725 h 758"/>
                <a:gd name="T84" fmla="*/ 854 w 1597"/>
                <a:gd name="T85" fmla="*/ 750 h 758"/>
                <a:gd name="T86" fmla="*/ 880 w 1597"/>
                <a:gd name="T87" fmla="*/ 595 h 758"/>
                <a:gd name="T88" fmla="*/ 814 w 1597"/>
                <a:gd name="T89" fmla="*/ 552 h 758"/>
                <a:gd name="T90" fmla="*/ 661 w 1597"/>
                <a:gd name="T91" fmla="*/ 556 h 758"/>
                <a:gd name="T92" fmla="*/ 523 w 1597"/>
                <a:gd name="T93" fmla="*/ 636 h 758"/>
                <a:gd name="T94" fmla="*/ 536 w 1597"/>
                <a:gd name="T95" fmla="*/ 593 h 758"/>
                <a:gd name="T96" fmla="*/ 590 w 1597"/>
                <a:gd name="T97" fmla="*/ 596 h 758"/>
                <a:gd name="T98" fmla="*/ 454 w 1597"/>
                <a:gd name="T99" fmla="*/ 556 h 758"/>
                <a:gd name="T100" fmla="*/ 301 w 1597"/>
                <a:gd name="T101" fmla="*/ 720 h 758"/>
                <a:gd name="T102" fmla="*/ 216 w 1597"/>
                <a:gd name="T103" fmla="*/ 556 h 758"/>
                <a:gd name="T104" fmla="*/ 282 w 1597"/>
                <a:gd name="T105" fmla="*/ 589 h 758"/>
                <a:gd name="T106" fmla="*/ 89 w 1597"/>
                <a:gd name="T107" fmla="*/ 633 h 758"/>
                <a:gd name="T108" fmla="*/ 76 w 1597"/>
                <a:gd name="T109" fmla="*/ 589 h 758"/>
                <a:gd name="T110" fmla="*/ 143 w 1597"/>
                <a:gd name="T111" fmla="*/ 626 h 758"/>
                <a:gd name="T112" fmla="*/ 147 w 1597"/>
                <a:gd name="T113" fmla="*/ 691 h 758"/>
                <a:gd name="T114" fmla="*/ 82 w 1597"/>
                <a:gd name="T115" fmla="*/ 721 h 758"/>
                <a:gd name="T116" fmla="*/ 86 w 1597"/>
                <a:gd name="T117" fmla="*/ 671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7" h="758">
                  <a:moveTo>
                    <a:pt x="982" y="297"/>
                  </a:moveTo>
                  <a:lnTo>
                    <a:pt x="953" y="297"/>
                  </a:lnTo>
                  <a:lnTo>
                    <a:pt x="976" y="267"/>
                  </a:lnTo>
                  <a:lnTo>
                    <a:pt x="1028" y="267"/>
                  </a:lnTo>
                  <a:lnTo>
                    <a:pt x="982" y="297"/>
                  </a:lnTo>
                  <a:close/>
                  <a:moveTo>
                    <a:pt x="1597" y="754"/>
                  </a:moveTo>
                  <a:lnTo>
                    <a:pt x="1597" y="556"/>
                  </a:lnTo>
                  <a:lnTo>
                    <a:pt x="1551" y="556"/>
                  </a:lnTo>
                  <a:lnTo>
                    <a:pt x="1551" y="556"/>
                  </a:lnTo>
                  <a:lnTo>
                    <a:pt x="1551" y="754"/>
                  </a:lnTo>
                  <a:lnTo>
                    <a:pt x="1597" y="754"/>
                  </a:lnTo>
                  <a:close/>
                  <a:moveTo>
                    <a:pt x="950" y="308"/>
                  </a:moveTo>
                  <a:lnTo>
                    <a:pt x="950" y="308"/>
                  </a:lnTo>
                  <a:lnTo>
                    <a:pt x="998" y="308"/>
                  </a:lnTo>
                  <a:lnTo>
                    <a:pt x="998" y="507"/>
                  </a:lnTo>
                  <a:lnTo>
                    <a:pt x="950" y="507"/>
                  </a:lnTo>
                  <a:lnTo>
                    <a:pt x="950" y="308"/>
                  </a:lnTo>
                  <a:close/>
                  <a:moveTo>
                    <a:pt x="889" y="308"/>
                  </a:moveTo>
                  <a:lnTo>
                    <a:pt x="889" y="308"/>
                  </a:lnTo>
                  <a:lnTo>
                    <a:pt x="932" y="308"/>
                  </a:lnTo>
                  <a:lnTo>
                    <a:pt x="932" y="507"/>
                  </a:lnTo>
                  <a:lnTo>
                    <a:pt x="889" y="507"/>
                  </a:lnTo>
                  <a:lnTo>
                    <a:pt x="889" y="308"/>
                  </a:lnTo>
                  <a:close/>
                  <a:moveTo>
                    <a:pt x="785" y="308"/>
                  </a:moveTo>
                  <a:lnTo>
                    <a:pt x="785" y="308"/>
                  </a:lnTo>
                  <a:lnTo>
                    <a:pt x="827" y="308"/>
                  </a:lnTo>
                  <a:lnTo>
                    <a:pt x="827" y="507"/>
                  </a:lnTo>
                  <a:lnTo>
                    <a:pt x="785" y="507"/>
                  </a:lnTo>
                  <a:lnTo>
                    <a:pt x="785" y="308"/>
                  </a:lnTo>
                  <a:close/>
                  <a:moveTo>
                    <a:pt x="883" y="425"/>
                  </a:moveTo>
                  <a:lnTo>
                    <a:pt x="883" y="425"/>
                  </a:lnTo>
                  <a:lnTo>
                    <a:pt x="883" y="493"/>
                  </a:lnTo>
                  <a:lnTo>
                    <a:pt x="832" y="392"/>
                  </a:lnTo>
                  <a:lnTo>
                    <a:pt x="832" y="323"/>
                  </a:lnTo>
                  <a:lnTo>
                    <a:pt x="883" y="425"/>
                  </a:lnTo>
                  <a:close/>
                  <a:moveTo>
                    <a:pt x="707" y="267"/>
                  </a:moveTo>
                  <a:lnTo>
                    <a:pt x="707" y="267"/>
                  </a:lnTo>
                  <a:lnTo>
                    <a:pt x="745" y="267"/>
                  </a:lnTo>
                  <a:lnTo>
                    <a:pt x="707" y="297"/>
                  </a:lnTo>
                  <a:lnTo>
                    <a:pt x="678" y="297"/>
                  </a:lnTo>
                  <a:lnTo>
                    <a:pt x="641" y="267"/>
                  </a:lnTo>
                  <a:lnTo>
                    <a:pt x="680" y="267"/>
                  </a:lnTo>
                  <a:lnTo>
                    <a:pt x="693" y="280"/>
                  </a:lnTo>
                  <a:lnTo>
                    <a:pt x="707" y="267"/>
                  </a:lnTo>
                  <a:close/>
                  <a:moveTo>
                    <a:pt x="624" y="358"/>
                  </a:moveTo>
                  <a:lnTo>
                    <a:pt x="624" y="358"/>
                  </a:lnTo>
                  <a:lnTo>
                    <a:pt x="625" y="346"/>
                  </a:lnTo>
                  <a:lnTo>
                    <a:pt x="628" y="335"/>
                  </a:lnTo>
                  <a:lnTo>
                    <a:pt x="632" y="326"/>
                  </a:lnTo>
                  <a:lnTo>
                    <a:pt x="639" y="319"/>
                  </a:lnTo>
                  <a:lnTo>
                    <a:pt x="649" y="313"/>
                  </a:lnTo>
                  <a:lnTo>
                    <a:pt x="660" y="309"/>
                  </a:lnTo>
                  <a:lnTo>
                    <a:pt x="673" y="305"/>
                  </a:lnTo>
                  <a:lnTo>
                    <a:pt x="688" y="303"/>
                  </a:lnTo>
                  <a:lnTo>
                    <a:pt x="688" y="336"/>
                  </a:lnTo>
                  <a:lnTo>
                    <a:pt x="681" y="339"/>
                  </a:lnTo>
                  <a:lnTo>
                    <a:pt x="675" y="342"/>
                  </a:lnTo>
                  <a:lnTo>
                    <a:pt x="671" y="348"/>
                  </a:lnTo>
                  <a:lnTo>
                    <a:pt x="670" y="356"/>
                  </a:lnTo>
                  <a:lnTo>
                    <a:pt x="670" y="460"/>
                  </a:lnTo>
                  <a:lnTo>
                    <a:pt x="671" y="467"/>
                  </a:lnTo>
                  <a:lnTo>
                    <a:pt x="675" y="473"/>
                  </a:lnTo>
                  <a:lnTo>
                    <a:pt x="681" y="477"/>
                  </a:lnTo>
                  <a:lnTo>
                    <a:pt x="688" y="478"/>
                  </a:lnTo>
                  <a:lnTo>
                    <a:pt x="688" y="510"/>
                  </a:lnTo>
                  <a:lnTo>
                    <a:pt x="673" y="509"/>
                  </a:lnTo>
                  <a:lnTo>
                    <a:pt x="660" y="506"/>
                  </a:lnTo>
                  <a:lnTo>
                    <a:pt x="648" y="501"/>
                  </a:lnTo>
                  <a:lnTo>
                    <a:pt x="639" y="494"/>
                  </a:lnTo>
                  <a:lnTo>
                    <a:pt x="632" y="487"/>
                  </a:lnTo>
                  <a:lnTo>
                    <a:pt x="628" y="477"/>
                  </a:lnTo>
                  <a:lnTo>
                    <a:pt x="625" y="465"/>
                  </a:lnTo>
                  <a:lnTo>
                    <a:pt x="624" y="453"/>
                  </a:lnTo>
                  <a:lnTo>
                    <a:pt x="624" y="358"/>
                  </a:lnTo>
                  <a:close/>
                  <a:moveTo>
                    <a:pt x="697" y="478"/>
                  </a:moveTo>
                  <a:lnTo>
                    <a:pt x="697" y="478"/>
                  </a:lnTo>
                  <a:lnTo>
                    <a:pt x="707" y="477"/>
                  </a:lnTo>
                  <a:lnTo>
                    <a:pt x="713" y="473"/>
                  </a:lnTo>
                  <a:lnTo>
                    <a:pt x="714" y="470"/>
                  </a:lnTo>
                  <a:lnTo>
                    <a:pt x="717" y="467"/>
                  </a:lnTo>
                  <a:lnTo>
                    <a:pt x="717" y="464"/>
                  </a:lnTo>
                  <a:lnTo>
                    <a:pt x="717" y="460"/>
                  </a:lnTo>
                  <a:lnTo>
                    <a:pt x="717" y="432"/>
                  </a:lnTo>
                  <a:lnTo>
                    <a:pt x="765" y="432"/>
                  </a:lnTo>
                  <a:lnTo>
                    <a:pt x="765" y="453"/>
                  </a:lnTo>
                  <a:lnTo>
                    <a:pt x="765" y="465"/>
                  </a:lnTo>
                  <a:lnTo>
                    <a:pt x="760" y="477"/>
                  </a:lnTo>
                  <a:lnTo>
                    <a:pt x="756" y="487"/>
                  </a:lnTo>
                  <a:lnTo>
                    <a:pt x="749" y="496"/>
                  </a:lnTo>
                  <a:lnTo>
                    <a:pt x="739" y="501"/>
                  </a:lnTo>
                  <a:lnTo>
                    <a:pt x="727" y="506"/>
                  </a:lnTo>
                  <a:lnTo>
                    <a:pt x="713" y="509"/>
                  </a:lnTo>
                  <a:lnTo>
                    <a:pt x="697" y="510"/>
                  </a:lnTo>
                  <a:lnTo>
                    <a:pt x="697" y="478"/>
                  </a:lnTo>
                  <a:close/>
                  <a:moveTo>
                    <a:pt x="697" y="303"/>
                  </a:moveTo>
                  <a:lnTo>
                    <a:pt x="697" y="303"/>
                  </a:lnTo>
                  <a:lnTo>
                    <a:pt x="714" y="305"/>
                  </a:lnTo>
                  <a:lnTo>
                    <a:pt x="727" y="308"/>
                  </a:lnTo>
                  <a:lnTo>
                    <a:pt x="739" y="312"/>
                  </a:lnTo>
                  <a:lnTo>
                    <a:pt x="749" y="318"/>
                  </a:lnTo>
                  <a:lnTo>
                    <a:pt x="756" y="325"/>
                  </a:lnTo>
                  <a:lnTo>
                    <a:pt x="760" y="335"/>
                  </a:lnTo>
                  <a:lnTo>
                    <a:pt x="765" y="346"/>
                  </a:lnTo>
                  <a:lnTo>
                    <a:pt x="765" y="359"/>
                  </a:lnTo>
                  <a:lnTo>
                    <a:pt x="765" y="378"/>
                  </a:lnTo>
                  <a:lnTo>
                    <a:pt x="717" y="378"/>
                  </a:lnTo>
                  <a:lnTo>
                    <a:pt x="717" y="356"/>
                  </a:lnTo>
                  <a:lnTo>
                    <a:pt x="717" y="352"/>
                  </a:lnTo>
                  <a:lnTo>
                    <a:pt x="717" y="348"/>
                  </a:lnTo>
                  <a:lnTo>
                    <a:pt x="714" y="345"/>
                  </a:lnTo>
                  <a:lnTo>
                    <a:pt x="713" y="342"/>
                  </a:lnTo>
                  <a:lnTo>
                    <a:pt x="707" y="338"/>
                  </a:lnTo>
                  <a:lnTo>
                    <a:pt x="697" y="336"/>
                  </a:lnTo>
                  <a:lnTo>
                    <a:pt x="697" y="303"/>
                  </a:lnTo>
                  <a:close/>
                  <a:moveTo>
                    <a:pt x="552" y="308"/>
                  </a:moveTo>
                  <a:lnTo>
                    <a:pt x="552" y="308"/>
                  </a:lnTo>
                  <a:lnTo>
                    <a:pt x="599" y="308"/>
                  </a:lnTo>
                  <a:lnTo>
                    <a:pt x="599" y="507"/>
                  </a:lnTo>
                  <a:lnTo>
                    <a:pt x="552" y="507"/>
                  </a:lnTo>
                  <a:lnTo>
                    <a:pt x="552" y="308"/>
                  </a:lnTo>
                  <a:close/>
                  <a:moveTo>
                    <a:pt x="480" y="308"/>
                  </a:moveTo>
                  <a:lnTo>
                    <a:pt x="480" y="308"/>
                  </a:lnTo>
                  <a:lnTo>
                    <a:pt x="523" y="308"/>
                  </a:lnTo>
                  <a:lnTo>
                    <a:pt x="523" y="507"/>
                  </a:lnTo>
                  <a:lnTo>
                    <a:pt x="480" y="507"/>
                  </a:lnTo>
                  <a:lnTo>
                    <a:pt x="480" y="308"/>
                  </a:lnTo>
                  <a:close/>
                  <a:moveTo>
                    <a:pt x="376" y="308"/>
                  </a:moveTo>
                  <a:lnTo>
                    <a:pt x="376" y="308"/>
                  </a:lnTo>
                  <a:lnTo>
                    <a:pt x="418" y="308"/>
                  </a:lnTo>
                  <a:lnTo>
                    <a:pt x="418" y="507"/>
                  </a:lnTo>
                  <a:lnTo>
                    <a:pt x="376" y="507"/>
                  </a:lnTo>
                  <a:lnTo>
                    <a:pt x="376" y="308"/>
                  </a:lnTo>
                  <a:close/>
                  <a:moveTo>
                    <a:pt x="474" y="425"/>
                  </a:moveTo>
                  <a:lnTo>
                    <a:pt x="474" y="425"/>
                  </a:lnTo>
                  <a:lnTo>
                    <a:pt x="474" y="493"/>
                  </a:lnTo>
                  <a:lnTo>
                    <a:pt x="423" y="392"/>
                  </a:lnTo>
                  <a:lnTo>
                    <a:pt x="423" y="323"/>
                  </a:lnTo>
                  <a:lnTo>
                    <a:pt x="474" y="425"/>
                  </a:lnTo>
                  <a:close/>
                  <a:moveTo>
                    <a:pt x="350" y="507"/>
                  </a:moveTo>
                  <a:lnTo>
                    <a:pt x="350" y="507"/>
                  </a:lnTo>
                  <a:lnTo>
                    <a:pt x="297" y="507"/>
                  </a:lnTo>
                  <a:lnTo>
                    <a:pt x="297" y="473"/>
                  </a:lnTo>
                  <a:lnTo>
                    <a:pt x="350" y="473"/>
                  </a:lnTo>
                  <a:lnTo>
                    <a:pt x="350" y="507"/>
                  </a:lnTo>
                  <a:close/>
                  <a:moveTo>
                    <a:pt x="242" y="308"/>
                  </a:moveTo>
                  <a:lnTo>
                    <a:pt x="242" y="308"/>
                  </a:lnTo>
                  <a:lnTo>
                    <a:pt x="288" y="308"/>
                  </a:lnTo>
                  <a:lnTo>
                    <a:pt x="288" y="507"/>
                  </a:lnTo>
                  <a:lnTo>
                    <a:pt x="242" y="507"/>
                  </a:lnTo>
                  <a:lnTo>
                    <a:pt x="242" y="308"/>
                  </a:lnTo>
                  <a:close/>
                  <a:moveTo>
                    <a:pt x="170" y="308"/>
                  </a:moveTo>
                  <a:lnTo>
                    <a:pt x="170" y="308"/>
                  </a:lnTo>
                  <a:lnTo>
                    <a:pt x="217" y="308"/>
                  </a:lnTo>
                  <a:lnTo>
                    <a:pt x="217" y="507"/>
                  </a:lnTo>
                  <a:lnTo>
                    <a:pt x="170" y="507"/>
                  </a:lnTo>
                  <a:lnTo>
                    <a:pt x="170" y="308"/>
                  </a:lnTo>
                  <a:close/>
                  <a:moveTo>
                    <a:pt x="148" y="460"/>
                  </a:moveTo>
                  <a:lnTo>
                    <a:pt x="148" y="460"/>
                  </a:lnTo>
                  <a:lnTo>
                    <a:pt x="147" y="471"/>
                  </a:lnTo>
                  <a:lnTo>
                    <a:pt x="144" y="481"/>
                  </a:lnTo>
                  <a:lnTo>
                    <a:pt x="138" y="490"/>
                  </a:lnTo>
                  <a:lnTo>
                    <a:pt x="131" y="497"/>
                  </a:lnTo>
                  <a:lnTo>
                    <a:pt x="121" y="503"/>
                  </a:lnTo>
                  <a:lnTo>
                    <a:pt x="109" y="507"/>
                  </a:lnTo>
                  <a:lnTo>
                    <a:pt x="97" y="510"/>
                  </a:lnTo>
                  <a:lnTo>
                    <a:pt x="81" y="510"/>
                  </a:lnTo>
                  <a:lnTo>
                    <a:pt x="81" y="477"/>
                  </a:lnTo>
                  <a:lnTo>
                    <a:pt x="91" y="476"/>
                  </a:lnTo>
                  <a:lnTo>
                    <a:pt x="97" y="471"/>
                  </a:lnTo>
                  <a:lnTo>
                    <a:pt x="99" y="470"/>
                  </a:lnTo>
                  <a:lnTo>
                    <a:pt x="101" y="467"/>
                  </a:lnTo>
                  <a:lnTo>
                    <a:pt x="102" y="464"/>
                  </a:lnTo>
                  <a:lnTo>
                    <a:pt x="102" y="461"/>
                  </a:lnTo>
                  <a:lnTo>
                    <a:pt x="101" y="455"/>
                  </a:lnTo>
                  <a:lnTo>
                    <a:pt x="99" y="451"/>
                  </a:lnTo>
                  <a:lnTo>
                    <a:pt x="95" y="447"/>
                  </a:lnTo>
                  <a:lnTo>
                    <a:pt x="91" y="443"/>
                  </a:lnTo>
                  <a:lnTo>
                    <a:pt x="75" y="430"/>
                  </a:lnTo>
                  <a:lnTo>
                    <a:pt x="59" y="418"/>
                  </a:lnTo>
                  <a:lnTo>
                    <a:pt x="43" y="408"/>
                  </a:lnTo>
                  <a:lnTo>
                    <a:pt x="29" y="398"/>
                  </a:lnTo>
                  <a:lnTo>
                    <a:pt x="20" y="389"/>
                  </a:lnTo>
                  <a:lnTo>
                    <a:pt x="13" y="379"/>
                  </a:lnTo>
                  <a:lnTo>
                    <a:pt x="7" y="368"/>
                  </a:lnTo>
                  <a:lnTo>
                    <a:pt x="4" y="356"/>
                  </a:lnTo>
                  <a:lnTo>
                    <a:pt x="6" y="345"/>
                  </a:lnTo>
                  <a:lnTo>
                    <a:pt x="9" y="333"/>
                  </a:lnTo>
                  <a:lnTo>
                    <a:pt x="13" y="326"/>
                  </a:lnTo>
                  <a:lnTo>
                    <a:pt x="20" y="319"/>
                  </a:lnTo>
                  <a:lnTo>
                    <a:pt x="30" y="313"/>
                  </a:lnTo>
                  <a:lnTo>
                    <a:pt x="40" y="309"/>
                  </a:lnTo>
                  <a:lnTo>
                    <a:pt x="53" y="306"/>
                  </a:lnTo>
                  <a:lnTo>
                    <a:pt x="69" y="305"/>
                  </a:lnTo>
                  <a:lnTo>
                    <a:pt x="69" y="338"/>
                  </a:lnTo>
                  <a:lnTo>
                    <a:pt x="61" y="339"/>
                  </a:lnTo>
                  <a:lnTo>
                    <a:pt x="55" y="342"/>
                  </a:lnTo>
                  <a:lnTo>
                    <a:pt x="52" y="348"/>
                  </a:lnTo>
                  <a:lnTo>
                    <a:pt x="50" y="353"/>
                  </a:lnTo>
                  <a:lnTo>
                    <a:pt x="50" y="358"/>
                  </a:lnTo>
                  <a:lnTo>
                    <a:pt x="50" y="364"/>
                  </a:lnTo>
                  <a:lnTo>
                    <a:pt x="53" y="366"/>
                  </a:lnTo>
                  <a:lnTo>
                    <a:pt x="56" y="369"/>
                  </a:lnTo>
                  <a:lnTo>
                    <a:pt x="73" y="381"/>
                  </a:lnTo>
                  <a:lnTo>
                    <a:pt x="86" y="391"/>
                  </a:lnTo>
                  <a:lnTo>
                    <a:pt x="98" y="398"/>
                  </a:lnTo>
                  <a:lnTo>
                    <a:pt x="107" y="404"/>
                  </a:lnTo>
                  <a:lnTo>
                    <a:pt x="112" y="408"/>
                  </a:lnTo>
                  <a:lnTo>
                    <a:pt x="117" y="411"/>
                  </a:lnTo>
                  <a:lnTo>
                    <a:pt x="120" y="414"/>
                  </a:lnTo>
                  <a:lnTo>
                    <a:pt x="121" y="414"/>
                  </a:lnTo>
                  <a:lnTo>
                    <a:pt x="128" y="420"/>
                  </a:lnTo>
                  <a:lnTo>
                    <a:pt x="133" y="424"/>
                  </a:lnTo>
                  <a:lnTo>
                    <a:pt x="137" y="430"/>
                  </a:lnTo>
                  <a:lnTo>
                    <a:pt x="141" y="435"/>
                  </a:lnTo>
                  <a:lnTo>
                    <a:pt x="144" y="441"/>
                  </a:lnTo>
                  <a:lnTo>
                    <a:pt x="145" y="447"/>
                  </a:lnTo>
                  <a:lnTo>
                    <a:pt x="147" y="454"/>
                  </a:lnTo>
                  <a:lnTo>
                    <a:pt x="148" y="460"/>
                  </a:lnTo>
                  <a:close/>
                  <a:moveTo>
                    <a:pt x="45" y="448"/>
                  </a:moveTo>
                  <a:lnTo>
                    <a:pt x="45" y="448"/>
                  </a:lnTo>
                  <a:lnTo>
                    <a:pt x="45" y="454"/>
                  </a:lnTo>
                  <a:lnTo>
                    <a:pt x="46" y="460"/>
                  </a:lnTo>
                  <a:lnTo>
                    <a:pt x="48" y="464"/>
                  </a:lnTo>
                  <a:lnTo>
                    <a:pt x="50" y="468"/>
                  </a:lnTo>
                  <a:lnTo>
                    <a:pt x="55" y="471"/>
                  </a:lnTo>
                  <a:lnTo>
                    <a:pt x="59" y="474"/>
                  </a:lnTo>
                  <a:lnTo>
                    <a:pt x="63" y="476"/>
                  </a:lnTo>
                  <a:lnTo>
                    <a:pt x="69" y="477"/>
                  </a:lnTo>
                  <a:lnTo>
                    <a:pt x="69" y="510"/>
                  </a:lnTo>
                  <a:lnTo>
                    <a:pt x="53" y="509"/>
                  </a:lnTo>
                  <a:lnTo>
                    <a:pt x="39" y="506"/>
                  </a:lnTo>
                  <a:lnTo>
                    <a:pt x="27" y="500"/>
                  </a:lnTo>
                  <a:lnTo>
                    <a:pt x="17" y="494"/>
                  </a:lnTo>
                  <a:lnTo>
                    <a:pt x="10" y="484"/>
                  </a:lnTo>
                  <a:lnTo>
                    <a:pt x="4" y="474"/>
                  </a:lnTo>
                  <a:lnTo>
                    <a:pt x="1" y="463"/>
                  </a:lnTo>
                  <a:lnTo>
                    <a:pt x="0" y="448"/>
                  </a:lnTo>
                  <a:lnTo>
                    <a:pt x="45" y="448"/>
                  </a:lnTo>
                  <a:close/>
                  <a:moveTo>
                    <a:pt x="99" y="362"/>
                  </a:moveTo>
                  <a:lnTo>
                    <a:pt x="99" y="362"/>
                  </a:lnTo>
                  <a:lnTo>
                    <a:pt x="99" y="356"/>
                  </a:lnTo>
                  <a:lnTo>
                    <a:pt x="99" y="352"/>
                  </a:lnTo>
                  <a:lnTo>
                    <a:pt x="97" y="349"/>
                  </a:lnTo>
                  <a:lnTo>
                    <a:pt x="95" y="345"/>
                  </a:lnTo>
                  <a:lnTo>
                    <a:pt x="92" y="343"/>
                  </a:lnTo>
                  <a:lnTo>
                    <a:pt x="89" y="341"/>
                  </a:lnTo>
                  <a:lnTo>
                    <a:pt x="85" y="339"/>
                  </a:lnTo>
                  <a:lnTo>
                    <a:pt x="81" y="338"/>
                  </a:lnTo>
                  <a:lnTo>
                    <a:pt x="81" y="305"/>
                  </a:lnTo>
                  <a:lnTo>
                    <a:pt x="97" y="306"/>
                  </a:lnTo>
                  <a:lnTo>
                    <a:pt x="109" y="309"/>
                  </a:lnTo>
                  <a:lnTo>
                    <a:pt x="121" y="313"/>
                  </a:lnTo>
                  <a:lnTo>
                    <a:pt x="130" y="320"/>
                  </a:lnTo>
                  <a:lnTo>
                    <a:pt x="137" y="328"/>
                  </a:lnTo>
                  <a:lnTo>
                    <a:pt x="143" y="338"/>
                  </a:lnTo>
                  <a:lnTo>
                    <a:pt x="145" y="349"/>
                  </a:lnTo>
                  <a:lnTo>
                    <a:pt x="147" y="362"/>
                  </a:lnTo>
                  <a:lnTo>
                    <a:pt x="99" y="362"/>
                  </a:lnTo>
                  <a:close/>
                  <a:moveTo>
                    <a:pt x="386" y="244"/>
                  </a:moveTo>
                  <a:lnTo>
                    <a:pt x="386" y="244"/>
                  </a:lnTo>
                  <a:lnTo>
                    <a:pt x="344" y="145"/>
                  </a:lnTo>
                  <a:lnTo>
                    <a:pt x="344" y="76"/>
                  </a:lnTo>
                  <a:lnTo>
                    <a:pt x="386" y="177"/>
                  </a:lnTo>
                  <a:lnTo>
                    <a:pt x="428" y="76"/>
                  </a:lnTo>
                  <a:lnTo>
                    <a:pt x="428" y="145"/>
                  </a:lnTo>
                  <a:lnTo>
                    <a:pt x="386" y="244"/>
                  </a:lnTo>
                  <a:close/>
                  <a:moveTo>
                    <a:pt x="433" y="61"/>
                  </a:moveTo>
                  <a:lnTo>
                    <a:pt x="433" y="61"/>
                  </a:lnTo>
                  <a:lnTo>
                    <a:pt x="477" y="61"/>
                  </a:lnTo>
                  <a:lnTo>
                    <a:pt x="477" y="259"/>
                  </a:lnTo>
                  <a:lnTo>
                    <a:pt x="433" y="259"/>
                  </a:lnTo>
                  <a:lnTo>
                    <a:pt x="433" y="61"/>
                  </a:lnTo>
                  <a:close/>
                  <a:moveTo>
                    <a:pt x="295" y="61"/>
                  </a:moveTo>
                  <a:lnTo>
                    <a:pt x="295" y="61"/>
                  </a:lnTo>
                  <a:lnTo>
                    <a:pt x="338" y="61"/>
                  </a:lnTo>
                  <a:lnTo>
                    <a:pt x="338" y="259"/>
                  </a:lnTo>
                  <a:lnTo>
                    <a:pt x="295" y="259"/>
                  </a:lnTo>
                  <a:lnTo>
                    <a:pt x="295" y="61"/>
                  </a:lnTo>
                  <a:close/>
                  <a:moveTo>
                    <a:pt x="199" y="38"/>
                  </a:moveTo>
                  <a:lnTo>
                    <a:pt x="199" y="38"/>
                  </a:lnTo>
                  <a:lnTo>
                    <a:pt x="228" y="38"/>
                  </a:lnTo>
                  <a:lnTo>
                    <a:pt x="274" y="0"/>
                  </a:lnTo>
                  <a:lnTo>
                    <a:pt x="225" y="0"/>
                  </a:lnTo>
                  <a:lnTo>
                    <a:pt x="199" y="38"/>
                  </a:lnTo>
                  <a:close/>
                  <a:moveTo>
                    <a:pt x="207" y="114"/>
                  </a:moveTo>
                  <a:lnTo>
                    <a:pt x="207" y="114"/>
                  </a:lnTo>
                  <a:lnTo>
                    <a:pt x="189" y="61"/>
                  </a:lnTo>
                  <a:lnTo>
                    <a:pt x="141" y="61"/>
                  </a:lnTo>
                  <a:lnTo>
                    <a:pt x="187" y="171"/>
                  </a:lnTo>
                  <a:lnTo>
                    <a:pt x="207" y="114"/>
                  </a:lnTo>
                  <a:close/>
                  <a:moveTo>
                    <a:pt x="189" y="259"/>
                  </a:moveTo>
                  <a:lnTo>
                    <a:pt x="189" y="259"/>
                  </a:lnTo>
                  <a:lnTo>
                    <a:pt x="235" y="259"/>
                  </a:lnTo>
                  <a:lnTo>
                    <a:pt x="235" y="175"/>
                  </a:lnTo>
                  <a:lnTo>
                    <a:pt x="284" y="61"/>
                  </a:lnTo>
                  <a:lnTo>
                    <a:pt x="236" y="61"/>
                  </a:lnTo>
                  <a:lnTo>
                    <a:pt x="213" y="125"/>
                  </a:lnTo>
                  <a:lnTo>
                    <a:pt x="213" y="125"/>
                  </a:lnTo>
                  <a:lnTo>
                    <a:pt x="189" y="193"/>
                  </a:lnTo>
                  <a:lnTo>
                    <a:pt x="189" y="259"/>
                  </a:lnTo>
                  <a:close/>
                  <a:moveTo>
                    <a:pt x="7" y="61"/>
                  </a:moveTo>
                  <a:lnTo>
                    <a:pt x="7" y="61"/>
                  </a:lnTo>
                  <a:lnTo>
                    <a:pt x="133" y="61"/>
                  </a:lnTo>
                  <a:lnTo>
                    <a:pt x="133" y="95"/>
                  </a:lnTo>
                  <a:lnTo>
                    <a:pt x="7" y="95"/>
                  </a:lnTo>
                  <a:lnTo>
                    <a:pt x="7" y="61"/>
                  </a:lnTo>
                  <a:close/>
                  <a:moveTo>
                    <a:pt x="46" y="101"/>
                  </a:moveTo>
                  <a:lnTo>
                    <a:pt x="46" y="101"/>
                  </a:lnTo>
                  <a:lnTo>
                    <a:pt x="92" y="101"/>
                  </a:lnTo>
                  <a:lnTo>
                    <a:pt x="92" y="259"/>
                  </a:lnTo>
                  <a:lnTo>
                    <a:pt x="46" y="259"/>
                  </a:lnTo>
                  <a:lnTo>
                    <a:pt x="46" y="101"/>
                  </a:lnTo>
                  <a:close/>
                  <a:moveTo>
                    <a:pt x="1407" y="556"/>
                  </a:moveTo>
                  <a:lnTo>
                    <a:pt x="1407" y="556"/>
                  </a:lnTo>
                  <a:lnTo>
                    <a:pt x="1532" y="556"/>
                  </a:lnTo>
                  <a:lnTo>
                    <a:pt x="1532" y="592"/>
                  </a:lnTo>
                  <a:lnTo>
                    <a:pt x="1407" y="592"/>
                  </a:lnTo>
                  <a:lnTo>
                    <a:pt x="1407" y="556"/>
                  </a:lnTo>
                  <a:close/>
                  <a:moveTo>
                    <a:pt x="1447" y="598"/>
                  </a:moveTo>
                  <a:lnTo>
                    <a:pt x="1447" y="598"/>
                  </a:lnTo>
                  <a:lnTo>
                    <a:pt x="1492" y="598"/>
                  </a:lnTo>
                  <a:lnTo>
                    <a:pt x="1492" y="754"/>
                  </a:lnTo>
                  <a:lnTo>
                    <a:pt x="1447" y="754"/>
                  </a:lnTo>
                  <a:lnTo>
                    <a:pt x="1447" y="598"/>
                  </a:lnTo>
                  <a:close/>
                  <a:moveTo>
                    <a:pt x="1387" y="708"/>
                  </a:moveTo>
                  <a:lnTo>
                    <a:pt x="1387" y="708"/>
                  </a:lnTo>
                  <a:lnTo>
                    <a:pt x="1385" y="720"/>
                  </a:lnTo>
                  <a:lnTo>
                    <a:pt x="1382" y="730"/>
                  </a:lnTo>
                  <a:lnTo>
                    <a:pt x="1378" y="738"/>
                  </a:lnTo>
                  <a:lnTo>
                    <a:pt x="1371" y="746"/>
                  </a:lnTo>
                  <a:lnTo>
                    <a:pt x="1361" y="751"/>
                  </a:lnTo>
                  <a:lnTo>
                    <a:pt x="1349" y="756"/>
                  </a:lnTo>
                  <a:lnTo>
                    <a:pt x="1335" y="757"/>
                  </a:lnTo>
                  <a:lnTo>
                    <a:pt x="1319" y="758"/>
                  </a:lnTo>
                  <a:lnTo>
                    <a:pt x="1319" y="724"/>
                  </a:lnTo>
                  <a:lnTo>
                    <a:pt x="1329" y="723"/>
                  </a:lnTo>
                  <a:lnTo>
                    <a:pt x="1336" y="720"/>
                  </a:lnTo>
                  <a:lnTo>
                    <a:pt x="1339" y="718"/>
                  </a:lnTo>
                  <a:lnTo>
                    <a:pt x="1341" y="715"/>
                  </a:lnTo>
                  <a:lnTo>
                    <a:pt x="1342" y="712"/>
                  </a:lnTo>
                  <a:lnTo>
                    <a:pt x="1342" y="708"/>
                  </a:lnTo>
                  <a:lnTo>
                    <a:pt x="1341" y="704"/>
                  </a:lnTo>
                  <a:lnTo>
                    <a:pt x="1338" y="700"/>
                  </a:lnTo>
                  <a:lnTo>
                    <a:pt x="1335" y="695"/>
                  </a:lnTo>
                  <a:lnTo>
                    <a:pt x="1331" y="691"/>
                  </a:lnTo>
                  <a:lnTo>
                    <a:pt x="1315" y="678"/>
                  </a:lnTo>
                  <a:lnTo>
                    <a:pt x="1299" y="667"/>
                  </a:lnTo>
                  <a:lnTo>
                    <a:pt x="1283" y="656"/>
                  </a:lnTo>
                  <a:lnTo>
                    <a:pt x="1269" y="646"/>
                  </a:lnTo>
                  <a:lnTo>
                    <a:pt x="1259" y="638"/>
                  </a:lnTo>
                  <a:lnTo>
                    <a:pt x="1251" y="628"/>
                  </a:lnTo>
                  <a:lnTo>
                    <a:pt x="1247" y="616"/>
                  </a:lnTo>
                  <a:lnTo>
                    <a:pt x="1244" y="603"/>
                  </a:lnTo>
                  <a:lnTo>
                    <a:pt x="1244" y="592"/>
                  </a:lnTo>
                  <a:lnTo>
                    <a:pt x="1249" y="582"/>
                  </a:lnTo>
                  <a:lnTo>
                    <a:pt x="1253" y="573"/>
                  </a:lnTo>
                  <a:lnTo>
                    <a:pt x="1260" y="566"/>
                  </a:lnTo>
                  <a:lnTo>
                    <a:pt x="1269" y="560"/>
                  </a:lnTo>
                  <a:lnTo>
                    <a:pt x="1280" y="557"/>
                  </a:lnTo>
                  <a:lnTo>
                    <a:pt x="1293" y="555"/>
                  </a:lnTo>
                  <a:lnTo>
                    <a:pt x="1309" y="553"/>
                  </a:lnTo>
                  <a:lnTo>
                    <a:pt x="1309" y="586"/>
                  </a:lnTo>
                  <a:lnTo>
                    <a:pt x="1300" y="588"/>
                  </a:lnTo>
                  <a:lnTo>
                    <a:pt x="1295" y="590"/>
                  </a:lnTo>
                  <a:lnTo>
                    <a:pt x="1290" y="595"/>
                  </a:lnTo>
                  <a:lnTo>
                    <a:pt x="1289" y="602"/>
                  </a:lnTo>
                  <a:lnTo>
                    <a:pt x="1289" y="606"/>
                  </a:lnTo>
                  <a:lnTo>
                    <a:pt x="1290" y="611"/>
                  </a:lnTo>
                  <a:lnTo>
                    <a:pt x="1293" y="615"/>
                  </a:lnTo>
                  <a:lnTo>
                    <a:pt x="1296" y="618"/>
                  </a:lnTo>
                  <a:lnTo>
                    <a:pt x="1312" y="629"/>
                  </a:lnTo>
                  <a:lnTo>
                    <a:pt x="1326" y="638"/>
                  </a:lnTo>
                  <a:lnTo>
                    <a:pt x="1338" y="646"/>
                  </a:lnTo>
                  <a:lnTo>
                    <a:pt x="1345" y="652"/>
                  </a:lnTo>
                  <a:lnTo>
                    <a:pt x="1352" y="656"/>
                  </a:lnTo>
                  <a:lnTo>
                    <a:pt x="1357" y="659"/>
                  </a:lnTo>
                  <a:lnTo>
                    <a:pt x="1359" y="661"/>
                  </a:lnTo>
                  <a:lnTo>
                    <a:pt x="1361" y="662"/>
                  </a:lnTo>
                  <a:lnTo>
                    <a:pt x="1367" y="667"/>
                  </a:lnTo>
                  <a:lnTo>
                    <a:pt x="1372" y="672"/>
                  </a:lnTo>
                  <a:lnTo>
                    <a:pt x="1377" y="678"/>
                  </a:lnTo>
                  <a:lnTo>
                    <a:pt x="1381" y="684"/>
                  </a:lnTo>
                  <a:lnTo>
                    <a:pt x="1384" y="690"/>
                  </a:lnTo>
                  <a:lnTo>
                    <a:pt x="1385" y="695"/>
                  </a:lnTo>
                  <a:lnTo>
                    <a:pt x="1387" y="701"/>
                  </a:lnTo>
                  <a:lnTo>
                    <a:pt x="1387" y="708"/>
                  </a:lnTo>
                  <a:close/>
                  <a:moveTo>
                    <a:pt x="1283" y="695"/>
                  </a:moveTo>
                  <a:lnTo>
                    <a:pt x="1283" y="695"/>
                  </a:lnTo>
                  <a:lnTo>
                    <a:pt x="1285" y="702"/>
                  </a:lnTo>
                  <a:lnTo>
                    <a:pt x="1286" y="708"/>
                  </a:lnTo>
                  <a:lnTo>
                    <a:pt x="1287" y="712"/>
                  </a:lnTo>
                  <a:lnTo>
                    <a:pt x="1290" y="717"/>
                  </a:lnTo>
                  <a:lnTo>
                    <a:pt x="1293" y="720"/>
                  </a:lnTo>
                  <a:lnTo>
                    <a:pt x="1297" y="721"/>
                  </a:lnTo>
                  <a:lnTo>
                    <a:pt x="1303" y="724"/>
                  </a:lnTo>
                  <a:lnTo>
                    <a:pt x="1309" y="724"/>
                  </a:lnTo>
                  <a:lnTo>
                    <a:pt x="1309" y="758"/>
                  </a:lnTo>
                  <a:lnTo>
                    <a:pt x="1293" y="757"/>
                  </a:lnTo>
                  <a:lnTo>
                    <a:pt x="1279" y="754"/>
                  </a:lnTo>
                  <a:lnTo>
                    <a:pt x="1266" y="748"/>
                  </a:lnTo>
                  <a:lnTo>
                    <a:pt x="1257" y="741"/>
                  </a:lnTo>
                  <a:lnTo>
                    <a:pt x="1249" y="733"/>
                  </a:lnTo>
                  <a:lnTo>
                    <a:pt x="1244" y="723"/>
                  </a:lnTo>
                  <a:lnTo>
                    <a:pt x="1240" y="710"/>
                  </a:lnTo>
                  <a:lnTo>
                    <a:pt x="1240" y="695"/>
                  </a:lnTo>
                  <a:lnTo>
                    <a:pt x="1283" y="695"/>
                  </a:lnTo>
                  <a:close/>
                  <a:moveTo>
                    <a:pt x="1339" y="611"/>
                  </a:moveTo>
                  <a:lnTo>
                    <a:pt x="1339" y="611"/>
                  </a:lnTo>
                  <a:lnTo>
                    <a:pt x="1339" y="605"/>
                  </a:lnTo>
                  <a:lnTo>
                    <a:pt x="1338" y="600"/>
                  </a:lnTo>
                  <a:lnTo>
                    <a:pt x="1336" y="598"/>
                  </a:lnTo>
                  <a:lnTo>
                    <a:pt x="1335" y="593"/>
                  </a:lnTo>
                  <a:lnTo>
                    <a:pt x="1332" y="590"/>
                  </a:lnTo>
                  <a:lnTo>
                    <a:pt x="1328" y="589"/>
                  </a:lnTo>
                  <a:lnTo>
                    <a:pt x="1325" y="588"/>
                  </a:lnTo>
                  <a:lnTo>
                    <a:pt x="1319" y="586"/>
                  </a:lnTo>
                  <a:lnTo>
                    <a:pt x="1319" y="553"/>
                  </a:lnTo>
                  <a:lnTo>
                    <a:pt x="1335" y="555"/>
                  </a:lnTo>
                  <a:lnTo>
                    <a:pt x="1349" y="557"/>
                  </a:lnTo>
                  <a:lnTo>
                    <a:pt x="1359" y="562"/>
                  </a:lnTo>
                  <a:lnTo>
                    <a:pt x="1369" y="569"/>
                  </a:lnTo>
                  <a:lnTo>
                    <a:pt x="1377" y="576"/>
                  </a:lnTo>
                  <a:lnTo>
                    <a:pt x="1381" y="586"/>
                  </a:lnTo>
                  <a:lnTo>
                    <a:pt x="1385" y="598"/>
                  </a:lnTo>
                  <a:lnTo>
                    <a:pt x="1385" y="611"/>
                  </a:lnTo>
                  <a:lnTo>
                    <a:pt x="1339" y="611"/>
                  </a:lnTo>
                  <a:close/>
                  <a:moveTo>
                    <a:pt x="1220" y="606"/>
                  </a:moveTo>
                  <a:lnTo>
                    <a:pt x="1220" y="606"/>
                  </a:lnTo>
                  <a:lnTo>
                    <a:pt x="1218" y="593"/>
                  </a:lnTo>
                  <a:lnTo>
                    <a:pt x="1215" y="583"/>
                  </a:lnTo>
                  <a:lnTo>
                    <a:pt x="1211" y="575"/>
                  </a:lnTo>
                  <a:lnTo>
                    <a:pt x="1204" y="567"/>
                  </a:lnTo>
                  <a:lnTo>
                    <a:pt x="1195" y="560"/>
                  </a:lnTo>
                  <a:lnTo>
                    <a:pt x="1184" y="556"/>
                  </a:lnTo>
                  <a:lnTo>
                    <a:pt x="1171" y="553"/>
                  </a:lnTo>
                  <a:lnTo>
                    <a:pt x="1155" y="552"/>
                  </a:lnTo>
                  <a:lnTo>
                    <a:pt x="1155" y="585"/>
                  </a:lnTo>
                  <a:lnTo>
                    <a:pt x="1164" y="586"/>
                  </a:lnTo>
                  <a:lnTo>
                    <a:pt x="1169" y="590"/>
                  </a:lnTo>
                  <a:lnTo>
                    <a:pt x="1172" y="596"/>
                  </a:lnTo>
                  <a:lnTo>
                    <a:pt x="1174" y="605"/>
                  </a:lnTo>
                  <a:lnTo>
                    <a:pt x="1174" y="707"/>
                  </a:lnTo>
                  <a:lnTo>
                    <a:pt x="1172" y="715"/>
                  </a:lnTo>
                  <a:lnTo>
                    <a:pt x="1169" y="721"/>
                  </a:lnTo>
                  <a:lnTo>
                    <a:pt x="1164" y="724"/>
                  </a:lnTo>
                  <a:lnTo>
                    <a:pt x="1155" y="727"/>
                  </a:lnTo>
                  <a:lnTo>
                    <a:pt x="1155" y="758"/>
                  </a:lnTo>
                  <a:lnTo>
                    <a:pt x="1171" y="757"/>
                  </a:lnTo>
                  <a:lnTo>
                    <a:pt x="1184" y="754"/>
                  </a:lnTo>
                  <a:lnTo>
                    <a:pt x="1195" y="750"/>
                  </a:lnTo>
                  <a:lnTo>
                    <a:pt x="1204" y="743"/>
                  </a:lnTo>
                  <a:lnTo>
                    <a:pt x="1211" y="734"/>
                  </a:lnTo>
                  <a:lnTo>
                    <a:pt x="1215" y="725"/>
                  </a:lnTo>
                  <a:lnTo>
                    <a:pt x="1218" y="714"/>
                  </a:lnTo>
                  <a:lnTo>
                    <a:pt x="1220" y="701"/>
                  </a:lnTo>
                  <a:lnTo>
                    <a:pt x="1220" y="606"/>
                  </a:lnTo>
                  <a:close/>
                  <a:moveTo>
                    <a:pt x="1081" y="606"/>
                  </a:moveTo>
                  <a:lnTo>
                    <a:pt x="1081" y="606"/>
                  </a:lnTo>
                  <a:lnTo>
                    <a:pt x="1081" y="593"/>
                  </a:lnTo>
                  <a:lnTo>
                    <a:pt x="1084" y="583"/>
                  </a:lnTo>
                  <a:lnTo>
                    <a:pt x="1090" y="575"/>
                  </a:lnTo>
                  <a:lnTo>
                    <a:pt x="1097" y="567"/>
                  </a:lnTo>
                  <a:lnTo>
                    <a:pt x="1106" y="560"/>
                  </a:lnTo>
                  <a:lnTo>
                    <a:pt x="1117" y="556"/>
                  </a:lnTo>
                  <a:lnTo>
                    <a:pt x="1130" y="553"/>
                  </a:lnTo>
                  <a:lnTo>
                    <a:pt x="1146" y="552"/>
                  </a:lnTo>
                  <a:lnTo>
                    <a:pt x="1146" y="585"/>
                  </a:lnTo>
                  <a:lnTo>
                    <a:pt x="1138" y="586"/>
                  </a:lnTo>
                  <a:lnTo>
                    <a:pt x="1132" y="590"/>
                  </a:lnTo>
                  <a:lnTo>
                    <a:pt x="1129" y="596"/>
                  </a:lnTo>
                  <a:lnTo>
                    <a:pt x="1128" y="605"/>
                  </a:lnTo>
                  <a:lnTo>
                    <a:pt x="1128" y="707"/>
                  </a:lnTo>
                  <a:lnTo>
                    <a:pt x="1129" y="715"/>
                  </a:lnTo>
                  <a:lnTo>
                    <a:pt x="1132" y="721"/>
                  </a:lnTo>
                  <a:lnTo>
                    <a:pt x="1138" y="724"/>
                  </a:lnTo>
                  <a:lnTo>
                    <a:pt x="1146" y="727"/>
                  </a:lnTo>
                  <a:lnTo>
                    <a:pt x="1146" y="758"/>
                  </a:lnTo>
                  <a:lnTo>
                    <a:pt x="1130" y="757"/>
                  </a:lnTo>
                  <a:lnTo>
                    <a:pt x="1117" y="754"/>
                  </a:lnTo>
                  <a:lnTo>
                    <a:pt x="1106" y="750"/>
                  </a:lnTo>
                  <a:lnTo>
                    <a:pt x="1097" y="743"/>
                  </a:lnTo>
                  <a:lnTo>
                    <a:pt x="1090" y="734"/>
                  </a:lnTo>
                  <a:lnTo>
                    <a:pt x="1084" y="725"/>
                  </a:lnTo>
                  <a:lnTo>
                    <a:pt x="1081" y="714"/>
                  </a:lnTo>
                  <a:lnTo>
                    <a:pt x="1081" y="701"/>
                  </a:lnTo>
                  <a:lnTo>
                    <a:pt x="1081" y="606"/>
                  </a:lnTo>
                  <a:close/>
                  <a:moveTo>
                    <a:pt x="1007" y="556"/>
                  </a:moveTo>
                  <a:lnTo>
                    <a:pt x="1007" y="556"/>
                  </a:lnTo>
                  <a:lnTo>
                    <a:pt x="1050" y="556"/>
                  </a:lnTo>
                  <a:lnTo>
                    <a:pt x="1050" y="754"/>
                  </a:lnTo>
                  <a:lnTo>
                    <a:pt x="1007" y="754"/>
                  </a:lnTo>
                  <a:lnTo>
                    <a:pt x="1007" y="556"/>
                  </a:lnTo>
                  <a:close/>
                  <a:moveTo>
                    <a:pt x="903" y="556"/>
                  </a:moveTo>
                  <a:lnTo>
                    <a:pt x="903" y="556"/>
                  </a:lnTo>
                  <a:lnTo>
                    <a:pt x="946" y="556"/>
                  </a:lnTo>
                  <a:lnTo>
                    <a:pt x="946" y="754"/>
                  </a:lnTo>
                  <a:lnTo>
                    <a:pt x="903" y="754"/>
                  </a:lnTo>
                  <a:lnTo>
                    <a:pt x="903" y="556"/>
                  </a:lnTo>
                  <a:close/>
                  <a:moveTo>
                    <a:pt x="1001" y="674"/>
                  </a:moveTo>
                  <a:lnTo>
                    <a:pt x="1001" y="674"/>
                  </a:lnTo>
                  <a:lnTo>
                    <a:pt x="1001" y="741"/>
                  </a:lnTo>
                  <a:lnTo>
                    <a:pt x="952" y="641"/>
                  </a:lnTo>
                  <a:lnTo>
                    <a:pt x="952" y="572"/>
                  </a:lnTo>
                  <a:lnTo>
                    <a:pt x="1001" y="674"/>
                  </a:lnTo>
                  <a:close/>
                  <a:moveTo>
                    <a:pt x="822" y="516"/>
                  </a:moveTo>
                  <a:lnTo>
                    <a:pt x="822" y="516"/>
                  </a:lnTo>
                  <a:lnTo>
                    <a:pt x="860" y="516"/>
                  </a:lnTo>
                  <a:lnTo>
                    <a:pt x="822" y="546"/>
                  </a:lnTo>
                  <a:lnTo>
                    <a:pt x="795" y="546"/>
                  </a:lnTo>
                  <a:lnTo>
                    <a:pt x="757" y="516"/>
                  </a:lnTo>
                  <a:lnTo>
                    <a:pt x="795" y="516"/>
                  </a:lnTo>
                  <a:lnTo>
                    <a:pt x="808" y="529"/>
                  </a:lnTo>
                  <a:lnTo>
                    <a:pt x="822" y="516"/>
                  </a:lnTo>
                  <a:close/>
                  <a:moveTo>
                    <a:pt x="739" y="606"/>
                  </a:moveTo>
                  <a:lnTo>
                    <a:pt x="739" y="606"/>
                  </a:lnTo>
                  <a:lnTo>
                    <a:pt x="740" y="593"/>
                  </a:lnTo>
                  <a:lnTo>
                    <a:pt x="743" y="583"/>
                  </a:lnTo>
                  <a:lnTo>
                    <a:pt x="747" y="575"/>
                  </a:lnTo>
                  <a:lnTo>
                    <a:pt x="755" y="567"/>
                  </a:lnTo>
                  <a:lnTo>
                    <a:pt x="765" y="560"/>
                  </a:lnTo>
                  <a:lnTo>
                    <a:pt x="775" y="556"/>
                  </a:lnTo>
                  <a:lnTo>
                    <a:pt x="789" y="553"/>
                  </a:lnTo>
                  <a:lnTo>
                    <a:pt x="804" y="552"/>
                  </a:lnTo>
                  <a:lnTo>
                    <a:pt x="804" y="585"/>
                  </a:lnTo>
                  <a:lnTo>
                    <a:pt x="796" y="586"/>
                  </a:lnTo>
                  <a:lnTo>
                    <a:pt x="791" y="590"/>
                  </a:lnTo>
                  <a:lnTo>
                    <a:pt x="786" y="596"/>
                  </a:lnTo>
                  <a:lnTo>
                    <a:pt x="786" y="605"/>
                  </a:lnTo>
                  <a:lnTo>
                    <a:pt x="786" y="707"/>
                  </a:lnTo>
                  <a:lnTo>
                    <a:pt x="786" y="715"/>
                  </a:lnTo>
                  <a:lnTo>
                    <a:pt x="791" y="721"/>
                  </a:lnTo>
                  <a:lnTo>
                    <a:pt x="796" y="724"/>
                  </a:lnTo>
                  <a:lnTo>
                    <a:pt x="804" y="727"/>
                  </a:lnTo>
                  <a:lnTo>
                    <a:pt x="804" y="758"/>
                  </a:lnTo>
                  <a:lnTo>
                    <a:pt x="789" y="757"/>
                  </a:lnTo>
                  <a:lnTo>
                    <a:pt x="775" y="754"/>
                  </a:lnTo>
                  <a:lnTo>
                    <a:pt x="765" y="750"/>
                  </a:lnTo>
                  <a:lnTo>
                    <a:pt x="755" y="743"/>
                  </a:lnTo>
                  <a:lnTo>
                    <a:pt x="747" y="734"/>
                  </a:lnTo>
                  <a:lnTo>
                    <a:pt x="743" y="725"/>
                  </a:lnTo>
                  <a:lnTo>
                    <a:pt x="740" y="714"/>
                  </a:lnTo>
                  <a:lnTo>
                    <a:pt x="739" y="701"/>
                  </a:lnTo>
                  <a:lnTo>
                    <a:pt x="739" y="606"/>
                  </a:lnTo>
                  <a:close/>
                  <a:moveTo>
                    <a:pt x="814" y="727"/>
                  </a:moveTo>
                  <a:lnTo>
                    <a:pt x="814" y="727"/>
                  </a:lnTo>
                  <a:lnTo>
                    <a:pt x="822" y="725"/>
                  </a:lnTo>
                  <a:lnTo>
                    <a:pt x="828" y="721"/>
                  </a:lnTo>
                  <a:lnTo>
                    <a:pt x="831" y="718"/>
                  </a:lnTo>
                  <a:lnTo>
                    <a:pt x="832" y="715"/>
                  </a:lnTo>
                  <a:lnTo>
                    <a:pt x="832" y="711"/>
                  </a:lnTo>
                  <a:lnTo>
                    <a:pt x="834" y="707"/>
                  </a:lnTo>
                  <a:lnTo>
                    <a:pt x="834" y="681"/>
                  </a:lnTo>
                  <a:lnTo>
                    <a:pt x="880" y="681"/>
                  </a:lnTo>
                  <a:lnTo>
                    <a:pt x="880" y="701"/>
                  </a:lnTo>
                  <a:lnTo>
                    <a:pt x="880" y="714"/>
                  </a:lnTo>
                  <a:lnTo>
                    <a:pt x="876" y="725"/>
                  </a:lnTo>
                  <a:lnTo>
                    <a:pt x="871" y="735"/>
                  </a:lnTo>
                  <a:lnTo>
                    <a:pt x="864" y="744"/>
                  </a:lnTo>
                  <a:lnTo>
                    <a:pt x="854" y="750"/>
                  </a:lnTo>
                  <a:lnTo>
                    <a:pt x="842" y="754"/>
                  </a:lnTo>
                  <a:lnTo>
                    <a:pt x="829" y="757"/>
                  </a:lnTo>
                  <a:lnTo>
                    <a:pt x="814" y="758"/>
                  </a:lnTo>
                  <a:lnTo>
                    <a:pt x="814" y="727"/>
                  </a:lnTo>
                  <a:close/>
                  <a:moveTo>
                    <a:pt x="814" y="552"/>
                  </a:moveTo>
                  <a:lnTo>
                    <a:pt x="814" y="552"/>
                  </a:lnTo>
                  <a:lnTo>
                    <a:pt x="829" y="553"/>
                  </a:lnTo>
                  <a:lnTo>
                    <a:pt x="842" y="556"/>
                  </a:lnTo>
                  <a:lnTo>
                    <a:pt x="854" y="560"/>
                  </a:lnTo>
                  <a:lnTo>
                    <a:pt x="864" y="566"/>
                  </a:lnTo>
                  <a:lnTo>
                    <a:pt x="871" y="573"/>
                  </a:lnTo>
                  <a:lnTo>
                    <a:pt x="877" y="583"/>
                  </a:lnTo>
                  <a:lnTo>
                    <a:pt x="880" y="595"/>
                  </a:lnTo>
                  <a:lnTo>
                    <a:pt x="880" y="606"/>
                  </a:lnTo>
                  <a:lnTo>
                    <a:pt x="880" y="625"/>
                  </a:lnTo>
                  <a:lnTo>
                    <a:pt x="834" y="625"/>
                  </a:lnTo>
                  <a:lnTo>
                    <a:pt x="834" y="605"/>
                  </a:lnTo>
                  <a:lnTo>
                    <a:pt x="832" y="600"/>
                  </a:lnTo>
                  <a:lnTo>
                    <a:pt x="832" y="596"/>
                  </a:lnTo>
                  <a:lnTo>
                    <a:pt x="831" y="593"/>
                  </a:lnTo>
                  <a:lnTo>
                    <a:pt x="828" y="590"/>
                  </a:lnTo>
                  <a:lnTo>
                    <a:pt x="825" y="588"/>
                  </a:lnTo>
                  <a:lnTo>
                    <a:pt x="822" y="586"/>
                  </a:lnTo>
                  <a:lnTo>
                    <a:pt x="818" y="585"/>
                  </a:lnTo>
                  <a:lnTo>
                    <a:pt x="814" y="585"/>
                  </a:lnTo>
                  <a:lnTo>
                    <a:pt x="814" y="552"/>
                  </a:lnTo>
                  <a:close/>
                  <a:moveTo>
                    <a:pt x="608" y="556"/>
                  </a:moveTo>
                  <a:lnTo>
                    <a:pt x="608" y="556"/>
                  </a:lnTo>
                  <a:lnTo>
                    <a:pt x="654" y="556"/>
                  </a:lnTo>
                  <a:lnTo>
                    <a:pt x="654" y="754"/>
                  </a:lnTo>
                  <a:lnTo>
                    <a:pt x="608" y="754"/>
                  </a:lnTo>
                  <a:lnTo>
                    <a:pt x="608" y="556"/>
                  </a:lnTo>
                  <a:close/>
                  <a:moveTo>
                    <a:pt x="720" y="754"/>
                  </a:moveTo>
                  <a:lnTo>
                    <a:pt x="720" y="754"/>
                  </a:lnTo>
                  <a:lnTo>
                    <a:pt x="661" y="754"/>
                  </a:lnTo>
                  <a:lnTo>
                    <a:pt x="661" y="720"/>
                  </a:lnTo>
                  <a:lnTo>
                    <a:pt x="720" y="720"/>
                  </a:lnTo>
                  <a:lnTo>
                    <a:pt x="720" y="754"/>
                  </a:lnTo>
                  <a:close/>
                  <a:moveTo>
                    <a:pt x="661" y="556"/>
                  </a:moveTo>
                  <a:lnTo>
                    <a:pt x="661" y="556"/>
                  </a:lnTo>
                  <a:lnTo>
                    <a:pt x="720" y="556"/>
                  </a:lnTo>
                  <a:lnTo>
                    <a:pt x="720" y="589"/>
                  </a:lnTo>
                  <a:lnTo>
                    <a:pt x="661" y="589"/>
                  </a:lnTo>
                  <a:lnTo>
                    <a:pt x="661" y="556"/>
                  </a:lnTo>
                  <a:close/>
                  <a:moveTo>
                    <a:pt x="661" y="635"/>
                  </a:moveTo>
                  <a:lnTo>
                    <a:pt x="661" y="635"/>
                  </a:lnTo>
                  <a:lnTo>
                    <a:pt x="717" y="635"/>
                  </a:lnTo>
                  <a:lnTo>
                    <a:pt x="717" y="668"/>
                  </a:lnTo>
                  <a:lnTo>
                    <a:pt x="661" y="668"/>
                  </a:lnTo>
                  <a:lnTo>
                    <a:pt x="661" y="635"/>
                  </a:lnTo>
                  <a:close/>
                  <a:moveTo>
                    <a:pt x="523" y="636"/>
                  </a:moveTo>
                  <a:lnTo>
                    <a:pt x="523" y="636"/>
                  </a:lnTo>
                  <a:lnTo>
                    <a:pt x="529" y="636"/>
                  </a:lnTo>
                  <a:lnTo>
                    <a:pt x="533" y="635"/>
                  </a:lnTo>
                  <a:lnTo>
                    <a:pt x="536" y="633"/>
                  </a:lnTo>
                  <a:lnTo>
                    <a:pt x="539" y="631"/>
                  </a:lnTo>
                  <a:lnTo>
                    <a:pt x="541" y="628"/>
                  </a:lnTo>
                  <a:lnTo>
                    <a:pt x="543" y="623"/>
                  </a:lnTo>
                  <a:lnTo>
                    <a:pt x="544" y="618"/>
                  </a:lnTo>
                  <a:lnTo>
                    <a:pt x="544" y="613"/>
                  </a:lnTo>
                  <a:lnTo>
                    <a:pt x="544" y="608"/>
                  </a:lnTo>
                  <a:lnTo>
                    <a:pt x="543" y="602"/>
                  </a:lnTo>
                  <a:lnTo>
                    <a:pt x="541" y="599"/>
                  </a:lnTo>
                  <a:lnTo>
                    <a:pt x="539" y="595"/>
                  </a:lnTo>
                  <a:lnTo>
                    <a:pt x="536" y="593"/>
                  </a:lnTo>
                  <a:lnTo>
                    <a:pt x="533" y="590"/>
                  </a:lnTo>
                  <a:lnTo>
                    <a:pt x="529" y="590"/>
                  </a:lnTo>
                  <a:lnTo>
                    <a:pt x="523" y="589"/>
                  </a:lnTo>
                  <a:lnTo>
                    <a:pt x="507" y="589"/>
                  </a:lnTo>
                  <a:lnTo>
                    <a:pt x="507" y="556"/>
                  </a:lnTo>
                  <a:lnTo>
                    <a:pt x="521" y="556"/>
                  </a:lnTo>
                  <a:lnTo>
                    <a:pt x="539" y="557"/>
                  </a:lnTo>
                  <a:lnTo>
                    <a:pt x="552" y="560"/>
                  </a:lnTo>
                  <a:lnTo>
                    <a:pt x="565" y="563"/>
                  </a:lnTo>
                  <a:lnTo>
                    <a:pt x="575" y="569"/>
                  </a:lnTo>
                  <a:lnTo>
                    <a:pt x="582" y="577"/>
                  </a:lnTo>
                  <a:lnTo>
                    <a:pt x="588" y="586"/>
                  </a:lnTo>
                  <a:lnTo>
                    <a:pt x="590" y="596"/>
                  </a:lnTo>
                  <a:lnTo>
                    <a:pt x="592" y="609"/>
                  </a:lnTo>
                  <a:lnTo>
                    <a:pt x="590" y="623"/>
                  </a:lnTo>
                  <a:lnTo>
                    <a:pt x="588" y="636"/>
                  </a:lnTo>
                  <a:lnTo>
                    <a:pt x="582" y="646"/>
                  </a:lnTo>
                  <a:lnTo>
                    <a:pt x="575" y="655"/>
                  </a:lnTo>
                  <a:lnTo>
                    <a:pt x="565" y="661"/>
                  </a:lnTo>
                  <a:lnTo>
                    <a:pt x="553" y="667"/>
                  </a:lnTo>
                  <a:lnTo>
                    <a:pt x="539" y="669"/>
                  </a:lnTo>
                  <a:lnTo>
                    <a:pt x="523" y="669"/>
                  </a:lnTo>
                  <a:lnTo>
                    <a:pt x="507" y="669"/>
                  </a:lnTo>
                  <a:lnTo>
                    <a:pt x="507" y="636"/>
                  </a:lnTo>
                  <a:lnTo>
                    <a:pt x="523" y="636"/>
                  </a:lnTo>
                  <a:close/>
                  <a:moveTo>
                    <a:pt x="454" y="556"/>
                  </a:moveTo>
                  <a:lnTo>
                    <a:pt x="454" y="556"/>
                  </a:lnTo>
                  <a:lnTo>
                    <a:pt x="500" y="556"/>
                  </a:lnTo>
                  <a:lnTo>
                    <a:pt x="500" y="754"/>
                  </a:lnTo>
                  <a:lnTo>
                    <a:pt x="454" y="754"/>
                  </a:lnTo>
                  <a:lnTo>
                    <a:pt x="454" y="556"/>
                  </a:lnTo>
                  <a:close/>
                  <a:moveTo>
                    <a:pt x="357" y="712"/>
                  </a:moveTo>
                  <a:lnTo>
                    <a:pt x="357" y="712"/>
                  </a:lnTo>
                  <a:lnTo>
                    <a:pt x="307" y="712"/>
                  </a:lnTo>
                  <a:lnTo>
                    <a:pt x="377" y="598"/>
                  </a:lnTo>
                  <a:lnTo>
                    <a:pt x="428" y="598"/>
                  </a:lnTo>
                  <a:lnTo>
                    <a:pt x="357" y="712"/>
                  </a:lnTo>
                  <a:close/>
                  <a:moveTo>
                    <a:pt x="301" y="720"/>
                  </a:moveTo>
                  <a:lnTo>
                    <a:pt x="301" y="720"/>
                  </a:lnTo>
                  <a:lnTo>
                    <a:pt x="433" y="720"/>
                  </a:lnTo>
                  <a:lnTo>
                    <a:pt x="433" y="754"/>
                  </a:lnTo>
                  <a:lnTo>
                    <a:pt x="301" y="754"/>
                  </a:lnTo>
                  <a:lnTo>
                    <a:pt x="301" y="720"/>
                  </a:lnTo>
                  <a:close/>
                  <a:moveTo>
                    <a:pt x="308" y="556"/>
                  </a:moveTo>
                  <a:lnTo>
                    <a:pt x="308" y="556"/>
                  </a:lnTo>
                  <a:lnTo>
                    <a:pt x="433" y="556"/>
                  </a:lnTo>
                  <a:lnTo>
                    <a:pt x="433" y="592"/>
                  </a:lnTo>
                  <a:lnTo>
                    <a:pt x="308" y="592"/>
                  </a:lnTo>
                  <a:lnTo>
                    <a:pt x="308" y="556"/>
                  </a:lnTo>
                  <a:close/>
                  <a:moveTo>
                    <a:pt x="170" y="556"/>
                  </a:moveTo>
                  <a:lnTo>
                    <a:pt x="170" y="556"/>
                  </a:lnTo>
                  <a:lnTo>
                    <a:pt x="216" y="556"/>
                  </a:lnTo>
                  <a:lnTo>
                    <a:pt x="216" y="754"/>
                  </a:lnTo>
                  <a:lnTo>
                    <a:pt x="170" y="754"/>
                  </a:lnTo>
                  <a:lnTo>
                    <a:pt x="170" y="556"/>
                  </a:lnTo>
                  <a:close/>
                  <a:moveTo>
                    <a:pt x="282" y="754"/>
                  </a:moveTo>
                  <a:lnTo>
                    <a:pt x="282" y="754"/>
                  </a:lnTo>
                  <a:lnTo>
                    <a:pt x="223" y="754"/>
                  </a:lnTo>
                  <a:lnTo>
                    <a:pt x="223" y="720"/>
                  </a:lnTo>
                  <a:lnTo>
                    <a:pt x="282" y="720"/>
                  </a:lnTo>
                  <a:lnTo>
                    <a:pt x="282" y="754"/>
                  </a:lnTo>
                  <a:close/>
                  <a:moveTo>
                    <a:pt x="223" y="556"/>
                  </a:moveTo>
                  <a:lnTo>
                    <a:pt x="223" y="556"/>
                  </a:lnTo>
                  <a:lnTo>
                    <a:pt x="282" y="556"/>
                  </a:lnTo>
                  <a:lnTo>
                    <a:pt x="282" y="589"/>
                  </a:lnTo>
                  <a:lnTo>
                    <a:pt x="223" y="589"/>
                  </a:lnTo>
                  <a:lnTo>
                    <a:pt x="223" y="556"/>
                  </a:lnTo>
                  <a:close/>
                  <a:moveTo>
                    <a:pt x="223" y="635"/>
                  </a:moveTo>
                  <a:lnTo>
                    <a:pt x="223" y="635"/>
                  </a:lnTo>
                  <a:lnTo>
                    <a:pt x="279" y="635"/>
                  </a:lnTo>
                  <a:lnTo>
                    <a:pt x="279" y="668"/>
                  </a:lnTo>
                  <a:lnTo>
                    <a:pt x="223" y="668"/>
                  </a:lnTo>
                  <a:lnTo>
                    <a:pt x="223" y="635"/>
                  </a:lnTo>
                  <a:close/>
                  <a:moveTo>
                    <a:pt x="76" y="636"/>
                  </a:moveTo>
                  <a:lnTo>
                    <a:pt x="76" y="636"/>
                  </a:lnTo>
                  <a:lnTo>
                    <a:pt x="81" y="636"/>
                  </a:lnTo>
                  <a:lnTo>
                    <a:pt x="85" y="635"/>
                  </a:lnTo>
                  <a:lnTo>
                    <a:pt x="89" y="633"/>
                  </a:lnTo>
                  <a:lnTo>
                    <a:pt x="92" y="631"/>
                  </a:lnTo>
                  <a:lnTo>
                    <a:pt x="95" y="628"/>
                  </a:lnTo>
                  <a:lnTo>
                    <a:pt x="97" y="623"/>
                  </a:lnTo>
                  <a:lnTo>
                    <a:pt x="97" y="618"/>
                  </a:lnTo>
                  <a:lnTo>
                    <a:pt x="98" y="613"/>
                  </a:lnTo>
                  <a:lnTo>
                    <a:pt x="97" y="608"/>
                  </a:lnTo>
                  <a:lnTo>
                    <a:pt x="97" y="602"/>
                  </a:lnTo>
                  <a:lnTo>
                    <a:pt x="95" y="599"/>
                  </a:lnTo>
                  <a:lnTo>
                    <a:pt x="92" y="595"/>
                  </a:lnTo>
                  <a:lnTo>
                    <a:pt x="89" y="593"/>
                  </a:lnTo>
                  <a:lnTo>
                    <a:pt x="85" y="590"/>
                  </a:lnTo>
                  <a:lnTo>
                    <a:pt x="81" y="590"/>
                  </a:lnTo>
                  <a:lnTo>
                    <a:pt x="76" y="589"/>
                  </a:lnTo>
                  <a:lnTo>
                    <a:pt x="61" y="589"/>
                  </a:lnTo>
                  <a:lnTo>
                    <a:pt x="61" y="556"/>
                  </a:lnTo>
                  <a:lnTo>
                    <a:pt x="75" y="556"/>
                  </a:lnTo>
                  <a:lnTo>
                    <a:pt x="91" y="557"/>
                  </a:lnTo>
                  <a:lnTo>
                    <a:pt x="105" y="560"/>
                  </a:lnTo>
                  <a:lnTo>
                    <a:pt x="117" y="563"/>
                  </a:lnTo>
                  <a:lnTo>
                    <a:pt x="127" y="569"/>
                  </a:lnTo>
                  <a:lnTo>
                    <a:pt x="134" y="577"/>
                  </a:lnTo>
                  <a:lnTo>
                    <a:pt x="140" y="586"/>
                  </a:lnTo>
                  <a:lnTo>
                    <a:pt x="143" y="596"/>
                  </a:lnTo>
                  <a:lnTo>
                    <a:pt x="144" y="609"/>
                  </a:lnTo>
                  <a:lnTo>
                    <a:pt x="144" y="618"/>
                  </a:lnTo>
                  <a:lnTo>
                    <a:pt x="143" y="626"/>
                  </a:lnTo>
                  <a:lnTo>
                    <a:pt x="141" y="633"/>
                  </a:lnTo>
                  <a:lnTo>
                    <a:pt x="138" y="639"/>
                  </a:lnTo>
                  <a:lnTo>
                    <a:pt x="134" y="645"/>
                  </a:lnTo>
                  <a:lnTo>
                    <a:pt x="130" y="648"/>
                  </a:lnTo>
                  <a:lnTo>
                    <a:pt x="124" y="651"/>
                  </a:lnTo>
                  <a:lnTo>
                    <a:pt x="118" y="654"/>
                  </a:lnTo>
                  <a:lnTo>
                    <a:pt x="124" y="655"/>
                  </a:lnTo>
                  <a:lnTo>
                    <a:pt x="130" y="659"/>
                  </a:lnTo>
                  <a:lnTo>
                    <a:pt x="135" y="664"/>
                  </a:lnTo>
                  <a:lnTo>
                    <a:pt x="140" y="668"/>
                  </a:lnTo>
                  <a:lnTo>
                    <a:pt x="143" y="675"/>
                  </a:lnTo>
                  <a:lnTo>
                    <a:pt x="145" y="682"/>
                  </a:lnTo>
                  <a:lnTo>
                    <a:pt x="147" y="691"/>
                  </a:lnTo>
                  <a:lnTo>
                    <a:pt x="147" y="701"/>
                  </a:lnTo>
                  <a:lnTo>
                    <a:pt x="147" y="712"/>
                  </a:lnTo>
                  <a:lnTo>
                    <a:pt x="143" y="724"/>
                  </a:lnTo>
                  <a:lnTo>
                    <a:pt x="137" y="734"/>
                  </a:lnTo>
                  <a:lnTo>
                    <a:pt x="130" y="741"/>
                  </a:lnTo>
                  <a:lnTo>
                    <a:pt x="120" y="747"/>
                  </a:lnTo>
                  <a:lnTo>
                    <a:pt x="108" y="751"/>
                  </a:lnTo>
                  <a:lnTo>
                    <a:pt x="94" y="754"/>
                  </a:lnTo>
                  <a:lnTo>
                    <a:pt x="78" y="754"/>
                  </a:lnTo>
                  <a:lnTo>
                    <a:pt x="61" y="754"/>
                  </a:lnTo>
                  <a:lnTo>
                    <a:pt x="61" y="721"/>
                  </a:lnTo>
                  <a:lnTo>
                    <a:pt x="78" y="721"/>
                  </a:lnTo>
                  <a:lnTo>
                    <a:pt x="82" y="721"/>
                  </a:lnTo>
                  <a:lnTo>
                    <a:pt x="88" y="720"/>
                  </a:lnTo>
                  <a:lnTo>
                    <a:pt x="91" y="718"/>
                  </a:lnTo>
                  <a:lnTo>
                    <a:pt x="95" y="715"/>
                  </a:lnTo>
                  <a:lnTo>
                    <a:pt x="98" y="712"/>
                  </a:lnTo>
                  <a:lnTo>
                    <a:pt x="99" y="708"/>
                  </a:lnTo>
                  <a:lnTo>
                    <a:pt x="101" y="702"/>
                  </a:lnTo>
                  <a:lnTo>
                    <a:pt x="101" y="697"/>
                  </a:lnTo>
                  <a:lnTo>
                    <a:pt x="101" y="690"/>
                  </a:lnTo>
                  <a:lnTo>
                    <a:pt x="99" y="685"/>
                  </a:lnTo>
                  <a:lnTo>
                    <a:pt x="97" y="681"/>
                  </a:lnTo>
                  <a:lnTo>
                    <a:pt x="95" y="677"/>
                  </a:lnTo>
                  <a:lnTo>
                    <a:pt x="91" y="674"/>
                  </a:lnTo>
                  <a:lnTo>
                    <a:pt x="86" y="671"/>
                  </a:lnTo>
                  <a:lnTo>
                    <a:pt x="82" y="671"/>
                  </a:lnTo>
                  <a:lnTo>
                    <a:pt x="76" y="669"/>
                  </a:lnTo>
                  <a:lnTo>
                    <a:pt x="61" y="669"/>
                  </a:lnTo>
                  <a:lnTo>
                    <a:pt x="61" y="636"/>
                  </a:lnTo>
                  <a:lnTo>
                    <a:pt x="76" y="636"/>
                  </a:lnTo>
                  <a:close/>
                  <a:moveTo>
                    <a:pt x="7" y="556"/>
                  </a:moveTo>
                  <a:lnTo>
                    <a:pt x="7" y="556"/>
                  </a:lnTo>
                  <a:lnTo>
                    <a:pt x="52" y="556"/>
                  </a:lnTo>
                  <a:lnTo>
                    <a:pt x="52" y="754"/>
                  </a:lnTo>
                  <a:lnTo>
                    <a:pt x="7" y="754"/>
                  </a:lnTo>
                  <a:lnTo>
                    <a:pt x="7" y="55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4" name="Freeform 29">
              <a:extLst>
                <a:ext uri="{FF2B5EF4-FFF2-40B4-BE49-F238E27FC236}">
                  <a16:creationId xmlns:a16="http://schemas.microsoft.com/office/drawing/2014/main" id="{27E21B7F-47E2-3E15-2280-8081C73CDB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3200" y="785813"/>
              <a:ext cx="506413" cy="536575"/>
            </a:xfrm>
            <a:custGeom>
              <a:avLst/>
              <a:gdLst>
                <a:gd name="T0" fmla="*/ 799 w 958"/>
                <a:gd name="T1" fmla="*/ 809 h 1013"/>
                <a:gd name="T2" fmla="*/ 829 w 958"/>
                <a:gd name="T3" fmla="*/ 561 h 1013"/>
                <a:gd name="T4" fmla="*/ 952 w 958"/>
                <a:gd name="T5" fmla="*/ 261 h 1013"/>
                <a:gd name="T6" fmla="*/ 876 w 958"/>
                <a:gd name="T7" fmla="*/ 347 h 1013"/>
                <a:gd name="T8" fmla="*/ 854 w 958"/>
                <a:gd name="T9" fmla="*/ 438 h 1013"/>
                <a:gd name="T10" fmla="*/ 804 w 958"/>
                <a:gd name="T11" fmla="*/ 468 h 1013"/>
                <a:gd name="T12" fmla="*/ 769 w 958"/>
                <a:gd name="T13" fmla="*/ 541 h 1013"/>
                <a:gd name="T14" fmla="*/ 685 w 958"/>
                <a:gd name="T15" fmla="*/ 501 h 1013"/>
                <a:gd name="T16" fmla="*/ 647 w 958"/>
                <a:gd name="T17" fmla="*/ 489 h 1013"/>
                <a:gd name="T18" fmla="*/ 622 w 958"/>
                <a:gd name="T19" fmla="*/ 481 h 1013"/>
                <a:gd name="T20" fmla="*/ 541 w 958"/>
                <a:gd name="T21" fmla="*/ 494 h 1013"/>
                <a:gd name="T22" fmla="*/ 487 w 958"/>
                <a:gd name="T23" fmla="*/ 473 h 1013"/>
                <a:gd name="T24" fmla="*/ 354 w 958"/>
                <a:gd name="T25" fmla="*/ 317 h 1013"/>
                <a:gd name="T26" fmla="*/ 311 w 958"/>
                <a:gd name="T27" fmla="*/ 120 h 1013"/>
                <a:gd name="T28" fmla="*/ 255 w 958"/>
                <a:gd name="T29" fmla="*/ 165 h 1013"/>
                <a:gd name="T30" fmla="*/ 271 w 958"/>
                <a:gd name="T31" fmla="*/ 277 h 1013"/>
                <a:gd name="T32" fmla="*/ 300 w 958"/>
                <a:gd name="T33" fmla="*/ 359 h 1013"/>
                <a:gd name="T34" fmla="*/ 374 w 958"/>
                <a:gd name="T35" fmla="*/ 455 h 1013"/>
                <a:gd name="T36" fmla="*/ 395 w 958"/>
                <a:gd name="T37" fmla="*/ 517 h 1013"/>
                <a:gd name="T38" fmla="*/ 393 w 958"/>
                <a:gd name="T39" fmla="*/ 584 h 1013"/>
                <a:gd name="T40" fmla="*/ 419 w 958"/>
                <a:gd name="T41" fmla="*/ 639 h 1013"/>
                <a:gd name="T42" fmla="*/ 570 w 958"/>
                <a:gd name="T43" fmla="*/ 666 h 1013"/>
                <a:gd name="T44" fmla="*/ 543 w 958"/>
                <a:gd name="T45" fmla="*/ 741 h 1013"/>
                <a:gd name="T46" fmla="*/ 439 w 958"/>
                <a:gd name="T47" fmla="*/ 751 h 1013"/>
                <a:gd name="T48" fmla="*/ 408 w 958"/>
                <a:gd name="T49" fmla="*/ 735 h 1013"/>
                <a:gd name="T50" fmla="*/ 318 w 958"/>
                <a:gd name="T51" fmla="*/ 769 h 1013"/>
                <a:gd name="T52" fmla="*/ 239 w 958"/>
                <a:gd name="T53" fmla="*/ 812 h 1013"/>
                <a:gd name="T54" fmla="*/ 380 w 958"/>
                <a:gd name="T55" fmla="*/ 947 h 1013"/>
                <a:gd name="T56" fmla="*/ 527 w 958"/>
                <a:gd name="T57" fmla="*/ 1003 h 1013"/>
                <a:gd name="T58" fmla="*/ 605 w 958"/>
                <a:gd name="T59" fmla="*/ 805 h 1013"/>
                <a:gd name="T60" fmla="*/ 618 w 958"/>
                <a:gd name="T61" fmla="*/ 748 h 1013"/>
                <a:gd name="T62" fmla="*/ 531 w 958"/>
                <a:gd name="T63" fmla="*/ 802 h 1013"/>
                <a:gd name="T64" fmla="*/ 220 w 958"/>
                <a:gd name="T65" fmla="*/ 731 h 1013"/>
                <a:gd name="T66" fmla="*/ 141 w 958"/>
                <a:gd name="T67" fmla="*/ 649 h 1013"/>
                <a:gd name="T68" fmla="*/ 39 w 958"/>
                <a:gd name="T69" fmla="*/ 604 h 1013"/>
                <a:gd name="T70" fmla="*/ 82 w 958"/>
                <a:gd name="T71" fmla="*/ 703 h 1013"/>
                <a:gd name="T72" fmla="*/ 212 w 958"/>
                <a:gd name="T73" fmla="*/ 797 h 1013"/>
                <a:gd name="T74" fmla="*/ 400 w 958"/>
                <a:gd name="T75" fmla="*/ 739 h 1013"/>
                <a:gd name="T76" fmla="*/ 399 w 958"/>
                <a:gd name="T77" fmla="*/ 718 h 1013"/>
                <a:gd name="T78" fmla="*/ 452 w 958"/>
                <a:gd name="T79" fmla="*/ 735 h 1013"/>
                <a:gd name="T80" fmla="*/ 435 w 958"/>
                <a:gd name="T81" fmla="*/ 621 h 1013"/>
                <a:gd name="T82" fmla="*/ 42 w 958"/>
                <a:gd name="T83" fmla="*/ 616 h 1013"/>
                <a:gd name="T84" fmla="*/ 793 w 958"/>
                <a:gd name="T85" fmla="*/ 564 h 1013"/>
                <a:gd name="T86" fmla="*/ 694 w 958"/>
                <a:gd name="T87" fmla="*/ 430 h 1013"/>
                <a:gd name="T88" fmla="*/ 755 w 958"/>
                <a:gd name="T89" fmla="*/ 93 h 1013"/>
                <a:gd name="T90" fmla="*/ 680 w 958"/>
                <a:gd name="T91" fmla="*/ 149 h 1013"/>
                <a:gd name="T92" fmla="*/ 664 w 958"/>
                <a:gd name="T93" fmla="*/ 278 h 1013"/>
                <a:gd name="T94" fmla="*/ 638 w 958"/>
                <a:gd name="T95" fmla="*/ 387 h 1013"/>
                <a:gd name="T96" fmla="*/ 644 w 958"/>
                <a:gd name="T97" fmla="*/ 462 h 1013"/>
                <a:gd name="T98" fmla="*/ 559 w 958"/>
                <a:gd name="T99" fmla="*/ 453 h 1013"/>
                <a:gd name="T100" fmla="*/ 559 w 958"/>
                <a:gd name="T101" fmla="*/ 291 h 1013"/>
                <a:gd name="T102" fmla="*/ 550 w 958"/>
                <a:gd name="T103" fmla="*/ 145 h 1013"/>
                <a:gd name="T104" fmla="*/ 485 w 958"/>
                <a:gd name="T105" fmla="*/ 8 h 1013"/>
                <a:gd name="T106" fmla="*/ 475 w 958"/>
                <a:gd name="T107" fmla="*/ 189 h 1013"/>
                <a:gd name="T108" fmla="*/ 485 w 958"/>
                <a:gd name="T109" fmla="*/ 251 h 1013"/>
                <a:gd name="T110" fmla="*/ 478 w 958"/>
                <a:gd name="T111" fmla="*/ 351 h 1013"/>
                <a:gd name="T112" fmla="*/ 850 w 958"/>
                <a:gd name="T113" fmla="*/ 389 h 1013"/>
                <a:gd name="T114" fmla="*/ 677 w 958"/>
                <a:gd name="T115" fmla="*/ 321 h 1013"/>
                <a:gd name="T116" fmla="*/ 275 w 958"/>
                <a:gd name="T117" fmla="*/ 140 h 1013"/>
                <a:gd name="T118" fmla="*/ 713 w 958"/>
                <a:gd name="T119" fmla="*/ 116 h 1013"/>
                <a:gd name="T120" fmla="*/ 710 w 958"/>
                <a:gd name="T121" fmla="*/ 93 h 1013"/>
                <a:gd name="T122" fmla="*/ 498 w 958"/>
                <a:gd name="T123" fmla="*/ 47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8" h="1013">
                  <a:moveTo>
                    <a:pt x="628" y="1013"/>
                  </a:moveTo>
                  <a:lnTo>
                    <a:pt x="647" y="1013"/>
                  </a:lnTo>
                  <a:lnTo>
                    <a:pt x="662" y="1011"/>
                  </a:lnTo>
                  <a:lnTo>
                    <a:pt x="664" y="1008"/>
                  </a:lnTo>
                  <a:lnTo>
                    <a:pt x="665" y="1006"/>
                  </a:lnTo>
                  <a:lnTo>
                    <a:pt x="678" y="1003"/>
                  </a:lnTo>
                  <a:lnTo>
                    <a:pt x="691" y="999"/>
                  </a:lnTo>
                  <a:lnTo>
                    <a:pt x="697" y="996"/>
                  </a:lnTo>
                  <a:lnTo>
                    <a:pt x="703" y="992"/>
                  </a:lnTo>
                  <a:lnTo>
                    <a:pt x="708" y="989"/>
                  </a:lnTo>
                  <a:lnTo>
                    <a:pt x="711" y="983"/>
                  </a:lnTo>
                  <a:lnTo>
                    <a:pt x="719" y="979"/>
                  </a:lnTo>
                  <a:lnTo>
                    <a:pt x="724" y="976"/>
                  </a:lnTo>
                  <a:lnTo>
                    <a:pt x="733" y="967"/>
                  </a:lnTo>
                  <a:lnTo>
                    <a:pt x="740" y="956"/>
                  </a:lnTo>
                  <a:lnTo>
                    <a:pt x="747" y="946"/>
                  </a:lnTo>
                  <a:lnTo>
                    <a:pt x="753" y="933"/>
                  </a:lnTo>
                  <a:lnTo>
                    <a:pt x="765" y="917"/>
                  </a:lnTo>
                  <a:lnTo>
                    <a:pt x="775" y="899"/>
                  </a:lnTo>
                  <a:lnTo>
                    <a:pt x="782" y="881"/>
                  </a:lnTo>
                  <a:lnTo>
                    <a:pt x="791" y="863"/>
                  </a:lnTo>
                  <a:lnTo>
                    <a:pt x="792" y="850"/>
                  </a:lnTo>
                  <a:lnTo>
                    <a:pt x="795" y="837"/>
                  </a:lnTo>
                  <a:lnTo>
                    <a:pt x="796" y="824"/>
                  </a:lnTo>
                  <a:lnTo>
                    <a:pt x="799" y="809"/>
                  </a:lnTo>
                  <a:lnTo>
                    <a:pt x="802" y="797"/>
                  </a:lnTo>
                  <a:lnTo>
                    <a:pt x="802" y="782"/>
                  </a:lnTo>
                  <a:lnTo>
                    <a:pt x="806" y="761"/>
                  </a:lnTo>
                  <a:lnTo>
                    <a:pt x="809" y="738"/>
                  </a:lnTo>
                  <a:lnTo>
                    <a:pt x="811" y="715"/>
                  </a:lnTo>
                  <a:lnTo>
                    <a:pt x="812" y="692"/>
                  </a:lnTo>
                  <a:lnTo>
                    <a:pt x="814" y="689"/>
                  </a:lnTo>
                  <a:lnTo>
                    <a:pt x="815" y="683"/>
                  </a:lnTo>
                  <a:lnTo>
                    <a:pt x="816" y="667"/>
                  </a:lnTo>
                  <a:lnTo>
                    <a:pt x="816" y="653"/>
                  </a:lnTo>
                  <a:lnTo>
                    <a:pt x="818" y="637"/>
                  </a:lnTo>
                  <a:lnTo>
                    <a:pt x="818" y="621"/>
                  </a:lnTo>
                  <a:lnTo>
                    <a:pt x="818" y="619"/>
                  </a:lnTo>
                  <a:lnTo>
                    <a:pt x="819" y="616"/>
                  </a:lnTo>
                  <a:lnTo>
                    <a:pt x="819" y="607"/>
                  </a:lnTo>
                  <a:lnTo>
                    <a:pt x="819" y="598"/>
                  </a:lnTo>
                  <a:lnTo>
                    <a:pt x="814" y="588"/>
                  </a:lnTo>
                  <a:lnTo>
                    <a:pt x="808" y="577"/>
                  </a:lnTo>
                  <a:lnTo>
                    <a:pt x="811" y="575"/>
                  </a:lnTo>
                  <a:lnTo>
                    <a:pt x="812" y="575"/>
                  </a:lnTo>
                  <a:lnTo>
                    <a:pt x="812" y="573"/>
                  </a:lnTo>
                  <a:lnTo>
                    <a:pt x="811" y="571"/>
                  </a:lnTo>
                  <a:lnTo>
                    <a:pt x="818" y="570"/>
                  </a:lnTo>
                  <a:lnTo>
                    <a:pt x="824" y="565"/>
                  </a:lnTo>
                  <a:lnTo>
                    <a:pt x="829" y="561"/>
                  </a:lnTo>
                  <a:lnTo>
                    <a:pt x="835" y="557"/>
                  </a:lnTo>
                  <a:lnTo>
                    <a:pt x="835" y="555"/>
                  </a:lnTo>
                  <a:lnTo>
                    <a:pt x="838" y="551"/>
                  </a:lnTo>
                  <a:lnTo>
                    <a:pt x="844" y="545"/>
                  </a:lnTo>
                  <a:lnTo>
                    <a:pt x="850" y="537"/>
                  </a:lnTo>
                  <a:lnTo>
                    <a:pt x="855" y="527"/>
                  </a:lnTo>
                  <a:lnTo>
                    <a:pt x="867" y="505"/>
                  </a:lnTo>
                  <a:lnTo>
                    <a:pt x="876" y="489"/>
                  </a:lnTo>
                  <a:lnTo>
                    <a:pt x="878" y="482"/>
                  </a:lnTo>
                  <a:lnTo>
                    <a:pt x="880" y="475"/>
                  </a:lnTo>
                  <a:lnTo>
                    <a:pt x="886" y="468"/>
                  </a:lnTo>
                  <a:lnTo>
                    <a:pt x="894" y="458"/>
                  </a:lnTo>
                  <a:lnTo>
                    <a:pt x="904" y="438"/>
                  </a:lnTo>
                  <a:lnTo>
                    <a:pt x="913" y="417"/>
                  </a:lnTo>
                  <a:lnTo>
                    <a:pt x="922" y="396"/>
                  </a:lnTo>
                  <a:lnTo>
                    <a:pt x="927" y="374"/>
                  </a:lnTo>
                  <a:lnTo>
                    <a:pt x="936" y="361"/>
                  </a:lnTo>
                  <a:lnTo>
                    <a:pt x="940" y="347"/>
                  </a:lnTo>
                  <a:lnTo>
                    <a:pt x="942" y="341"/>
                  </a:lnTo>
                  <a:lnTo>
                    <a:pt x="943" y="340"/>
                  </a:lnTo>
                  <a:lnTo>
                    <a:pt x="949" y="323"/>
                  </a:lnTo>
                  <a:lnTo>
                    <a:pt x="953" y="305"/>
                  </a:lnTo>
                  <a:lnTo>
                    <a:pt x="958" y="290"/>
                  </a:lnTo>
                  <a:lnTo>
                    <a:pt x="958" y="271"/>
                  </a:lnTo>
                  <a:lnTo>
                    <a:pt x="952" y="261"/>
                  </a:lnTo>
                  <a:lnTo>
                    <a:pt x="945" y="252"/>
                  </a:lnTo>
                  <a:lnTo>
                    <a:pt x="936" y="247"/>
                  </a:lnTo>
                  <a:lnTo>
                    <a:pt x="924" y="241"/>
                  </a:lnTo>
                  <a:lnTo>
                    <a:pt x="917" y="242"/>
                  </a:lnTo>
                  <a:lnTo>
                    <a:pt x="912" y="242"/>
                  </a:lnTo>
                  <a:lnTo>
                    <a:pt x="903" y="248"/>
                  </a:lnTo>
                  <a:lnTo>
                    <a:pt x="896" y="252"/>
                  </a:lnTo>
                  <a:lnTo>
                    <a:pt x="890" y="264"/>
                  </a:lnTo>
                  <a:lnTo>
                    <a:pt x="884" y="274"/>
                  </a:lnTo>
                  <a:lnTo>
                    <a:pt x="881" y="285"/>
                  </a:lnTo>
                  <a:lnTo>
                    <a:pt x="880" y="298"/>
                  </a:lnTo>
                  <a:lnTo>
                    <a:pt x="877" y="305"/>
                  </a:lnTo>
                  <a:lnTo>
                    <a:pt x="876" y="311"/>
                  </a:lnTo>
                  <a:lnTo>
                    <a:pt x="874" y="317"/>
                  </a:lnTo>
                  <a:lnTo>
                    <a:pt x="874" y="321"/>
                  </a:lnTo>
                  <a:lnTo>
                    <a:pt x="873" y="327"/>
                  </a:lnTo>
                  <a:lnTo>
                    <a:pt x="871" y="333"/>
                  </a:lnTo>
                  <a:lnTo>
                    <a:pt x="873" y="336"/>
                  </a:lnTo>
                  <a:lnTo>
                    <a:pt x="874" y="338"/>
                  </a:lnTo>
                  <a:lnTo>
                    <a:pt x="873" y="340"/>
                  </a:lnTo>
                  <a:lnTo>
                    <a:pt x="870" y="340"/>
                  </a:lnTo>
                  <a:lnTo>
                    <a:pt x="871" y="343"/>
                  </a:lnTo>
                  <a:lnTo>
                    <a:pt x="873" y="346"/>
                  </a:lnTo>
                  <a:lnTo>
                    <a:pt x="874" y="346"/>
                  </a:lnTo>
                  <a:lnTo>
                    <a:pt x="876" y="347"/>
                  </a:lnTo>
                  <a:lnTo>
                    <a:pt x="876" y="350"/>
                  </a:lnTo>
                  <a:lnTo>
                    <a:pt x="873" y="350"/>
                  </a:lnTo>
                  <a:lnTo>
                    <a:pt x="870" y="351"/>
                  </a:lnTo>
                  <a:lnTo>
                    <a:pt x="877" y="357"/>
                  </a:lnTo>
                  <a:lnTo>
                    <a:pt x="884" y="363"/>
                  </a:lnTo>
                  <a:lnTo>
                    <a:pt x="884" y="364"/>
                  </a:lnTo>
                  <a:lnTo>
                    <a:pt x="877" y="363"/>
                  </a:lnTo>
                  <a:lnTo>
                    <a:pt x="871" y="364"/>
                  </a:lnTo>
                  <a:lnTo>
                    <a:pt x="867" y="366"/>
                  </a:lnTo>
                  <a:lnTo>
                    <a:pt x="863" y="372"/>
                  </a:lnTo>
                  <a:lnTo>
                    <a:pt x="858" y="374"/>
                  </a:lnTo>
                  <a:lnTo>
                    <a:pt x="857" y="377"/>
                  </a:lnTo>
                  <a:lnTo>
                    <a:pt x="854" y="380"/>
                  </a:lnTo>
                  <a:lnTo>
                    <a:pt x="854" y="384"/>
                  </a:lnTo>
                  <a:lnTo>
                    <a:pt x="851" y="392"/>
                  </a:lnTo>
                  <a:lnTo>
                    <a:pt x="848" y="399"/>
                  </a:lnTo>
                  <a:lnTo>
                    <a:pt x="845" y="400"/>
                  </a:lnTo>
                  <a:lnTo>
                    <a:pt x="847" y="403"/>
                  </a:lnTo>
                  <a:lnTo>
                    <a:pt x="847" y="405"/>
                  </a:lnTo>
                  <a:lnTo>
                    <a:pt x="841" y="412"/>
                  </a:lnTo>
                  <a:lnTo>
                    <a:pt x="838" y="420"/>
                  </a:lnTo>
                  <a:lnTo>
                    <a:pt x="840" y="423"/>
                  </a:lnTo>
                  <a:lnTo>
                    <a:pt x="841" y="426"/>
                  </a:lnTo>
                  <a:lnTo>
                    <a:pt x="848" y="430"/>
                  </a:lnTo>
                  <a:lnTo>
                    <a:pt x="854" y="438"/>
                  </a:lnTo>
                  <a:lnTo>
                    <a:pt x="848" y="436"/>
                  </a:lnTo>
                  <a:lnTo>
                    <a:pt x="844" y="436"/>
                  </a:lnTo>
                  <a:lnTo>
                    <a:pt x="844" y="438"/>
                  </a:lnTo>
                  <a:lnTo>
                    <a:pt x="834" y="440"/>
                  </a:lnTo>
                  <a:lnTo>
                    <a:pt x="825" y="443"/>
                  </a:lnTo>
                  <a:lnTo>
                    <a:pt x="825" y="448"/>
                  </a:lnTo>
                  <a:lnTo>
                    <a:pt x="827" y="450"/>
                  </a:lnTo>
                  <a:lnTo>
                    <a:pt x="829" y="450"/>
                  </a:lnTo>
                  <a:lnTo>
                    <a:pt x="831" y="449"/>
                  </a:lnTo>
                  <a:lnTo>
                    <a:pt x="832" y="452"/>
                  </a:lnTo>
                  <a:lnTo>
                    <a:pt x="832" y="453"/>
                  </a:lnTo>
                  <a:lnTo>
                    <a:pt x="835" y="455"/>
                  </a:lnTo>
                  <a:lnTo>
                    <a:pt x="838" y="456"/>
                  </a:lnTo>
                  <a:lnTo>
                    <a:pt x="838" y="458"/>
                  </a:lnTo>
                  <a:lnTo>
                    <a:pt x="831" y="456"/>
                  </a:lnTo>
                  <a:lnTo>
                    <a:pt x="827" y="453"/>
                  </a:lnTo>
                  <a:lnTo>
                    <a:pt x="821" y="453"/>
                  </a:lnTo>
                  <a:lnTo>
                    <a:pt x="815" y="456"/>
                  </a:lnTo>
                  <a:lnTo>
                    <a:pt x="811" y="459"/>
                  </a:lnTo>
                  <a:lnTo>
                    <a:pt x="808" y="462"/>
                  </a:lnTo>
                  <a:lnTo>
                    <a:pt x="805" y="462"/>
                  </a:lnTo>
                  <a:lnTo>
                    <a:pt x="805" y="465"/>
                  </a:lnTo>
                  <a:lnTo>
                    <a:pt x="802" y="465"/>
                  </a:lnTo>
                  <a:lnTo>
                    <a:pt x="802" y="468"/>
                  </a:lnTo>
                  <a:lnTo>
                    <a:pt x="804" y="468"/>
                  </a:lnTo>
                  <a:lnTo>
                    <a:pt x="802" y="471"/>
                  </a:lnTo>
                  <a:lnTo>
                    <a:pt x="801" y="475"/>
                  </a:lnTo>
                  <a:lnTo>
                    <a:pt x="799" y="475"/>
                  </a:lnTo>
                  <a:lnTo>
                    <a:pt x="799" y="472"/>
                  </a:lnTo>
                  <a:lnTo>
                    <a:pt x="791" y="482"/>
                  </a:lnTo>
                  <a:lnTo>
                    <a:pt x="782" y="492"/>
                  </a:lnTo>
                  <a:lnTo>
                    <a:pt x="779" y="504"/>
                  </a:lnTo>
                  <a:lnTo>
                    <a:pt x="775" y="515"/>
                  </a:lnTo>
                  <a:lnTo>
                    <a:pt x="773" y="517"/>
                  </a:lnTo>
                  <a:lnTo>
                    <a:pt x="770" y="518"/>
                  </a:lnTo>
                  <a:lnTo>
                    <a:pt x="770" y="519"/>
                  </a:lnTo>
                  <a:lnTo>
                    <a:pt x="770" y="522"/>
                  </a:lnTo>
                  <a:lnTo>
                    <a:pt x="773" y="522"/>
                  </a:lnTo>
                  <a:lnTo>
                    <a:pt x="775" y="527"/>
                  </a:lnTo>
                  <a:lnTo>
                    <a:pt x="773" y="527"/>
                  </a:lnTo>
                  <a:lnTo>
                    <a:pt x="770" y="527"/>
                  </a:lnTo>
                  <a:lnTo>
                    <a:pt x="770" y="529"/>
                  </a:lnTo>
                  <a:lnTo>
                    <a:pt x="770" y="532"/>
                  </a:lnTo>
                  <a:lnTo>
                    <a:pt x="768" y="532"/>
                  </a:lnTo>
                  <a:lnTo>
                    <a:pt x="763" y="531"/>
                  </a:lnTo>
                  <a:lnTo>
                    <a:pt x="757" y="531"/>
                  </a:lnTo>
                  <a:lnTo>
                    <a:pt x="757" y="532"/>
                  </a:lnTo>
                  <a:lnTo>
                    <a:pt x="762" y="535"/>
                  </a:lnTo>
                  <a:lnTo>
                    <a:pt x="765" y="540"/>
                  </a:lnTo>
                  <a:lnTo>
                    <a:pt x="769" y="541"/>
                  </a:lnTo>
                  <a:lnTo>
                    <a:pt x="770" y="544"/>
                  </a:lnTo>
                  <a:lnTo>
                    <a:pt x="769" y="544"/>
                  </a:lnTo>
                  <a:lnTo>
                    <a:pt x="766" y="544"/>
                  </a:lnTo>
                  <a:lnTo>
                    <a:pt x="768" y="547"/>
                  </a:lnTo>
                  <a:lnTo>
                    <a:pt x="769" y="550"/>
                  </a:lnTo>
                  <a:lnTo>
                    <a:pt x="763" y="547"/>
                  </a:lnTo>
                  <a:lnTo>
                    <a:pt x="759" y="544"/>
                  </a:lnTo>
                  <a:lnTo>
                    <a:pt x="755" y="544"/>
                  </a:lnTo>
                  <a:lnTo>
                    <a:pt x="750" y="544"/>
                  </a:lnTo>
                  <a:lnTo>
                    <a:pt x="749" y="540"/>
                  </a:lnTo>
                  <a:lnTo>
                    <a:pt x="749" y="535"/>
                  </a:lnTo>
                  <a:lnTo>
                    <a:pt x="732" y="525"/>
                  </a:lnTo>
                  <a:lnTo>
                    <a:pt x="713" y="517"/>
                  </a:lnTo>
                  <a:lnTo>
                    <a:pt x="708" y="517"/>
                  </a:lnTo>
                  <a:lnTo>
                    <a:pt x="706" y="517"/>
                  </a:lnTo>
                  <a:lnTo>
                    <a:pt x="701" y="514"/>
                  </a:lnTo>
                  <a:lnTo>
                    <a:pt x="697" y="514"/>
                  </a:lnTo>
                  <a:lnTo>
                    <a:pt x="697" y="512"/>
                  </a:lnTo>
                  <a:lnTo>
                    <a:pt x="697" y="509"/>
                  </a:lnTo>
                  <a:lnTo>
                    <a:pt x="694" y="509"/>
                  </a:lnTo>
                  <a:lnTo>
                    <a:pt x="694" y="508"/>
                  </a:lnTo>
                  <a:lnTo>
                    <a:pt x="694" y="505"/>
                  </a:lnTo>
                  <a:lnTo>
                    <a:pt x="690" y="504"/>
                  </a:lnTo>
                  <a:lnTo>
                    <a:pt x="685" y="502"/>
                  </a:lnTo>
                  <a:lnTo>
                    <a:pt x="685" y="501"/>
                  </a:lnTo>
                  <a:lnTo>
                    <a:pt x="678" y="502"/>
                  </a:lnTo>
                  <a:lnTo>
                    <a:pt x="674" y="504"/>
                  </a:lnTo>
                  <a:lnTo>
                    <a:pt x="674" y="501"/>
                  </a:lnTo>
                  <a:lnTo>
                    <a:pt x="672" y="498"/>
                  </a:lnTo>
                  <a:lnTo>
                    <a:pt x="677" y="496"/>
                  </a:lnTo>
                  <a:lnTo>
                    <a:pt x="678" y="496"/>
                  </a:lnTo>
                  <a:lnTo>
                    <a:pt x="675" y="495"/>
                  </a:lnTo>
                  <a:lnTo>
                    <a:pt x="672" y="495"/>
                  </a:lnTo>
                  <a:lnTo>
                    <a:pt x="674" y="492"/>
                  </a:lnTo>
                  <a:lnTo>
                    <a:pt x="674" y="489"/>
                  </a:lnTo>
                  <a:lnTo>
                    <a:pt x="672" y="486"/>
                  </a:lnTo>
                  <a:lnTo>
                    <a:pt x="671" y="484"/>
                  </a:lnTo>
                  <a:lnTo>
                    <a:pt x="670" y="481"/>
                  </a:lnTo>
                  <a:lnTo>
                    <a:pt x="667" y="479"/>
                  </a:lnTo>
                  <a:lnTo>
                    <a:pt x="664" y="478"/>
                  </a:lnTo>
                  <a:lnTo>
                    <a:pt x="661" y="479"/>
                  </a:lnTo>
                  <a:lnTo>
                    <a:pt x="661" y="486"/>
                  </a:lnTo>
                  <a:lnTo>
                    <a:pt x="661" y="495"/>
                  </a:lnTo>
                  <a:lnTo>
                    <a:pt x="660" y="496"/>
                  </a:lnTo>
                  <a:lnTo>
                    <a:pt x="657" y="498"/>
                  </a:lnTo>
                  <a:lnTo>
                    <a:pt x="658" y="496"/>
                  </a:lnTo>
                  <a:lnTo>
                    <a:pt x="658" y="494"/>
                  </a:lnTo>
                  <a:lnTo>
                    <a:pt x="652" y="494"/>
                  </a:lnTo>
                  <a:lnTo>
                    <a:pt x="647" y="494"/>
                  </a:lnTo>
                  <a:lnTo>
                    <a:pt x="647" y="489"/>
                  </a:lnTo>
                  <a:lnTo>
                    <a:pt x="649" y="486"/>
                  </a:lnTo>
                  <a:lnTo>
                    <a:pt x="647" y="486"/>
                  </a:lnTo>
                  <a:lnTo>
                    <a:pt x="647" y="485"/>
                  </a:lnTo>
                  <a:lnTo>
                    <a:pt x="647" y="484"/>
                  </a:lnTo>
                  <a:lnTo>
                    <a:pt x="642" y="482"/>
                  </a:lnTo>
                  <a:lnTo>
                    <a:pt x="635" y="482"/>
                  </a:lnTo>
                  <a:lnTo>
                    <a:pt x="635" y="479"/>
                  </a:lnTo>
                  <a:lnTo>
                    <a:pt x="635" y="478"/>
                  </a:lnTo>
                  <a:lnTo>
                    <a:pt x="636" y="478"/>
                  </a:lnTo>
                  <a:lnTo>
                    <a:pt x="639" y="478"/>
                  </a:lnTo>
                  <a:lnTo>
                    <a:pt x="642" y="473"/>
                  </a:lnTo>
                  <a:lnTo>
                    <a:pt x="647" y="472"/>
                  </a:lnTo>
                  <a:lnTo>
                    <a:pt x="647" y="469"/>
                  </a:lnTo>
                  <a:lnTo>
                    <a:pt x="638" y="469"/>
                  </a:lnTo>
                  <a:lnTo>
                    <a:pt x="631" y="471"/>
                  </a:lnTo>
                  <a:lnTo>
                    <a:pt x="631" y="473"/>
                  </a:lnTo>
                  <a:lnTo>
                    <a:pt x="632" y="475"/>
                  </a:lnTo>
                  <a:lnTo>
                    <a:pt x="634" y="475"/>
                  </a:lnTo>
                  <a:lnTo>
                    <a:pt x="635" y="478"/>
                  </a:lnTo>
                  <a:lnTo>
                    <a:pt x="631" y="479"/>
                  </a:lnTo>
                  <a:lnTo>
                    <a:pt x="625" y="481"/>
                  </a:lnTo>
                  <a:lnTo>
                    <a:pt x="625" y="482"/>
                  </a:lnTo>
                  <a:lnTo>
                    <a:pt x="624" y="485"/>
                  </a:lnTo>
                  <a:lnTo>
                    <a:pt x="622" y="485"/>
                  </a:lnTo>
                  <a:lnTo>
                    <a:pt x="622" y="481"/>
                  </a:lnTo>
                  <a:lnTo>
                    <a:pt x="621" y="478"/>
                  </a:lnTo>
                  <a:lnTo>
                    <a:pt x="618" y="478"/>
                  </a:lnTo>
                  <a:lnTo>
                    <a:pt x="615" y="478"/>
                  </a:lnTo>
                  <a:lnTo>
                    <a:pt x="615" y="479"/>
                  </a:lnTo>
                  <a:lnTo>
                    <a:pt x="615" y="482"/>
                  </a:lnTo>
                  <a:lnTo>
                    <a:pt x="611" y="482"/>
                  </a:lnTo>
                  <a:lnTo>
                    <a:pt x="603" y="481"/>
                  </a:lnTo>
                  <a:lnTo>
                    <a:pt x="598" y="478"/>
                  </a:lnTo>
                  <a:lnTo>
                    <a:pt x="595" y="473"/>
                  </a:lnTo>
                  <a:lnTo>
                    <a:pt x="592" y="475"/>
                  </a:lnTo>
                  <a:lnTo>
                    <a:pt x="593" y="476"/>
                  </a:lnTo>
                  <a:lnTo>
                    <a:pt x="583" y="478"/>
                  </a:lnTo>
                  <a:lnTo>
                    <a:pt x="573" y="478"/>
                  </a:lnTo>
                  <a:lnTo>
                    <a:pt x="572" y="481"/>
                  </a:lnTo>
                  <a:lnTo>
                    <a:pt x="570" y="485"/>
                  </a:lnTo>
                  <a:lnTo>
                    <a:pt x="567" y="488"/>
                  </a:lnTo>
                  <a:lnTo>
                    <a:pt x="564" y="489"/>
                  </a:lnTo>
                  <a:lnTo>
                    <a:pt x="564" y="486"/>
                  </a:lnTo>
                  <a:lnTo>
                    <a:pt x="562" y="486"/>
                  </a:lnTo>
                  <a:lnTo>
                    <a:pt x="560" y="488"/>
                  </a:lnTo>
                  <a:lnTo>
                    <a:pt x="557" y="492"/>
                  </a:lnTo>
                  <a:lnTo>
                    <a:pt x="553" y="494"/>
                  </a:lnTo>
                  <a:lnTo>
                    <a:pt x="547" y="495"/>
                  </a:lnTo>
                  <a:lnTo>
                    <a:pt x="541" y="496"/>
                  </a:lnTo>
                  <a:lnTo>
                    <a:pt x="541" y="494"/>
                  </a:lnTo>
                  <a:lnTo>
                    <a:pt x="540" y="495"/>
                  </a:lnTo>
                  <a:lnTo>
                    <a:pt x="539" y="496"/>
                  </a:lnTo>
                  <a:lnTo>
                    <a:pt x="537" y="499"/>
                  </a:lnTo>
                  <a:lnTo>
                    <a:pt x="528" y="498"/>
                  </a:lnTo>
                  <a:lnTo>
                    <a:pt x="520" y="498"/>
                  </a:lnTo>
                  <a:lnTo>
                    <a:pt x="520" y="494"/>
                  </a:lnTo>
                  <a:lnTo>
                    <a:pt x="518" y="491"/>
                  </a:lnTo>
                  <a:lnTo>
                    <a:pt x="526" y="494"/>
                  </a:lnTo>
                  <a:lnTo>
                    <a:pt x="527" y="494"/>
                  </a:lnTo>
                  <a:lnTo>
                    <a:pt x="527" y="491"/>
                  </a:lnTo>
                  <a:lnTo>
                    <a:pt x="524" y="491"/>
                  </a:lnTo>
                  <a:lnTo>
                    <a:pt x="524" y="489"/>
                  </a:lnTo>
                  <a:lnTo>
                    <a:pt x="521" y="488"/>
                  </a:lnTo>
                  <a:lnTo>
                    <a:pt x="518" y="488"/>
                  </a:lnTo>
                  <a:lnTo>
                    <a:pt x="518" y="489"/>
                  </a:lnTo>
                  <a:lnTo>
                    <a:pt x="517" y="492"/>
                  </a:lnTo>
                  <a:lnTo>
                    <a:pt x="514" y="488"/>
                  </a:lnTo>
                  <a:lnTo>
                    <a:pt x="514" y="481"/>
                  </a:lnTo>
                  <a:lnTo>
                    <a:pt x="511" y="481"/>
                  </a:lnTo>
                  <a:lnTo>
                    <a:pt x="510" y="481"/>
                  </a:lnTo>
                  <a:lnTo>
                    <a:pt x="508" y="484"/>
                  </a:lnTo>
                  <a:lnTo>
                    <a:pt x="505" y="484"/>
                  </a:lnTo>
                  <a:lnTo>
                    <a:pt x="498" y="479"/>
                  </a:lnTo>
                  <a:lnTo>
                    <a:pt x="492" y="475"/>
                  </a:lnTo>
                  <a:lnTo>
                    <a:pt x="487" y="473"/>
                  </a:lnTo>
                  <a:lnTo>
                    <a:pt x="478" y="472"/>
                  </a:lnTo>
                  <a:lnTo>
                    <a:pt x="475" y="469"/>
                  </a:lnTo>
                  <a:lnTo>
                    <a:pt x="472" y="469"/>
                  </a:lnTo>
                  <a:lnTo>
                    <a:pt x="471" y="465"/>
                  </a:lnTo>
                  <a:lnTo>
                    <a:pt x="467" y="462"/>
                  </a:lnTo>
                  <a:lnTo>
                    <a:pt x="461" y="462"/>
                  </a:lnTo>
                  <a:lnTo>
                    <a:pt x="455" y="461"/>
                  </a:lnTo>
                  <a:lnTo>
                    <a:pt x="449" y="458"/>
                  </a:lnTo>
                  <a:lnTo>
                    <a:pt x="444" y="455"/>
                  </a:lnTo>
                  <a:lnTo>
                    <a:pt x="438" y="450"/>
                  </a:lnTo>
                  <a:lnTo>
                    <a:pt x="432" y="446"/>
                  </a:lnTo>
                  <a:lnTo>
                    <a:pt x="429" y="442"/>
                  </a:lnTo>
                  <a:lnTo>
                    <a:pt x="425" y="436"/>
                  </a:lnTo>
                  <a:lnTo>
                    <a:pt x="420" y="432"/>
                  </a:lnTo>
                  <a:lnTo>
                    <a:pt x="418" y="426"/>
                  </a:lnTo>
                  <a:lnTo>
                    <a:pt x="412" y="417"/>
                  </a:lnTo>
                  <a:lnTo>
                    <a:pt x="405" y="405"/>
                  </a:lnTo>
                  <a:lnTo>
                    <a:pt x="397" y="386"/>
                  </a:lnTo>
                  <a:lnTo>
                    <a:pt x="390" y="367"/>
                  </a:lnTo>
                  <a:lnTo>
                    <a:pt x="383" y="349"/>
                  </a:lnTo>
                  <a:lnTo>
                    <a:pt x="376" y="330"/>
                  </a:lnTo>
                  <a:lnTo>
                    <a:pt x="370" y="323"/>
                  </a:lnTo>
                  <a:lnTo>
                    <a:pt x="366" y="320"/>
                  </a:lnTo>
                  <a:lnTo>
                    <a:pt x="361" y="320"/>
                  </a:lnTo>
                  <a:lnTo>
                    <a:pt x="354" y="317"/>
                  </a:lnTo>
                  <a:lnTo>
                    <a:pt x="354" y="316"/>
                  </a:lnTo>
                  <a:lnTo>
                    <a:pt x="354" y="313"/>
                  </a:lnTo>
                  <a:lnTo>
                    <a:pt x="351" y="311"/>
                  </a:lnTo>
                  <a:lnTo>
                    <a:pt x="351" y="310"/>
                  </a:lnTo>
                  <a:lnTo>
                    <a:pt x="357" y="307"/>
                  </a:lnTo>
                  <a:lnTo>
                    <a:pt x="360" y="303"/>
                  </a:lnTo>
                  <a:lnTo>
                    <a:pt x="360" y="298"/>
                  </a:lnTo>
                  <a:lnTo>
                    <a:pt x="360" y="293"/>
                  </a:lnTo>
                  <a:lnTo>
                    <a:pt x="354" y="277"/>
                  </a:lnTo>
                  <a:lnTo>
                    <a:pt x="347" y="261"/>
                  </a:lnTo>
                  <a:lnTo>
                    <a:pt x="341" y="244"/>
                  </a:lnTo>
                  <a:lnTo>
                    <a:pt x="337" y="228"/>
                  </a:lnTo>
                  <a:lnTo>
                    <a:pt x="334" y="221"/>
                  </a:lnTo>
                  <a:lnTo>
                    <a:pt x="331" y="212"/>
                  </a:lnTo>
                  <a:lnTo>
                    <a:pt x="327" y="205"/>
                  </a:lnTo>
                  <a:lnTo>
                    <a:pt x="323" y="199"/>
                  </a:lnTo>
                  <a:lnTo>
                    <a:pt x="323" y="198"/>
                  </a:lnTo>
                  <a:lnTo>
                    <a:pt x="323" y="195"/>
                  </a:lnTo>
                  <a:lnTo>
                    <a:pt x="325" y="191"/>
                  </a:lnTo>
                  <a:lnTo>
                    <a:pt x="325" y="183"/>
                  </a:lnTo>
                  <a:lnTo>
                    <a:pt x="325" y="176"/>
                  </a:lnTo>
                  <a:lnTo>
                    <a:pt x="324" y="168"/>
                  </a:lnTo>
                  <a:lnTo>
                    <a:pt x="321" y="150"/>
                  </a:lnTo>
                  <a:lnTo>
                    <a:pt x="318" y="137"/>
                  </a:lnTo>
                  <a:lnTo>
                    <a:pt x="311" y="120"/>
                  </a:lnTo>
                  <a:lnTo>
                    <a:pt x="304" y="107"/>
                  </a:lnTo>
                  <a:lnTo>
                    <a:pt x="300" y="102"/>
                  </a:lnTo>
                  <a:lnTo>
                    <a:pt x="294" y="97"/>
                  </a:lnTo>
                  <a:lnTo>
                    <a:pt x="287" y="93"/>
                  </a:lnTo>
                  <a:lnTo>
                    <a:pt x="276" y="90"/>
                  </a:lnTo>
                  <a:lnTo>
                    <a:pt x="272" y="91"/>
                  </a:lnTo>
                  <a:lnTo>
                    <a:pt x="265" y="94"/>
                  </a:lnTo>
                  <a:lnTo>
                    <a:pt x="258" y="99"/>
                  </a:lnTo>
                  <a:lnTo>
                    <a:pt x="255" y="103"/>
                  </a:lnTo>
                  <a:lnTo>
                    <a:pt x="253" y="103"/>
                  </a:lnTo>
                  <a:lnTo>
                    <a:pt x="253" y="110"/>
                  </a:lnTo>
                  <a:lnTo>
                    <a:pt x="253" y="117"/>
                  </a:lnTo>
                  <a:lnTo>
                    <a:pt x="252" y="117"/>
                  </a:lnTo>
                  <a:lnTo>
                    <a:pt x="249" y="116"/>
                  </a:lnTo>
                  <a:lnTo>
                    <a:pt x="248" y="119"/>
                  </a:lnTo>
                  <a:lnTo>
                    <a:pt x="246" y="120"/>
                  </a:lnTo>
                  <a:lnTo>
                    <a:pt x="246" y="125"/>
                  </a:lnTo>
                  <a:lnTo>
                    <a:pt x="248" y="129"/>
                  </a:lnTo>
                  <a:lnTo>
                    <a:pt x="251" y="133"/>
                  </a:lnTo>
                  <a:lnTo>
                    <a:pt x="253" y="135"/>
                  </a:lnTo>
                  <a:lnTo>
                    <a:pt x="253" y="137"/>
                  </a:lnTo>
                  <a:lnTo>
                    <a:pt x="251" y="142"/>
                  </a:lnTo>
                  <a:lnTo>
                    <a:pt x="252" y="152"/>
                  </a:lnTo>
                  <a:lnTo>
                    <a:pt x="252" y="160"/>
                  </a:lnTo>
                  <a:lnTo>
                    <a:pt x="255" y="165"/>
                  </a:lnTo>
                  <a:lnTo>
                    <a:pt x="256" y="169"/>
                  </a:lnTo>
                  <a:lnTo>
                    <a:pt x="255" y="169"/>
                  </a:lnTo>
                  <a:lnTo>
                    <a:pt x="255" y="168"/>
                  </a:lnTo>
                  <a:lnTo>
                    <a:pt x="253" y="168"/>
                  </a:lnTo>
                  <a:lnTo>
                    <a:pt x="251" y="168"/>
                  </a:lnTo>
                  <a:lnTo>
                    <a:pt x="252" y="170"/>
                  </a:lnTo>
                  <a:lnTo>
                    <a:pt x="253" y="173"/>
                  </a:lnTo>
                  <a:lnTo>
                    <a:pt x="252" y="178"/>
                  </a:lnTo>
                  <a:lnTo>
                    <a:pt x="251" y="183"/>
                  </a:lnTo>
                  <a:lnTo>
                    <a:pt x="252" y="188"/>
                  </a:lnTo>
                  <a:lnTo>
                    <a:pt x="255" y="192"/>
                  </a:lnTo>
                  <a:lnTo>
                    <a:pt x="256" y="202"/>
                  </a:lnTo>
                  <a:lnTo>
                    <a:pt x="259" y="214"/>
                  </a:lnTo>
                  <a:lnTo>
                    <a:pt x="264" y="215"/>
                  </a:lnTo>
                  <a:lnTo>
                    <a:pt x="269" y="218"/>
                  </a:lnTo>
                  <a:lnTo>
                    <a:pt x="269" y="228"/>
                  </a:lnTo>
                  <a:lnTo>
                    <a:pt x="272" y="238"/>
                  </a:lnTo>
                  <a:lnTo>
                    <a:pt x="271" y="238"/>
                  </a:lnTo>
                  <a:lnTo>
                    <a:pt x="271" y="241"/>
                  </a:lnTo>
                  <a:lnTo>
                    <a:pt x="271" y="244"/>
                  </a:lnTo>
                  <a:lnTo>
                    <a:pt x="269" y="244"/>
                  </a:lnTo>
                  <a:lnTo>
                    <a:pt x="269" y="252"/>
                  </a:lnTo>
                  <a:lnTo>
                    <a:pt x="268" y="261"/>
                  </a:lnTo>
                  <a:lnTo>
                    <a:pt x="268" y="270"/>
                  </a:lnTo>
                  <a:lnTo>
                    <a:pt x="271" y="277"/>
                  </a:lnTo>
                  <a:lnTo>
                    <a:pt x="271" y="288"/>
                  </a:lnTo>
                  <a:lnTo>
                    <a:pt x="274" y="300"/>
                  </a:lnTo>
                  <a:lnTo>
                    <a:pt x="275" y="300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76" y="304"/>
                  </a:lnTo>
                  <a:lnTo>
                    <a:pt x="278" y="311"/>
                  </a:lnTo>
                  <a:lnTo>
                    <a:pt x="281" y="320"/>
                  </a:lnTo>
                  <a:lnTo>
                    <a:pt x="284" y="320"/>
                  </a:lnTo>
                  <a:lnTo>
                    <a:pt x="287" y="321"/>
                  </a:lnTo>
                  <a:lnTo>
                    <a:pt x="285" y="324"/>
                  </a:lnTo>
                  <a:lnTo>
                    <a:pt x="282" y="327"/>
                  </a:lnTo>
                  <a:lnTo>
                    <a:pt x="282" y="330"/>
                  </a:lnTo>
                  <a:lnTo>
                    <a:pt x="284" y="333"/>
                  </a:lnTo>
                  <a:lnTo>
                    <a:pt x="285" y="336"/>
                  </a:lnTo>
                  <a:lnTo>
                    <a:pt x="288" y="337"/>
                  </a:lnTo>
                  <a:lnTo>
                    <a:pt x="288" y="340"/>
                  </a:lnTo>
                  <a:lnTo>
                    <a:pt x="288" y="341"/>
                  </a:lnTo>
                  <a:lnTo>
                    <a:pt x="292" y="343"/>
                  </a:lnTo>
                  <a:lnTo>
                    <a:pt x="295" y="343"/>
                  </a:lnTo>
                  <a:lnTo>
                    <a:pt x="295" y="346"/>
                  </a:lnTo>
                  <a:lnTo>
                    <a:pt x="295" y="349"/>
                  </a:lnTo>
                  <a:lnTo>
                    <a:pt x="297" y="351"/>
                  </a:lnTo>
                  <a:lnTo>
                    <a:pt x="300" y="353"/>
                  </a:lnTo>
                  <a:lnTo>
                    <a:pt x="300" y="359"/>
                  </a:lnTo>
                  <a:lnTo>
                    <a:pt x="300" y="363"/>
                  </a:lnTo>
                  <a:lnTo>
                    <a:pt x="301" y="369"/>
                  </a:lnTo>
                  <a:lnTo>
                    <a:pt x="305" y="373"/>
                  </a:lnTo>
                  <a:lnTo>
                    <a:pt x="308" y="377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2" y="382"/>
                  </a:lnTo>
                  <a:lnTo>
                    <a:pt x="311" y="383"/>
                  </a:lnTo>
                  <a:lnTo>
                    <a:pt x="311" y="386"/>
                  </a:lnTo>
                  <a:lnTo>
                    <a:pt x="314" y="386"/>
                  </a:lnTo>
                  <a:lnTo>
                    <a:pt x="315" y="386"/>
                  </a:lnTo>
                  <a:lnTo>
                    <a:pt x="314" y="390"/>
                  </a:lnTo>
                  <a:lnTo>
                    <a:pt x="312" y="394"/>
                  </a:lnTo>
                  <a:lnTo>
                    <a:pt x="312" y="400"/>
                  </a:lnTo>
                  <a:lnTo>
                    <a:pt x="314" y="406"/>
                  </a:lnTo>
                  <a:lnTo>
                    <a:pt x="317" y="412"/>
                  </a:lnTo>
                  <a:lnTo>
                    <a:pt x="325" y="422"/>
                  </a:lnTo>
                  <a:lnTo>
                    <a:pt x="333" y="430"/>
                  </a:lnTo>
                  <a:lnTo>
                    <a:pt x="337" y="433"/>
                  </a:lnTo>
                  <a:lnTo>
                    <a:pt x="340" y="436"/>
                  </a:lnTo>
                  <a:lnTo>
                    <a:pt x="344" y="438"/>
                  </a:lnTo>
                  <a:lnTo>
                    <a:pt x="348" y="438"/>
                  </a:lnTo>
                  <a:lnTo>
                    <a:pt x="354" y="445"/>
                  </a:lnTo>
                  <a:lnTo>
                    <a:pt x="360" y="452"/>
                  </a:lnTo>
                  <a:lnTo>
                    <a:pt x="374" y="455"/>
                  </a:lnTo>
                  <a:lnTo>
                    <a:pt x="389" y="458"/>
                  </a:lnTo>
                  <a:lnTo>
                    <a:pt x="396" y="458"/>
                  </a:lnTo>
                  <a:lnTo>
                    <a:pt x="402" y="458"/>
                  </a:lnTo>
                  <a:lnTo>
                    <a:pt x="403" y="458"/>
                  </a:lnTo>
                  <a:lnTo>
                    <a:pt x="406" y="461"/>
                  </a:lnTo>
                  <a:lnTo>
                    <a:pt x="408" y="462"/>
                  </a:lnTo>
                  <a:lnTo>
                    <a:pt x="408" y="466"/>
                  </a:lnTo>
                  <a:lnTo>
                    <a:pt x="415" y="466"/>
                  </a:lnTo>
                  <a:lnTo>
                    <a:pt x="419" y="469"/>
                  </a:lnTo>
                  <a:lnTo>
                    <a:pt x="420" y="471"/>
                  </a:lnTo>
                  <a:lnTo>
                    <a:pt x="422" y="472"/>
                  </a:lnTo>
                  <a:lnTo>
                    <a:pt x="422" y="475"/>
                  </a:lnTo>
                  <a:lnTo>
                    <a:pt x="422" y="479"/>
                  </a:lnTo>
                  <a:lnTo>
                    <a:pt x="423" y="479"/>
                  </a:lnTo>
                  <a:lnTo>
                    <a:pt x="423" y="481"/>
                  </a:lnTo>
                  <a:lnTo>
                    <a:pt x="418" y="482"/>
                  </a:lnTo>
                  <a:lnTo>
                    <a:pt x="413" y="485"/>
                  </a:lnTo>
                  <a:lnTo>
                    <a:pt x="412" y="489"/>
                  </a:lnTo>
                  <a:lnTo>
                    <a:pt x="409" y="495"/>
                  </a:lnTo>
                  <a:lnTo>
                    <a:pt x="406" y="496"/>
                  </a:lnTo>
                  <a:lnTo>
                    <a:pt x="402" y="499"/>
                  </a:lnTo>
                  <a:lnTo>
                    <a:pt x="402" y="504"/>
                  </a:lnTo>
                  <a:lnTo>
                    <a:pt x="400" y="508"/>
                  </a:lnTo>
                  <a:lnTo>
                    <a:pt x="397" y="512"/>
                  </a:lnTo>
                  <a:lnTo>
                    <a:pt x="395" y="517"/>
                  </a:lnTo>
                  <a:lnTo>
                    <a:pt x="395" y="524"/>
                  </a:lnTo>
                  <a:lnTo>
                    <a:pt x="396" y="532"/>
                  </a:lnTo>
                  <a:lnTo>
                    <a:pt x="399" y="532"/>
                  </a:lnTo>
                  <a:lnTo>
                    <a:pt x="400" y="534"/>
                  </a:lnTo>
                  <a:lnTo>
                    <a:pt x="403" y="538"/>
                  </a:lnTo>
                  <a:lnTo>
                    <a:pt x="406" y="542"/>
                  </a:lnTo>
                  <a:lnTo>
                    <a:pt x="408" y="552"/>
                  </a:lnTo>
                  <a:lnTo>
                    <a:pt x="408" y="560"/>
                  </a:lnTo>
                  <a:lnTo>
                    <a:pt x="415" y="564"/>
                  </a:lnTo>
                  <a:lnTo>
                    <a:pt x="422" y="567"/>
                  </a:lnTo>
                  <a:lnTo>
                    <a:pt x="423" y="568"/>
                  </a:lnTo>
                  <a:lnTo>
                    <a:pt x="425" y="571"/>
                  </a:lnTo>
                  <a:lnTo>
                    <a:pt x="432" y="573"/>
                  </a:lnTo>
                  <a:lnTo>
                    <a:pt x="438" y="573"/>
                  </a:lnTo>
                  <a:lnTo>
                    <a:pt x="438" y="574"/>
                  </a:lnTo>
                  <a:lnTo>
                    <a:pt x="438" y="575"/>
                  </a:lnTo>
                  <a:lnTo>
                    <a:pt x="444" y="575"/>
                  </a:lnTo>
                  <a:lnTo>
                    <a:pt x="449" y="574"/>
                  </a:lnTo>
                  <a:lnTo>
                    <a:pt x="451" y="577"/>
                  </a:lnTo>
                  <a:lnTo>
                    <a:pt x="452" y="580"/>
                  </a:lnTo>
                  <a:lnTo>
                    <a:pt x="438" y="580"/>
                  </a:lnTo>
                  <a:lnTo>
                    <a:pt x="423" y="581"/>
                  </a:lnTo>
                  <a:lnTo>
                    <a:pt x="409" y="581"/>
                  </a:lnTo>
                  <a:lnTo>
                    <a:pt x="393" y="583"/>
                  </a:lnTo>
                  <a:lnTo>
                    <a:pt x="393" y="584"/>
                  </a:lnTo>
                  <a:lnTo>
                    <a:pt x="393" y="587"/>
                  </a:lnTo>
                  <a:lnTo>
                    <a:pt x="397" y="587"/>
                  </a:lnTo>
                  <a:lnTo>
                    <a:pt x="400" y="587"/>
                  </a:lnTo>
                  <a:lnTo>
                    <a:pt x="402" y="591"/>
                  </a:lnTo>
                  <a:lnTo>
                    <a:pt x="403" y="596"/>
                  </a:lnTo>
                  <a:lnTo>
                    <a:pt x="405" y="598"/>
                  </a:lnTo>
                  <a:lnTo>
                    <a:pt x="408" y="600"/>
                  </a:lnTo>
                  <a:lnTo>
                    <a:pt x="415" y="603"/>
                  </a:lnTo>
                  <a:lnTo>
                    <a:pt x="425" y="603"/>
                  </a:lnTo>
                  <a:lnTo>
                    <a:pt x="425" y="607"/>
                  </a:lnTo>
                  <a:lnTo>
                    <a:pt x="422" y="611"/>
                  </a:lnTo>
                  <a:lnTo>
                    <a:pt x="422" y="616"/>
                  </a:lnTo>
                  <a:lnTo>
                    <a:pt x="419" y="617"/>
                  </a:lnTo>
                  <a:lnTo>
                    <a:pt x="416" y="619"/>
                  </a:lnTo>
                  <a:lnTo>
                    <a:pt x="416" y="621"/>
                  </a:lnTo>
                  <a:lnTo>
                    <a:pt x="420" y="620"/>
                  </a:lnTo>
                  <a:lnTo>
                    <a:pt x="425" y="620"/>
                  </a:lnTo>
                  <a:lnTo>
                    <a:pt x="426" y="623"/>
                  </a:lnTo>
                  <a:lnTo>
                    <a:pt x="419" y="624"/>
                  </a:lnTo>
                  <a:lnTo>
                    <a:pt x="415" y="629"/>
                  </a:lnTo>
                  <a:lnTo>
                    <a:pt x="413" y="630"/>
                  </a:lnTo>
                  <a:lnTo>
                    <a:pt x="413" y="633"/>
                  </a:lnTo>
                  <a:lnTo>
                    <a:pt x="413" y="636"/>
                  </a:lnTo>
                  <a:lnTo>
                    <a:pt x="413" y="640"/>
                  </a:lnTo>
                  <a:lnTo>
                    <a:pt x="419" y="639"/>
                  </a:lnTo>
                  <a:lnTo>
                    <a:pt x="425" y="637"/>
                  </a:lnTo>
                  <a:lnTo>
                    <a:pt x="423" y="644"/>
                  </a:lnTo>
                  <a:lnTo>
                    <a:pt x="420" y="650"/>
                  </a:lnTo>
                  <a:lnTo>
                    <a:pt x="423" y="653"/>
                  </a:lnTo>
                  <a:lnTo>
                    <a:pt x="426" y="656"/>
                  </a:lnTo>
                  <a:lnTo>
                    <a:pt x="432" y="653"/>
                  </a:lnTo>
                  <a:lnTo>
                    <a:pt x="438" y="649"/>
                  </a:lnTo>
                  <a:lnTo>
                    <a:pt x="444" y="643"/>
                  </a:lnTo>
                  <a:lnTo>
                    <a:pt x="445" y="637"/>
                  </a:lnTo>
                  <a:lnTo>
                    <a:pt x="442" y="636"/>
                  </a:lnTo>
                  <a:lnTo>
                    <a:pt x="439" y="633"/>
                  </a:lnTo>
                  <a:lnTo>
                    <a:pt x="439" y="630"/>
                  </a:lnTo>
                  <a:lnTo>
                    <a:pt x="439" y="626"/>
                  </a:lnTo>
                  <a:lnTo>
                    <a:pt x="448" y="624"/>
                  </a:lnTo>
                  <a:lnTo>
                    <a:pt x="458" y="623"/>
                  </a:lnTo>
                  <a:lnTo>
                    <a:pt x="468" y="623"/>
                  </a:lnTo>
                  <a:lnTo>
                    <a:pt x="477" y="626"/>
                  </a:lnTo>
                  <a:lnTo>
                    <a:pt x="491" y="629"/>
                  </a:lnTo>
                  <a:lnTo>
                    <a:pt x="504" y="634"/>
                  </a:lnTo>
                  <a:lnTo>
                    <a:pt x="517" y="640"/>
                  </a:lnTo>
                  <a:lnTo>
                    <a:pt x="530" y="646"/>
                  </a:lnTo>
                  <a:lnTo>
                    <a:pt x="546" y="653"/>
                  </a:lnTo>
                  <a:lnTo>
                    <a:pt x="563" y="659"/>
                  </a:lnTo>
                  <a:lnTo>
                    <a:pt x="567" y="663"/>
                  </a:lnTo>
                  <a:lnTo>
                    <a:pt x="570" y="666"/>
                  </a:lnTo>
                  <a:lnTo>
                    <a:pt x="575" y="669"/>
                  </a:lnTo>
                  <a:lnTo>
                    <a:pt x="579" y="672"/>
                  </a:lnTo>
                  <a:lnTo>
                    <a:pt x="582" y="675"/>
                  </a:lnTo>
                  <a:lnTo>
                    <a:pt x="583" y="683"/>
                  </a:lnTo>
                  <a:lnTo>
                    <a:pt x="588" y="686"/>
                  </a:lnTo>
                  <a:lnTo>
                    <a:pt x="593" y="690"/>
                  </a:lnTo>
                  <a:lnTo>
                    <a:pt x="598" y="696"/>
                  </a:lnTo>
                  <a:lnTo>
                    <a:pt x="599" y="700"/>
                  </a:lnTo>
                  <a:lnTo>
                    <a:pt x="592" y="703"/>
                  </a:lnTo>
                  <a:lnTo>
                    <a:pt x="586" y="708"/>
                  </a:lnTo>
                  <a:lnTo>
                    <a:pt x="580" y="708"/>
                  </a:lnTo>
                  <a:lnTo>
                    <a:pt x="577" y="710"/>
                  </a:lnTo>
                  <a:lnTo>
                    <a:pt x="573" y="713"/>
                  </a:lnTo>
                  <a:lnTo>
                    <a:pt x="572" y="719"/>
                  </a:lnTo>
                  <a:lnTo>
                    <a:pt x="564" y="719"/>
                  </a:lnTo>
                  <a:lnTo>
                    <a:pt x="560" y="722"/>
                  </a:lnTo>
                  <a:lnTo>
                    <a:pt x="554" y="726"/>
                  </a:lnTo>
                  <a:lnTo>
                    <a:pt x="550" y="731"/>
                  </a:lnTo>
                  <a:lnTo>
                    <a:pt x="550" y="732"/>
                  </a:lnTo>
                  <a:lnTo>
                    <a:pt x="553" y="733"/>
                  </a:lnTo>
                  <a:lnTo>
                    <a:pt x="557" y="733"/>
                  </a:lnTo>
                  <a:lnTo>
                    <a:pt x="554" y="736"/>
                  </a:lnTo>
                  <a:lnTo>
                    <a:pt x="552" y="739"/>
                  </a:lnTo>
                  <a:lnTo>
                    <a:pt x="547" y="739"/>
                  </a:lnTo>
                  <a:lnTo>
                    <a:pt x="543" y="741"/>
                  </a:lnTo>
                  <a:lnTo>
                    <a:pt x="543" y="743"/>
                  </a:lnTo>
                  <a:lnTo>
                    <a:pt x="544" y="746"/>
                  </a:lnTo>
                  <a:lnTo>
                    <a:pt x="540" y="751"/>
                  </a:lnTo>
                  <a:lnTo>
                    <a:pt x="534" y="755"/>
                  </a:lnTo>
                  <a:lnTo>
                    <a:pt x="531" y="759"/>
                  </a:lnTo>
                  <a:lnTo>
                    <a:pt x="531" y="765"/>
                  </a:lnTo>
                  <a:lnTo>
                    <a:pt x="528" y="765"/>
                  </a:lnTo>
                  <a:lnTo>
                    <a:pt x="527" y="766"/>
                  </a:lnTo>
                  <a:lnTo>
                    <a:pt x="526" y="764"/>
                  </a:lnTo>
                  <a:lnTo>
                    <a:pt x="524" y="761"/>
                  </a:lnTo>
                  <a:lnTo>
                    <a:pt x="521" y="761"/>
                  </a:lnTo>
                  <a:lnTo>
                    <a:pt x="518" y="761"/>
                  </a:lnTo>
                  <a:lnTo>
                    <a:pt x="518" y="764"/>
                  </a:lnTo>
                  <a:lnTo>
                    <a:pt x="518" y="768"/>
                  </a:lnTo>
                  <a:lnTo>
                    <a:pt x="513" y="765"/>
                  </a:lnTo>
                  <a:lnTo>
                    <a:pt x="507" y="758"/>
                  </a:lnTo>
                  <a:lnTo>
                    <a:pt x="500" y="755"/>
                  </a:lnTo>
                  <a:lnTo>
                    <a:pt x="491" y="755"/>
                  </a:lnTo>
                  <a:lnTo>
                    <a:pt x="484" y="755"/>
                  </a:lnTo>
                  <a:lnTo>
                    <a:pt x="475" y="756"/>
                  </a:lnTo>
                  <a:lnTo>
                    <a:pt x="467" y="755"/>
                  </a:lnTo>
                  <a:lnTo>
                    <a:pt x="456" y="753"/>
                  </a:lnTo>
                  <a:lnTo>
                    <a:pt x="452" y="752"/>
                  </a:lnTo>
                  <a:lnTo>
                    <a:pt x="446" y="751"/>
                  </a:lnTo>
                  <a:lnTo>
                    <a:pt x="439" y="751"/>
                  </a:lnTo>
                  <a:lnTo>
                    <a:pt x="435" y="751"/>
                  </a:lnTo>
                  <a:lnTo>
                    <a:pt x="429" y="755"/>
                  </a:lnTo>
                  <a:lnTo>
                    <a:pt x="422" y="755"/>
                  </a:lnTo>
                  <a:lnTo>
                    <a:pt x="415" y="755"/>
                  </a:lnTo>
                  <a:lnTo>
                    <a:pt x="409" y="755"/>
                  </a:lnTo>
                  <a:lnTo>
                    <a:pt x="409" y="752"/>
                  </a:lnTo>
                  <a:lnTo>
                    <a:pt x="419" y="751"/>
                  </a:lnTo>
                  <a:lnTo>
                    <a:pt x="429" y="746"/>
                  </a:lnTo>
                  <a:lnTo>
                    <a:pt x="428" y="745"/>
                  </a:lnTo>
                  <a:lnTo>
                    <a:pt x="410" y="749"/>
                  </a:lnTo>
                  <a:lnTo>
                    <a:pt x="393" y="752"/>
                  </a:lnTo>
                  <a:lnTo>
                    <a:pt x="393" y="751"/>
                  </a:lnTo>
                  <a:lnTo>
                    <a:pt x="400" y="748"/>
                  </a:lnTo>
                  <a:lnTo>
                    <a:pt x="408" y="745"/>
                  </a:lnTo>
                  <a:lnTo>
                    <a:pt x="425" y="742"/>
                  </a:lnTo>
                  <a:lnTo>
                    <a:pt x="441" y="736"/>
                  </a:lnTo>
                  <a:lnTo>
                    <a:pt x="431" y="738"/>
                  </a:lnTo>
                  <a:lnTo>
                    <a:pt x="419" y="738"/>
                  </a:lnTo>
                  <a:lnTo>
                    <a:pt x="423" y="735"/>
                  </a:lnTo>
                  <a:lnTo>
                    <a:pt x="428" y="733"/>
                  </a:lnTo>
                  <a:lnTo>
                    <a:pt x="428" y="732"/>
                  </a:lnTo>
                  <a:lnTo>
                    <a:pt x="420" y="731"/>
                  </a:lnTo>
                  <a:lnTo>
                    <a:pt x="413" y="732"/>
                  </a:lnTo>
                  <a:lnTo>
                    <a:pt x="413" y="733"/>
                  </a:lnTo>
                  <a:lnTo>
                    <a:pt x="408" y="735"/>
                  </a:lnTo>
                  <a:lnTo>
                    <a:pt x="403" y="736"/>
                  </a:lnTo>
                  <a:lnTo>
                    <a:pt x="412" y="732"/>
                  </a:lnTo>
                  <a:lnTo>
                    <a:pt x="419" y="728"/>
                  </a:lnTo>
                  <a:lnTo>
                    <a:pt x="418" y="726"/>
                  </a:lnTo>
                  <a:lnTo>
                    <a:pt x="415" y="726"/>
                  </a:lnTo>
                  <a:lnTo>
                    <a:pt x="410" y="728"/>
                  </a:lnTo>
                  <a:lnTo>
                    <a:pt x="406" y="729"/>
                  </a:lnTo>
                  <a:lnTo>
                    <a:pt x="405" y="732"/>
                  </a:lnTo>
                  <a:lnTo>
                    <a:pt x="392" y="733"/>
                  </a:lnTo>
                  <a:lnTo>
                    <a:pt x="380" y="735"/>
                  </a:lnTo>
                  <a:lnTo>
                    <a:pt x="372" y="736"/>
                  </a:lnTo>
                  <a:lnTo>
                    <a:pt x="357" y="739"/>
                  </a:lnTo>
                  <a:lnTo>
                    <a:pt x="344" y="743"/>
                  </a:lnTo>
                  <a:lnTo>
                    <a:pt x="334" y="748"/>
                  </a:lnTo>
                  <a:lnTo>
                    <a:pt x="336" y="751"/>
                  </a:lnTo>
                  <a:lnTo>
                    <a:pt x="333" y="751"/>
                  </a:lnTo>
                  <a:lnTo>
                    <a:pt x="331" y="752"/>
                  </a:lnTo>
                  <a:lnTo>
                    <a:pt x="331" y="755"/>
                  </a:lnTo>
                  <a:lnTo>
                    <a:pt x="331" y="758"/>
                  </a:lnTo>
                  <a:lnTo>
                    <a:pt x="327" y="758"/>
                  </a:lnTo>
                  <a:lnTo>
                    <a:pt x="323" y="759"/>
                  </a:lnTo>
                  <a:lnTo>
                    <a:pt x="318" y="762"/>
                  </a:lnTo>
                  <a:lnTo>
                    <a:pt x="315" y="765"/>
                  </a:lnTo>
                  <a:lnTo>
                    <a:pt x="317" y="766"/>
                  </a:lnTo>
                  <a:lnTo>
                    <a:pt x="318" y="769"/>
                  </a:lnTo>
                  <a:lnTo>
                    <a:pt x="311" y="772"/>
                  </a:lnTo>
                  <a:lnTo>
                    <a:pt x="304" y="775"/>
                  </a:lnTo>
                  <a:lnTo>
                    <a:pt x="298" y="787"/>
                  </a:lnTo>
                  <a:lnTo>
                    <a:pt x="292" y="798"/>
                  </a:lnTo>
                  <a:lnTo>
                    <a:pt x="289" y="799"/>
                  </a:lnTo>
                  <a:lnTo>
                    <a:pt x="289" y="797"/>
                  </a:lnTo>
                  <a:lnTo>
                    <a:pt x="289" y="794"/>
                  </a:lnTo>
                  <a:lnTo>
                    <a:pt x="284" y="797"/>
                  </a:lnTo>
                  <a:lnTo>
                    <a:pt x="282" y="801"/>
                  </a:lnTo>
                  <a:lnTo>
                    <a:pt x="278" y="799"/>
                  </a:lnTo>
                  <a:lnTo>
                    <a:pt x="275" y="799"/>
                  </a:lnTo>
                  <a:lnTo>
                    <a:pt x="276" y="795"/>
                  </a:lnTo>
                  <a:lnTo>
                    <a:pt x="276" y="789"/>
                  </a:lnTo>
                  <a:lnTo>
                    <a:pt x="274" y="791"/>
                  </a:lnTo>
                  <a:lnTo>
                    <a:pt x="272" y="794"/>
                  </a:lnTo>
                  <a:lnTo>
                    <a:pt x="271" y="797"/>
                  </a:lnTo>
                  <a:lnTo>
                    <a:pt x="268" y="799"/>
                  </a:lnTo>
                  <a:lnTo>
                    <a:pt x="265" y="799"/>
                  </a:lnTo>
                  <a:lnTo>
                    <a:pt x="259" y="802"/>
                  </a:lnTo>
                  <a:lnTo>
                    <a:pt x="256" y="805"/>
                  </a:lnTo>
                  <a:lnTo>
                    <a:pt x="252" y="805"/>
                  </a:lnTo>
                  <a:lnTo>
                    <a:pt x="248" y="805"/>
                  </a:lnTo>
                  <a:lnTo>
                    <a:pt x="245" y="807"/>
                  </a:lnTo>
                  <a:lnTo>
                    <a:pt x="242" y="811"/>
                  </a:lnTo>
                  <a:lnTo>
                    <a:pt x="239" y="812"/>
                  </a:lnTo>
                  <a:lnTo>
                    <a:pt x="238" y="814"/>
                  </a:lnTo>
                  <a:lnTo>
                    <a:pt x="238" y="817"/>
                  </a:lnTo>
                  <a:lnTo>
                    <a:pt x="238" y="820"/>
                  </a:lnTo>
                  <a:lnTo>
                    <a:pt x="242" y="825"/>
                  </a:lnTo>
                  <a:lnTo>
                    <a:pt x="248" y="831"/>
                  </a:lnTo>
                  <a:lnTo>
                    <a:pt x="255" y="838"/>
                  </a:lnTo>
                  <a:lnTo>
                    <a:pt x="264" y="843"/>
                  </a:lnTo>
                  <a:lnTo>
                    <a:pt x="268" y="844"/>
                  </a:lnTo>
                  <a:lnTo>
                    <a:pt x="272" y="844"/>
                  </a:lnTo>
                  <a:lnTo>
                    <a:pt x="275" y="844"/>
                  </a:lnTo>
                  <a:lnTo>
                    <a:pt x="279" y="843"/>
                  </a:lnTo>
                  <a:lnTo>
                    <a:pt x="276" y="848"/>
                  </a:lnTo>
                  <a:lnTo>
                    <a:pt x="276" y="855"/>
                  </a:lnTo>
                  <a:lnTo>
                    <a:pt x="278" y="861"/>
                  </a:lnTo>
                  <a:lnTo>
                    <a:pt x="279" y="867"/>
                  </a:lnTo>
                  <a:lnTo>
                    <a:pt x="285" y="878"/>
                  </a:lnTo>
                  <a:lnTo>
                    <a:pt x="292" y="888"/>
                  </a:lnTo>
                  <a:lnTo>
                    <a:pt x="302" y="894"/>
                  </a:lnTo>
                  <a:lnTo>
                    <a:pt x="311" y="900"/>
                  </a:lnTo>
                  <a:lnTo>
                    <a:pt x="324" y="911"/>
                  </a:lnTo>
                  <a:lnTo>
                    <a:pt x="338" y="922"/>
                  </a:lnTo>
                  <a:lnTo>
                    <a:pt x="353" y="933"/>
                  </a:lnTo>
                  <a:lnTo>
                    <a:pt x="369" y="940"/>
                  </a:lnTo>
                  <a:lnTo>
                    <a:pt x="373" y="944"/>
                  </a:lnTo>
                  <a:lnTo>
                    <a:pt x="380" y="947"/>
                  </a:lnTo>
                  <a:lnTo>
                    <a:pt x="387" y="949"/>
                  </a:lnTo>
                  <a:lnTo>
                    <a:pt x="393" y="949"/>
                  </a:lnTo>
                  <a:lnTo>
                    <a:pt x="400" y="955"/>
                  </a:lnTo>
                  <a:lnTo>
                    <a:pt x="410" y="956"/>
                  </a:lnTo>
                  <a:lnTo>
                    <a:pt x="419" y="957"/>
                  </a:lnTo>
                  <a:lnTo>
                    <a:pt x="429" y="959"/>
                  </a:lnTo>
                  <a:lnTo>
                    <a:pt x="433" y="965"/>
                  </a:lnTo>
                  <a:lnTo>
                    <a:pt x="441" y="967"/>
                  </a:lnTo>
                  <a:lnTo>
                    <a:pt x="442" y="970"/>
                  </a:lnTo>
                  <a:lnTo>
                    <a:pt x="442" y="972"/>
                  </a:lnTo>
                  <a:lnTo>
                    <a:pt x="454" y="972"/>
                  </a:lnTo>
                  <a:lnTo>
                    <a:pt x="465" y="969"/>
                  </a:lnTo>
                  <a:lnTo>
                    <a:pt x="472" y="975"/>
                  </a:lnTo>
                  <a:lnTo>
                    <a:pt x="481" y="978"/>
                  </a:lnTo>
                  <a:lnTo>
                    <a:pt x="490" y="982"/>
                  </a:lnTo>
                  <a:lnTo>
                    <a:pt x="495" y="986"/>
                  </a:lnTo>
                  <a:lnTo>
                    <a:pt x="503" y="988"/>
                  </a:lnTo>
                  <a:lnTo>
                    <a:pt x="513" y="988"/>
                  </a:lnTo>
                  <a:lnTo>
                    <a:pt x="511" y="990"/>
                  </a:lnTo>
                  <a:lnTo>
                    <a:pt x="511" y="993"/>
                  </a:lnTo>
                  <a:lnTo>
                    <a:pt x="511" y="995"/>
                  </a:lnTo>
                  <a:lnTo>
                    <a:pt x="513" y="996"/>
                  </a:lnTo>
                  <a:lnTo>
                    <a:pt x="517" y="998"/>
                  </a:lnTo>
                  <a:lnTo>
                    <a:pt x="523" y="999"/>
                  </a:lnTo>
                  <a:lnTo>
                    <a:pt x="527" y="1003"/>
                  </a:lnTo>
                  <a:lnTo>
                    <a:pt x="533" y="1006"/>
                  </a:lnTo>
                  <a:lnTo>
                    <a:pt x="549" y="1006"/>
                  </a:lnTo>
                  <a:lnTo>
                    <a:pt x="564" y="1008"/>
                  </a:lnTo>
                  <a:lnTo>
                    <a:pt x="580" y="1009"/>
                  </a:lnTo>
                  <a:lnTo>
                    <a:pt x="596" y="1009"/>
                  </a:lnTo>
                  <a:lnTo>
                    <a:pt x="603" y="1012"/>
                  </a:lnTo>
                  <a:lnTo>
                    <a:pt x="612" y="1013"/>
                  </a:lnTo>
                  <a:lnTo>
                    <a:pt x="619" y="1013"/>
                  </a:lnTo>
                  <a:lnTo>
                    <a:pt x="628" y="1013"/>
                  </a:lnTo>
                  <a:close/>
                  <a:moveTo>
                    <a:pt x="567" y="848"/>
                  </a:moveTo>
                  <a:lnTo>
                    <a:pt x="567" y="848"/>
                  </a:lnTo>
                  <a:lnTo>
                    <a:pt x="570" y="844"/>
                  </a:lnTo>
                  <a:lnTo>
                    <a:pt x="572" y="838"/>
                  </a:lnTo>
                  <a:lnTo>
                    <a:pt x="569" y="838"/>
                  </a:lnTo>
                  <a:lnTo>
                    <a:pt x="567" y="841"/>
                  </a:lnTo>
                  <a:lnTo>
                    <a:pt x="566" y="844"/>
                  </a:lnTo>
                  <a:lnTo>
                    <a:pt x="566" y="848"/>
                  </a:lnTo>
                  <a:lnTo>
                    <a:pt x="567" y="848"/>
                  </a:lnTo>
                  <a:close/>
                  <a:moveTo>
                    <a:pt x="575" y="834"/>
                  </a:moveTo>
                  <a:lnTo>
                    <a:pt x="575" y="834"/>
                  </a:lnTo>
                  <a:lnTo>
                    <a:pt x="575" y="831"/>
                  </a:lnTo>
                  <a:lnTo>
                    <a:pt x="585" y="825"/>
                  </a:lnTo>
                  <a:lnTo>
                    <a:pt x="596" y="815"/>
                  </a:lnTo>
                  <a:lnTo>
                    <a:pt x="600" y="809"/>
                  </a:lnTo>
                  <a:lnTo>
                    <a:pt x="605" y="805"/>
                  </a:lnTo>
                  <a:lnTo>
                    <a:pt x="605" y="802"/>
                  </a:lnTo>
                  <a:lnTo>
                    <a:pt x="605" y="799"/>
                  </a:lnTo>
                  <a:lnTo>
                    <a:pt x="605" y="797"/>
                  </a:lnTo>
                  <a:lnTo>
                    <a:pt x="603" y="794"/>
                  </a:lnTo>
                  <a:lnTo>
                    <a:pt x="606" y="791"/>
                  </a:lnTo>
                  <a:lnTo>
                    <a:pt x="611" y="789"/>
                  </a:lnTo>
                  <a:lnTo>
                    <a:pt x="618" y="775"/>
                  </a:lnTo>
                  <a:lnTo>
                    <a:pt x="626" y="761"/>
                  </a:lnTo>
                  <a:lnTo>
                    <a:pt x="631" y="755"/>
                  </a:lnTo>
                  <a:lnTo>
                    <a:pt x="636" y="748"/>
                  </a:lnTo>
                  <a:lnTo>
                    <a:pt x="642" y="743"/>
                  </a:lnTo>
                  <a:lnTo>
                    <a:pt x="649" y="738"/>
                  </a:lnTo>
                  <a:lnTo>
                    <a:pt x="652" y="726"/>
                  </a:lnTo>
                  <a:lnTo>
                    <a:pt x="655" y="715"/>
                  </a:lnTo>
                  <a:lnTo>
                    <a:pt x="661" y="705"/>
                  </a:lnTo>
                  <a:lnTo>
                    <a:pt x="668" y="695"/>
                  </a:lnTo>
                  <a:lnTo>
                    <a:pt x="670" y="690"/>
                  </a:lnTo>
                  <a:lnTo>
                    <a:pt x="670" y="689"/>
                  </a:lnTo>
                  <a:lnTo>
                    <a:pt x="655" y="706"/>
                  </a:lnTo>
                  <a:lnTo>
                    <a:pt x="644" y="722"/>
                  </a:lnTo>
                  <a:lnTo>
                    <a:pt x="636" y="723"/>
                  </a:lnTo>
                  <a:lnTo>
                    <a:pt x="632" y="726"/>
                  </a:lnTo>
                  <a:lnTo>
                    <a:pt x="629" y="731"/>
                  </a:lnTo>
                  <a:lnTo>
                    <a:pt x="626" y="739"/>
                  </a:lnTo>
                  <a:lnTo>
                    <a:pt x="618" y="748"/>
                  </a:lnTo>
                  <a:lnTo>
                    <a:pt x="611" y="758"/>
                  </a:lnTo>
                  <a:lnTo>
                    <a:pt x="606" y="766"/>
                  </a:lnTo>
                  <a:lnTo>
                    <a:pt x="599" y="772"/>
                  </a:lnTo>
                  <a:lnTo>
                    <a:pt x="598" y="776"/>
                  </a:lnTo>
                  <a:lnTo>
                    <a:pt x="596" y="779"/>
                  </a:lnTo>
                  <a:lnTo>
                    <a:pt x="593" y="781"/>
                  </a:lnTo>
                  <a:lnTo>
                    <a:pt x="589" y="782"/>
                  </a:lnTo>
                  <a:lnTo>
                    <a:pt x="589" y="785"/>
                  </a:lnTo>
                  <a:lnTo>
                    <a:pt x="592" y="788"/>
                  </a:lnTo>
                  <a:lnTo>
                    <a:pt x="593" y="792"/>
                  </a:lnTo>
                  <a:lnTo>
                    <a:pt x="592" y="797"/>
                  </a:lnTo>
                  <a:lnTo>
                    <a:pt x="590" y="802"/>
                  </a:lnTo>
                  <a:lnTo>
                    <a:pt x="585" y="808"/>
                  </a:lnTo>
                  <a:lnTo>
                    <a:pt x="579" y="818"/>
                  </a:lnTo>
                  <a:lnTo>
                    <a:pt x="573" y="827"/>
                  </a:lnTo>
                  <a:lnTo>
                    <a:pt x="572" y="834"/>
                  </a:lnTo>
                  <a:lnTo>
                    <a:pt x="575" y="834"/>
                  </a:lnTo>
                  <a:close/>
                  <a:moveTo>
                    <a:pt x="531" y="802"/>
                  </a:moveTo>
                  <a:lnTo>
                    <a:pt x="531" y="802"/>
                  </a:lnTo>
                  <a:lnTo>
                    <a:pt x="531" y="801"/>
                  </a:lnTo>
                  <a:lnTo>
                    <a:pt x="531" y="799"/>
                  </a:lnTo>
                  <a:lnTo>
                    <a:pt x="531" y="799"/>
                  </a:lnTo>
                  <a:lnTo>
                    <a:pt x="528" y="799"/>
                  </a:lnTo>
                  <a:lnTo>
                    <a:pt x="530" y="801"/>
                  </a:lnTo>
                  <a:lnTo>
                    <a:pt x="531" y="802"/>
                  </a:lnTo>
                  <a:close/>
                  <a:moveTo>
                    <a:pt x="229" y="808"/>
                  </a:moveTo>
                  <a:lnTo>
                    <a:pt x="229" y="808"/>
                  </a:lnTo>
                  <a:lnTo>
                    <a:pt x="233" y="804"/>
                  </a:lnTo>
                  <a:lnTo>
                    <a:pt x="233" y="797"/>
                  </a:lnTo>
                  <a:lnTo>
                    <a:pt x="236" y="795"/>
                  </a:lnTo>
                  <a:lnTo>
                    <a:pt x="236" y="788"/>
                  </a:lnTo>
                  <a:lnTo>
                    <a:pt x="235" y="782"/>
                  </a:lnTo>
                  <a:lnTo>
                    <a:pt x="238" y="779"/>
                  </a:lnTo>
                  <a:lnTo>
                    <a:pt x="239" y="775"/>
                  </a:lnTo>
                  <a:lnTo>
                    <a:pt x="238" y="772"/>
                  </a:lnTo>
                  <a:lnTo>
                    <a:pt x="238" y="768"/>
                  </a:lnTo>
                  <a:lnTo>
                    <a:pt x="240" y="764"/>
                  </a:lnTo>
                  <a:lnTo>
                    <a:pt x="240" y="759"/>
                  </a:lnTo>
                  <a:lnTo>
                    <a:pt x="235" y="756"/>
                  </a:lnTo>
                  <a:lnTo>
                    <a:pt x="230" y="753"/>
                  </a:lnTo>
                  <a:lnTo>
                    <a:pt x="233" y="752"/>
                  </a:lnTo>
                  <a:lnTo>
                    <a:pt x="230" y="749"/>
                  </a:lnTo>
                  <a:lnTo>
                    <a:pt x="220" y="743"/>
                  </a:lnTo>
                  <a:lnTo>
                    <a:pt x="220" y="742"/>
                  </a:lnTo>
                  <a:lnTo>
                    <a:pt x="219" y="739"/>
                  </a:lnTo>
                  <a:lnTo>
                    <a:pt x="222" y="738"/>
                  </a:lnTo>
                  <a:lnTo>
                    <a:pt x="223" y="736"/>
                  </a:lnTo>
                  <a:lnTo>
                    <a:pt x="223" y="735"/>
                  </a:lnTo>
                  <a:lnTo>
                    <a:pt x="220" y="732"/>
                  </a:lnTo>
                  <a:lnTo>
                    <a:pt x="220" y="731"/>
                  </a:lnTo>
                  <a:lnTo>
                    <a:pt x="219" y="729"/>
                  </a:lnTo>
                  <a:lnTo>
                    <a:pt x="222" y="728"/>
                  </a:lnTo>
                  <a:lnTo>
                    <a:pt x="222" y="725"/>
                  </a:lnTo>
                  <a:lnTo>
                    <a:pt x="219" y="722"/>
                  </a:lnTo>
                  <a:lnTo>
                    <a:pt x="217" y="719"/>
                  </a:lnTo>
                  <a:lnTo>
                    <a:pt x="212" y="715"/>
                  </a:lnTo>
                  <a:lnTo>
                    <a:pt x="207" y="710"/>
                  </a:lnTo>
                  <a:lnTo>
                    <a:pt x="207" y="706"/>
                  </a:lnTo>
                  <a:lnTo>
                    <a:pt x="206" y="702"/>
                  </a:lnTo>
                  <a:lnTo>
                    <a:pt x="203" y="699"/>
                  </a:lnTo>
                  <a:lnTo>
                    <a:pt x="199" y="697"/>
                  </a:lnTo>
                  <a:lnTo>
                    <a:pt x="194" y="693"/>
                  </a:lnTo>
                  <a:lnTo>
                    <a:pt x="181" y="683"/>
                  </a:lnTo>
                  <a:lnTo>
                    <a:pt x="179" y="683"/>
                  </a:lnTo>
                  <a:lnTo>
                    <a:pt x="174" y="685"/>
                  </a:lnTo>
                  <a:lnTo>
                    <a:pt x="164" y="680"/>
                  </a:lnTo>
                  <a:lnTo>
                    <a:pt x="156" y="676"/>
                  </a:lnTo>
                  <a:lnTo>
                    <a:pt x="153" y="675"/>
                  </a:lnTo>
                  <a:lnTo>
                    <a:pt x="150" y="676"/>
                  </a:lnTo>
                  <a:lnTo>
                    <a:pt x="150" y="669"/>
                  </a:lnTo>
                  <a:lnTo>
                    <a:pt x="151" y="660"/>
                  </a:lnTo>
                  <a:lnTo>
                    <a:pt x="145" y="660"/>
                  </a:lnTo>
                  <a:lnTo>
                    <a:pt x="141" y="657"/>
                  </a:lnTo>
                  <a:lnTo>
                    <a:pt x="141" y="653"/>
                  </a:lnTo>
                  <a:lnTo>
                    <a:pt x="141" y="649"/>
                  </a:lnTo>
                  <a:lnTo>
                    <a:pt x="132" y="640"/>
                  </a:lnTo>
                  <a:lnTo>
                    <a:pt x="130" y="637"/>
                  </a:lnTo>
                  <a:lnTo>
                    <a:pt x="120" y="637"/>
                  </a:lnTo>
                  <a:lnTo>
                    <a:pt x="111" y="636"/>
                  </a:lnTo>
                  <a:lnTo>
                    <a:pt x="111" y="633"/>
                  </a:lnTo>
                  <a:lnTo>
                    <a:pt x="111" y="630"/>
                  </a:lnTo>
                  <a:lnTo>
                    <a:pt x="109" y="630"/>
                  </a:lnTo>
                  <a:lnTo>
                    <a:pt x="107" y="630"/>
                  </a:lnTo>
                  <a:lnTo>
                    <a:pt x="107" y="633"/>
                  </a:lnTo>
                  <a:lnTo>
                    <a:pt x="104" y="633"/>
                  </a:lnTo>
                  <a:lnTo>
                    <a:pt x="104" y="630"/>
                  </a:lnTo>
                  <a:lnTo>
                    <a:pt x="104" y="629"/>
                  </a:lnTo>
                  <a:lnTo>
                    <a:pt x="94" y="624"/>
                  </a:lnTo>
                  <a:lnTo>
                    <a:pt x="82" y="621"/>
                  </a:lnTo>
                  <a:lnTo>
                    <a:pt x="81" y="623"/>
                  </a:lnTo>
                  <a:lnTo>
                    <a:pt x="76" y="616"/>
                  </a:lnTo>
                  <a:lnTo>
                    <a:pt x="73" y="610"/>
                  </a:lnTo>
                  <a:lnTo>
                    <a:pt x="71" y="610"/>
                  </a:lnTo>
                  <a:lnTo>
                    <a:pt x="68" y="607"/>
                  </a:lnTo>
                  <a:lnTo>
                    <a:pt x="65" y="606"/>
                  </a:lnTo>
                  <a:lnTo>
                    <a:pt x="62" y="604"/>
                  </a:lnTo>
                  <a:lnTo>
                    <a:pt x="58" y="603"/>
                  </a:lnTo>
                  <a:lnTo>
                    <a:pt x="50" y="601"/>
                  </a:lnTo>
                  <a:lnTo>
                    <a:pt x="43" y="601"/>
                  </a:lnTo>
                  <a:lnTo>
                    <a:pt x="39" y="604"/>
                  </a:lnTo>
                  <a:lnTo>
                    <a:pt x="33" y="604"/>
                  </a:lnTo>
                  <a:lnTo>
                    <a:pt x="27" y="604"/>
                  </a:lnTo>
                  <a:lnTo>
                    <a:pt x="23" y="604"/>
                  </a:lnTo>
                  <a:lnTo>
                    <a:pt x="22" y="608"/>
                  </a:lnTo>
                  <a:lnTo>
                    <a:pt x="20" y="613"/>
                  </a:lnTo>
                  <a:lnTo>
                    <a:pt x="17" y="611"/>
                  </a:lnTo>
                  <a:lnTo>
                    <a:pt x="14" y="611"/>
                  </a:lnTo>
                  <a:lnTo>
                    <a:pt x="16" y="614"/>
                  </a:lnTo>
                  <a:lnTo>
                    <a:pt x="17" y="616"/>
                  </a:lnTo>
                  <a:lnTo>
                    <a:pt x="14" y="617"/>
                  </a:lnTo>
                  <a:lnTo>
                    <a:pt x="14" y="619"/>
                  </a:lnTo>
                  <a:lnTo>
                    <a:pt x="14" y="621"/>
                  </a:lnTo>
                  <a:lnTo>
                    <a:pt x="7" y="621"/>
                  </a:lnTo>
                  <a:lnTo>
                    <a:pt x="0" y="621"/>
                  </a:lnTo>
                  <a:lnTo>
                    <a:pt x="0" y="624"/>
                  </a:lnTo>
                  <a:lnTo>
                    <a:pt x="0" y="627"/>
                  </a:lnTo>
                  <a:lnTo>
                    <a:pt x="1" y="630"/>
                  </a:lnTo>
                  <a:lnTo>
                    <a:pt x="4" y="634"/>
                  </a:lnTo>
                  <a:lnTo>
                    <a:pt x="9" y="640"/>
                  </a:lnTo>
                  <a:lnTo>
                    <a:pt x="16" y="647"/>
                  </a:lnTo>
                  <a:lnTo>
                    <a:pt x="32" y="660"/>
                  </a:lnTo>
                  <a:lnTo>
                    <a:pt x="40" y="670"/>
                  </a:lnTo>
                  <a:lnTo>
                    <a:pt x="55" y="680"/>
                  </a:lnTo>
                  <a:lnTo>
                    <a:pt x="68" y="692"/>
                  </a:lnTo>
                  <a:lnTo>
                    <a:pt x="82" y="703"/>
                  </a:lnTo>
                  <a:lnTo>
                    <a:pt x="95" y="715"/>
                  </a:lnTo>
                  <a:lnTo>
                    <a:pt x="99" y="715"/>
                  </a:lnTo>
                  <a:lnTo>
                    <a:pt x="104" y="718"/>
                  </a:lnTo>
                  <a:lnTo>
                    <a:pt x="107" y="719"/>
                  </a:lnTo>
                  <a:lnTo>
                    <a:pt x="109" y="723"/>
                  </a:lnTo>
                  <a:lnTo>
                    <a:pt x="122" y="732"/>
                  </a:lnTo>
                  <a:lnTo>
                    <a:pt x="134" y="741"/>
                  </a:lnTo>
                  <a:lnTo>
                    <a:pt x="153" y="751"/>
                  </a:lnTo>
                  <a:lnTo>
                    <a:pt x="171" y="762"/>
                  </a:lnTo>
                  <a:lnTo>
                    <a:pt x="180" y="768"/>
                  </a:lnTo>
                  <a:lnTo>
                    <a:pt x="189" y="774"/>
                  </a:lnTo>
                  <a:lnTo>
                    <a:pt x="193" y="774"/>
                  </a:lnTo>
                  <a:lnTo>
                    <a:pt x="197" y="774"/>
                  </a:lnTo>
                  <a:lnTo>
                    <a:pt x="199" y="776"/>
                  </a:lnTo>
                  <a:lnTo>
                    <a:pt x="202" y="781"/>
                  </a:lnTo>
                  <a:lnTo>
                    <a:pt x="206" y="782"/>
                  </a:lnTo>
                  <a:lnTo>
                    <a:pt x="210" y="785"/>
                  </a:lnTo>
                  <a:lnTo>
                    <a:pt x="209" y="787"/>
                  </a:lnTo>
                  <a:lnTo>
                    <a:pt x="207" y="785"/>
                  </a:lnTo>
                  <a:lnTo>
                    <a:pt x="203" y="785"/>
                  </a:lnTo>
                  <a:lnTo>
                    <a:pt x="203" y="788"/>
                  </a:lnTo>
                  <a:lnTo>
                    <a:pt x="206" y="788"/>
                  </a:lnTo>
                  <a:lnTo>
                    <a:pt x="207" y="789"/>
                  </a:lnTo>
                  <a:lnTo>
                    <a:pt x="210" y="789"/>
                  </a:lnTo>
                  <a:lnTo>
                    <a:pt x="212" y="797"/>
                  </a:lnTo>
                  <a:lnTo>
                    <a:pt x="217" y="801"/>
                  </a:lnTo>
                  <a:lnTo>
                    <a:pt x="223" y="805"/>
                  </a:lnTo>
                  <a:lnTo>
                    <a:pt x="229" y="808"/>
                  </a:lnTo>
                  <a:close/>
                  <a:moveTo>
                    <a:pt x="245" y="792"/>
                  </a:moveTo>
                  <a:lnTo>
                    <a:pt x="245" y="792"/>
                  </a:lnTo>
                  <a:lnTo>
                    <a:pt x="245" y="789"/>
                  </a:lnTo>
                  <a:lnTo>
                    <a:pt x="242" y="789"/>
                  </a:lnTo>
                  <a:lnTo>
                    <a:pt x="240" y="791"/>
                  </a:lnTo>
                  <a:lnTo>
                    <a:pt x="242" y="791"/>
                  </a:lnTo>
                  <a:lnTo>
                    <a:pt x="245" y="792"/>
                  </a:lnTo>
                  <a:close/>
                  <a:moveTo>
                    <a:pt x="276" y="788"/>
                  </a:moveTo>
                  <a:lnTo>
                    <a:pt x="276" y="788"/>
                  </a:lnTo>
                  <a:lnTo>
                    <a:pt x="276" y="787"/>
                  </a:lnTo>
                  <a:lnTo>
                    <a:pt x="276" y="785"/>
                  </a:lnTo>
                  <a:lnTo>
                    <a:pt x="272" y="784"/>
                  </a:lnTo>
                  <a:lnTo>
                    <a:pt x="269" y="784"/>
                  </a:lnTo>
                  <a:lnTo>
                    <a:pt x="269" y="785"/>
                  </a:lnTo>
                  <a:lnTo>
                    <a:pt x="272" y="787"/>
                  </a:lnTo>
                  <a:lnTo>
                    <a:pt x="276" y="788"/>
                  </a:lnTo>
                  <a:close/>
                  <a:moveTo>
                    <a:pt x="374" y="748"/>
                  </a:moveTo>
                  <a:lnTo>
                    <a:pt x="374" y="748"/>
                  </a:lnTo>
                  <a:lnTo>
                    <a:pt x="374" y="746"/>
                  </a:lnTo>
                  <a:lnTo>
                    <a:pt x="376" y="743"/>
                  </a:lnTo>
                  <a:lnTo>
                    <a:pt x="387" y="741"/>
                  </a:lnTo>
                  <a:lnTo>
                    <a:pt x="400" y="739"/>
                  </a:lnTo>
                  <a:lnTo>
                    <a:pt x="400" y="736"/>
                  </a:lnTo>
                  <a:lnTo>
                    <a:pt x="389" y="738"/>
                  </a:lnTo>
                  <a:lnTo>
                    <a:pt x="377" y="739"/>
                  </a:lnTo>
                  <a:lnTo>
                    <a:pt x="366" y="742"/>
                  </a:lnTo>
                  <a:lnTo>
                    <a:pt x="354" y="745"/>
                  </a:lnTo>
                  <a:lnTo>
                    <a:pt x="354" y="746"/>
                  </a:lnTo>
                  <a:lnTo>
                    <a:pt x="364" y="746"/>
                  </a:lnTo>
                  <a:lnTo>
                    <a:pt x="374" y="748"/>
                  </a:lnTo>
                  <a:close/>
                  <a:moveTo>
                    <a:pt x="405" y="742"/>
                  </a:moveTo>
                  <a:lnTo>
                    <a:pt x="405" y="742"/>
                  </a:lnTo>
                  <a:lnTo>
                    <a:pt x="405" y="741"/>
                  </a:lnTo>
                  <a:lnTo>
                    <a:pt x="402" y="739"/>
                  </a:lnTo>
                  <a:lnTo>
                    <a:pt x="402" y="742"/>
                  </a:lnTo>
                  <a:lnTo>
                    <a:pt x="405" y="742"/>
                  </a:lnTo>
                  <a:close/>
                  <a:moveTo>
                    <a:pt x="334" y="741"/>
                  </a:moveTo>
                  <a:lnTo>
                    <a:pt x="334" y="741"/>
                  </a:lnTo>
                  <a:lnTo>
                    <a:pt x="338" y="739"/>
                  </a:lnTo>
                  <a:lnTo>
                    <a:pt x="350" y="738"/>
                  </a:lnTo>
                  <a:lnTo>
                    <a:pt x="364" y="733"/>
                  </a:lnTo>
                  <a:lnTo>
                    <a:pt x="379" y="729"/>
                  </a:lnTo>
                  <a:lnTo>
                    <a:pt x="393" y="726"/>
                  </a:lnTo>
                  <a:lnTo>
                    <a:pt x="408" y="720"/>
                  </a:lnTo>
                  <a:lnTo>
                    <a:pt x="403" y="720"/>
                  </a:lnTo>
                  <a:lnTo>
                    <a:pt x="400" y="720"/>
                  </a:lnTo>
                  <a:lnTo>
                    <a:pt x="399" y="718"/>
                  </a:lnTo>
                  <a:lnTo>
                    <a:pt x="403" y="716"/>
                  </a:lnTo>
                  <a:lnTo>
                    <a:pt x="406" y="715"/>
                  </a:lnTo>
                  <a:lnTo>
                    <a:pt x="408" y="713"/>
                  </a:lnTo>
                  <a:lnTo>
                    <a:pt x="402" y="713"/>
                  </a:lnTo>
                  <a:lnTo>
                    <a:pt x="396" y="715"/>
                  </a:lnTo>
                  <a:lnTo>
                    <a:pt x="399" y="710"/>
                  </a:lnTo>
                  <a:lnTo>
                    <a:pt x="403" y="706"/>
                  </a:lnTo>
                  <a:lnTo>
                    <a:pt x="402" y="703"/>
                  </a:lnTo>
                  <a:lnTo>
                    <a:pt x="399" y="703"/>
                  </a:lnTo>
                  <a:lnTo>
                    <a:pt x="396" y="703"/>
                  </a:lnTo>
                  <a:lnTo>
                    <a:pt x="393" y="705"/>
                  </a:lnTo>
                  <a:lnTo>
                    <a:pt x="390" y="706"/>
                  </a:lnTo>
                  <a:lnTo>
                    <a:pt x="382" y="709"/>
                  </a:lnTo>
                  <a:lnTo>
                    <a:pt x="372" y="710"/>
                  </a:lnTo>
                  <a:lnTo>
                    <a:pt x="363" y="715"/>
                  </a:lnTo>
                  <a:lnTo>
                    <a:pt x="356" y="720"/>
                  </a:lnTo>
                  <a:lnTo>
                    <a:pt x="347" y="728"/>
                  </a:lnTo>
                  <a:lnTo>
                    <a:pt x="338" y="733"/>
                  </a:lnTo>
                  <a:lnTo>
                    <a:pt x="334" y="738"/>
                  </a:lnTo>
                  <a:lnTo>
                    <a:pt x="331" y="741"/>
                  </a:lnTo>
                  <a:lnTo>
                    <a:pt x="333" y="741"/>
                  </a:lnTo>
                  <a:lnTo>
                    <a:pt x="334" y="741"/>
                  </a:lnTo>
                  <a:close/>
                  <a:moveTo>
                    <a:pt x="449" y="735"/>
                  </a:moveTo>
                  <a:lnTo>
                    <a:pt x="449" y="735"/>
                  </a:lnTo>
                  <a:lnTo>
                    <a:pt x="452" y="735"/>
                  </a:lnTo>
                  <a:lnTo>
                    <a:pt x="455" y="735"/>
                  </a:lnTo>
                  <a:lnTo>
                    <a:pt x="454" y="733"/>
                  </a:lnTo>
                  <a:lnTo>
                    <a:pt x="451" y="733"/>
                  </a:lnTo>
                  <a:lnTo>
                    <a:pt x="446" y="733"/>
                  </a:lnTo>
                  <a:lnTo>
                    <a:pt x="446" y="735"/>
                  </a:lnTo>
                  <a:lnTo>
                    <a:pt x="449" y="735"/>
                  </a:lnTo>
                  <a:close/>
                  <a:moveTo>
                    <a:pt x="613" y="712"/>
                  </a:moveTo>
                  <a:lnTo>
                    <a:pt x="613" y="712"/>
                  </a:lnTo>
                  <a:lnTo>
                    <a:pt x="613" y="710"/>
                  </a:lnTo>
                  <a:lnTo>
                    <a:pt x="613" y="708"/>
                  </a:lnTo>
                  <a:lnTo>
                    <a:pt x="609" y="705"/>
                  </a:lnTo>
                  <a:lnTo>
                    <a:pt x="603" y="703"/>
                  </a:lnTo>
                  <a:lnTo>
                    <a:pt x="605" y="708"/>
                  </a:lnTo>
                  <a:lnTo>
                    <a:pt x="608" y="712"/>
                  </a:lnTo>
                  <a:lnTo>
                    <a:pt x="611" y="712"/>
                  </a:lnTo>
                  <a:lnTo>
                    <a:pt x="613" y="712"/>
                  </a:lnTo>
                  <a:close/>
                  <a:moveTo>
                    <a:pt x="425" y="660"/>
                  </a:moveTo>
                  <a:lnTo>
                    <a:pt x="425" y="660"/>
                  </a:lnTo>
                  <a:lnTo>
                    <a:pt x="423" y="657"/>
                  </a:lnTo>
                  <a:lnTo>
                    <a:pt x="422" y="657"/>
                  </a:lnTo>
                  <a:lnTo>
                    <a:pt x="420" y="660"/>
                  </a:lnTo>
                  <a:lnTo>
                    <a:pt x="423" y="660"/>
                  </a:lnTo>
                  <a:lnTo>
                    <a:pt x="425" y="660"/>
                  </a:lnTo>
                  <a:close/>
                  <a:moveTo>
                    <a:pt x="435" y="621"/>
                  </a:moveTo>
                  <a:lnTo>
                    <a:pt x="435" y="621"/>
                  </a:lnTo>
                  <a:lnTo>
                    <a:pt x="435" y="620"/>
                  </a:lnTo>
                  <a:lnTo>
                    <a:pt x="433" y="620"/>
                  </a:lnTo>
                  <a:lnTo>
                    <a:pt x="432" y="620"/>
                  </a:lnTo>
                  <a:lnTo>
                    <a:pt x="431" y="621"/>
                  </a:lnTo>
                  <a:lnTo>
                    <a:pt x="432" y="621"/>
                  </a:lnTo>
                  <a:lnTo>
                    <a:pt x="435" y="621"/>
                  </a:lnTo>
                  <a:close/>
                  <a:moveTo>
                    <a:pt x="62" y="621"/>
                  </a:moveTo>
                  <a:lnTo>
                    <a:pt x="62" y="621"/>
                  </a:lnTo>
                  <a:lnTo>
                    <a:pt x="65" y="619"/>
                  </a:lnTo>
                  <a:lnTo>
                    <a:pt x="68" y="617"/>
                  </a:lnTo>
                  <a:lnTo>
                    <a:pt x="66" y="614"/>
                  </a:lnTo>
                  <a:lnTo>
                    <a:pt x="62" y="614"/>
                  </a:lnTo>
                  <a:lnTo>
                    <a:pt x="58" y="616"/>
                  </a:lnTo>
                  <a:lnTo>
                    <a:pt x="58" y="617"/>
                  </a:lnTo>
                  <a:lnTo>
                    <a:pt x="59" y="620"/>
                  </a:lnTo>
                  <a:lnTo>
                    <a:pt x="60" y="620"/>
                  </a:lnTo>
                  <a:lnTo>
                    <a:pt x="62" y="621"/>
                  </a:lnTo>
                  <a:close/>
                  <a:moveTo>
                    <a:pt x="42" y="616"/>
                  </a:moveTo>
                  <a:lnTo>
                    <a:pt x="42" y="616"/>
                  </a:lnTo>
                  <a:lnTo>
                    <a:pt x="42" y="614"/>
                  </a:lnTo>
                  <a:lnTo>
                    <a:pt x="42" y="611"/>
                  </a:lnTo>
                  <a:lnTo>
                    <a:pt x="40" y="611"/>
                  </a:lnTo>
                  <a:lnTo>
                    <a:pt x="37" y="611"/>
                  </a:lnTo>
                  <a:lnTo>
                    <a:pt x="39" y="614"/>
                  </a:lnTo>
                  <a:lnTo>
                    <a:pt x="42" y="616"/>
                  </a:lnTo>
                  <a:close/>
                  <a:moveTo>
                    <a:pt x="53" y="611"/>
                  </a:moveTo>
                  <a:lnTo>
                    <a:pt x="53" y="611"/>
                  </a:lnTo>
                  <a:lnTo>
                    <a:pt x="56" y="610"/>
                  </a:lnTo>
                  <a:lnTo>
                    <a:pt x="56" y="608"/>
                  </a:lnTo>
                  <a:lnTo>
                    <a:pt x="55" y="607"/>
                  </a:lnTo>
                  <a:lnTo>
                    <a:pt x="53" y="606"/>
                  </a:lnTo>
                  <a:lnTo>
                    <a:pt x="50" y="607"/>
                  </a:lnTo>
                  <a:lnTo>
                    <a:pt x="50" y="610"/>
                  </a:lnTo>
                  <a:lnTo>
                    <a:pt x="50" y="611"/>
                  </a:lnTo>
                  <a:lnTo>
                    <a:pt x="52" y="611"/>
                  </a:lnTo>
                  <a:lnTo>
                    <a:pt x="53" y="611"/>
                  </a:lnTo>
                  <a:close/>
                  <a:moveTo>
                    <a:pt x="53" y="594"/>
                  </a:moveTo>
                  <a:lnTo>
                    <a:pt x="53" y="594"/>
                  </a:lnTo>
                  <a:lnTo>
                    <a:pt x="55" y="591"/>
                  </a:lnTo>
                  <a:lnTo>
                    <a:pt x="46" y="591"/>
                  </a:lnTo>
                  <a:lnTo>
                    <a:pt x="40" y="593"/>
                  </a:lnTo>
                  <a:lnTo>
                    <a:pt x="46" y="594"/>
                  </a:lnTo>
                  <a:lnTo>
                    <a:pt x="53" y="594"/>
                  </a:lnTo>
                  <a:close/>
                  <a:moveTo>
                    <a:pt x="793" y="564"/>
                  </a:moveTo>
                  <a:lnTo>
                    <a:pt x="793" y="564"/>
                  </a:lnTo>
                  <a:lnTo>
                    <a:pt x="793" y="563"/>
                  </a:lnTo>
                  <a:lnTo>
                    <a:pt x="789" y="563"/>
                  </a:lnTo>
                  <a:lnTo>
                    <a:pt x="789" y="564"/>
                  </a:lnTo>
                  <a:lnTo>
                    <a:pt x="791" y="564"/>
                  </a:lnTo>
                  <a:lnTo>
                    <a:pt x="793" y="564"/>
                  </a:lnTo>
                  <a:close/>
                  <a:moveTo>
                    <a:pt x="776" y="551"/>
                  </a:moveTo>
                  <a:lnTo>
                    <a:pt x="776" y="551"/>
                  </a:lnTo>
                  <a:lnTo>
                    <a:pt x="776" y="550"/>
                  </a:lnTo>
                  <a:lnTo>
                    <a:pt x="775" y="548"/>
                  </a:lnTo>
                  <a:lnTo>
                    <a:pt x="775" y="550"/>
                  </a:lnTo>
                  <a:lnTo>
                    <a:pt x="776" y="551"/>
                  </a:lnTo>
                  <a:close/>
                  <a:moveTo>
                    <a:pt x="670" y="473"/>
                  </a:moveTo>
                  <a:lnTo>
                    <a:pt x="670" y="473"/>
                  </a:lnTo>
                  <a:lnTo>
                    <a:pt x="670" y="471"/>
                  </a:lnTo>
                  <a:lnTo>
                    <a:pt x="668" y="471"/>
                  </a:lnTo>
                  <a:lnTo>
                    <a:pt x="665" y="471"/>
                  </a:lnTo>
                  <a:lnTo>
                    <a:pt x="665" y="472"/>
                  </a:lnTo>
                  <a:lnTo>
                    <a:pt x="668" y="472"/>
                  </a:lnTo>
                  <a:lnTo>
                    <a:pt x="670" y="473"/>
                  </a:lnTo>
                  <a:close/>
                  <a:moveTo>
                    <a:pt x="672" y="465"/>
                  </a:moveTo>
                  <a:lnTo>
                    <a:pt x="672" y="465"/>
                  </a:lnTo>
                  <a:lnTo>
                    <a:pt x="674" y="463"/>
                  </a:lnTo>
                  <a:lnTo>
                    <a:pt x="677" y="462"/>
                  </a:lnTo>
                  <a:lnTo>
                    <a:pt x="677" y="461"/>
                  </a:lnTo>
                  <a:lnTo>
                    <a:pt x="675" y="458"/>
                  </a:lnTo>
                  <a:lnTo>
                    <a:pt x="680" y="453"/>
                  </a:lnTo>
                  <a:lnTo>
                    <a:pt x="683" y="450"/>
                  </a:lnTo>
                  <a:lnTo>
                    <a:pt x="684" y="445"/>
                  </a:lnTo>
                  <a:lnTo>
                    <a:pt x="685" y="440"/>
                  </a:lnTo>
                  <a:lnTo>
                    <a:pt x="694" y="430"/>
                  </a:lnTo>
                  <a:lnTo>
                    <a:pt x="700" y="420"/>
                  </a:lnTo>
                  <a:lnTo>
                    <a:pt x="706" y="410"/>
                  </a:lnTo>
                  <a:lnTo>
                    <a:pt x="711" y="399"/>
                  </a:lnTo>
                  <a:lnTo>
                    <a:pt x="720" y="376"/>
                  </a:lnTo>
                  <a:lnTo>
                    <a:pt x="727" y="353"/>
                  </a:lnTo>
                  <a:lnTo>
                    <a:pt x="726" y="344"/>
                  </a:lnTo>
                  <a:lnTo>
                    <a:pt x="727" y="336"/>
                  </a:lnTo>
                  <a:lnTo>
                    <a:pt x="727" y="327"/>
                  </a:lnTo>
                  <a:lnTo>
                    <a:pt x="727" y="321"/>
                  </a:lnTo>
                  <a:lnTo>
                    <a:pt x="727" y="314"/>
                  </a:lnTo>
                  <a:lnTo>
                    <a:pt x="732" y="307"/>
                  </a:lnTo>
                  <a:lnTo>
                    <a:pt x="734" y="281"/>
                  </a:lnTo>
                  <a:lnTo>
                    <a:pt x="739" y="255"/>
                  </a:lnTo>
                  <a:lnTo>
                    <a:pt x="743" y="228"/>
                  </a:lnTo>
                  <a:lnTo>
                    <a:pt x="744" y="202"/>
                  </a:lnTo>
                  <a:lnTo>
                    <a:pt x="746" y="196"/>
                  </a:lnTo>
                  <a:lnTo>
                    <a:pt x="746" y="192"/>
                  </a:lnTo>
                  <a:lnTo>
                    <a:pt x="744" y="186"/>
                  </a:lnTo>
                  <a:lnTo>
                    <a:pt x="742" y="182"/>
                  </a:lnTo>
                  <a:lnTo>
                    <a:pt x="744" y="179"/>
                  </a:lnTo>
                  <a:lnTo>
                    <a:pt x="746" y="178"/>
                  </a:lnTo>
                  <a:lnTo>
                    <a:pt x="750" y="156"/>
                  </a:lnTo>
                  <a:lnTo>
                    <a:pt x="752" y="135"/>
                  </a:lnTo>
                  <a:lnTo>
                    <a:pt x="753" y="113"/>
                  </a:lnTo>
                  <a:lnTo>
                    <a:pt x="755" y="93"/>
                  </a:lnTo>
                  <a:lnTo>
                    <a:pt x="753" y="77"/>
                  </a:lnTo>
                  <a:lnTo>
                    <a:pt x="749" y="63"/>
                  </a:lnTo>
                  <a:lnTo>
                    <a:pt x="746" y="57"/>
                  </a:lnTo>
                  <a:lnTo>
                    <a:pt x="740" y="53"/>
                  </a:lnTo>
                  <a:lnTo>
                    <a:pt x="734" y="48"/>
                  </a:lnTo>
                  <a:lnTo>
                    <a:pt x="726" y="46"/>
                  </a:lnTo>
                  <a:lnTo>
                    <a:pt x="714" y="46"/>
                  </a:lnTo>
                  <a:lnTo>
                    <a:pt x="704" y="46"/>
                  </a:lnTo>
                  <a:lnTo>
                    <a:pt x="698" y="48"/>
                  </a:lnTo>
                  <a:lnTo>
                    <a:pt x="693" y="54"/>
                  </a:lnTo>
                  <a:lnTo>
                    <a:pt x="690" y="60"/>
                  </a:lnTo>
                  <a:lnTo>
                    <a:pt x="685" y="66"/>
                  </a:lnTo>
                  <a:lnTo>
                    <a:pt x="684" y="80"/>
                  </a:lnTo>
                  <a:lnTo>
                    <a:pt x="683" y="83"/>
                  </a:lnTo>
                  <a:lnTo>
                    <a:pt x="683" y="90"/>
                  </a:lnTo>
                  <a:lnTo>
                    <a:pt x="684" y="100"/>
                  </a:lnTo>
                  <a:lnTo>
                    <a:pt x="683" y="109"/>
                  </a:lnTo>
                  <a:lnTo>
                    <a:pt x="681" y="116"/>
                  </a:lnTo>
                  <a:lnTo>
                    <a:pt x="683" y="119"/>
                  </a:lnTo>
                  <a:lnTo>
                    <a:pt x="683" y="123"/>
                  </a:lnTo>
                  <a:lnTo>
                    <a:pt x="681" y="127"/>
                  </a:lnTo>
                  <a:lnTo>
                    <a:pt x="681" y="133"/>
                  </a:lnTo>
                  <a:lnTo>
                    <a:pt x="681" y="137"/>
                  </a:lnTo>
                  <a:lnTo>
                    <a:pt x="683" y="143"/>
                  </a:lnTo>
                  <a:lnTo>
                    <a:pt x="680" y="149"/>
                  </a:lnTo>
                  <a:lnTo>
                    <a:pt x="680" y="158"/>
                  </a:lnTo>
                  <a:lnTo>
                    <a:pt x="680" y="166"/>
                  </a:lnTo>
                  <a:lnTo>
                    <a:pt x="681" y="170"/>
                  </a:lnTo>
                  <a:lnTo>
                    <a:pt x="696" y="173"/>
                  </a:lnTo>
                  <a:lnTo>
                    <a:pt x="708" y="175"/>
                  </a:lnTo>
                  <a:lnTo>
                    <a:pt x="710" y="176"/>
                  </a:lnTo>
                  <a:lnTo>
                    <a:pt x="710" y="179"/>
                  </a:lnTo>
                  <a:lnTo>
                    <a:pt x="701" y="179"/>
                  </a:lnTo>
                  <a:lnTo>
                    <a:pt x="696" y="179"/>
                  </a:lnTo>
                  <a:lnTo>
                    <a:pt x="688" y="179"/>
                  </a:lnTo>
                  <a:lnTo>
                    <a:pt x="681" y="183"/>
                  </a:lnTo>
                  <a:lnTo>
                    <a:pt x="678" y="188"/>
                  </a:lnTo>
                  <a:lnTo>
                    <a:pt x="674" y="196"/>
                  </a:lnTo>
                  <a:lnTo>
                    <a:pt x="674" y="202"/>
                  </a:lnTo>
                  <a:lnTo>
                    <a:pt x="674" y="209"/>
                  </a:lnTo>
                  <a:lnTo>
                    <a:pt x="674" y="216"/>
                  </a:lnTo>
                  <a:lnTo>
                    <a:pt x="671" y="222"/>
                  </a:lnTo>
                  <a:lnTo>
                    <a:pt x="671" y="232"/>
                  </a:lnTo>
                  <a:lnTo>
                    <a:pt x="670" y="244"/>
                  </a:lnTo>
                  <a:lnTo>
                    <a:pt x="668" y="244"/>
                  </a:lnTo>
                  <a:lnTo>
                    <a:pt x="668" y="248"/>
                  </a:lnTo>
                  <a:lnTo>
                    <a:pt x="668" y="255"/>
                  </a:lnTo>
                  <a:lnTo>
                    <a:pt x="665" y="257"/>
                  </a:lnTo>
                  <a:lnTo>
                    <a:pt x="664" y="267"/>
                  </a:lnTo>
                  <a:lnTo>
                    <a:pt x="664" y="278"/>
                  </a:lnTo>
                  <a:lnTo>
                    <a:pt x="661" y="278"/>
                  </a:lnTo>
                  <a:lnTo>
                    <a:pt x="662" y="280"/>
                  </a:lnTo>
                  <a:lnTo>
                    <a:pt x="662" y="282"/>
                  </a:lnTo>
                  <a:lnTo>
                    <a:pt x="665" y="284"/>
                  </a:lnTo>
                  <a:lnTo>
                    <a:pt x="667" y="287"/>
                  </a:lnTo>
                  <a:lnTo>
                    <a:pt x="664" y="290"/>
                  </a:lnTo>
                  <a:lnTo>
                    <a:pt x="662" y="294"/>
                  </a:lnTo>
                  <a:lnTo>
                    <a:pt x="660" y="300"/>
                  </a:lnTo>
                  <a:lnTo>
                    <a:pt x="660" y="304"/>
                  </a:lnTo>
                  <a:lnTo>
                    <a:pt x="661" y="304"/>
                  </a:lnTo>
                  <a:lnTo>
                    <a:pt x="664" y="305"/>
                  </a:lnTo>
                  <a:lnTo>
                    <a:pt x="662" y="307"/>
                  </a:lnTo>
                  <a:lnTo>
                    <a:pt x="660" y="310"/>
                  </a:lnTo>
                  <a:lnTo>
                    <a:pt x="661" y="311"/>
                  </a:lnTo>
                  <a:lnTo>
                    <a:pt x="664" y="316"/>
                  </a:lnTo>
                  <a:lnTo>
                    <a:pt x="662" y="316"/>
                  </a:lnTo>
                  <a:lnTo>
                    <a:pt x="658" y="318"/>
                  </a:lnTo>
                  <a:lnTo>
                    <a:pt x="655" y="324"/>
                  </a:lnTo>
                  <a:lnTo>
                    <a:pt x="651" y="328"/>
                  </a:lnTo>
                  <a:lnTo>
                    <a:pt x="648" y="337"/>
                  </a:lnTo>
                  <a:lnTo>
                    <a:pt x="644" y="343"/>
                  </a:lnTo>
                  <a:lnTo>
                    <a:pt x="644" y="354"/>
                  </a:lnTo>
                  <a:lnTo>
                    <a:pt x="641" y="364"/>
                  </a:lnTo>
                  <a:lnTo>
                    <a:pt x="639" y="376"/>
                  </a:lnTo>
                  <a:lnTo>
                    <a:pt x="638" y="387"/>
                  </a:lnTo>
                  <a:lnTo>
                    <a:pt x="638" y="397"/>
                  </a:lnTo>
                  <a:lnTo>
                    <a:pt x="638" y="407"/>
                  </a:lnTo>
                  <a:lnTo>
                    <a:pt x="636" y="419"/>
                  </a:lnTo>
                  <a:lnTo>
                    <a:pt x="638" y="426"/>
                  </a:lnTo>
                  <a:lnTo>
                    <a:pt x="639" y="429"/>
                  </a:lnTo>
                  <a:lnTo>
                    <a:pt x="641" y="432"/>
                  </a:lnTo>
                  <a:lnTo>
                    <a:pt x="645" y="433"/>
                  </a:lnTo>
                  <a:lnTo>
                    <a:pt x="651" y="435"/>
                  </a:lnTo>
                  <a:lnTo>
                    <a:pt x="649" y="436"/>
                  </a:lnTo>
                  <a:lnTo>
                    <a:pt x="647" y="438"/>
                  </a:lnTo>
                  <a:lnTo>
                    <a:pt x="642" y="438"/>
                  </a:lnTo>
                  <a:lnTo>
                    <a:pt x="638" y="436"/>
                  </a:lnTo>
                  <a:lnTo>
                    <a:pt x="638" y="439"/>
                  </a:lnTo>
                  <a:lnTo>
                    <a:pt x="636" y="442"/>
                  </a:lnTo>
                  <a:lnTo>
                    <a:pt x="636" y="443"/>
                  </a:lnTo>
                  <a:lnTo>
                    <a:pt x="638" y="446"/>
                  </a:lnTo>
                  <a:lnTo>
                    <a:pt x="635" y="449"/>
                  </a:lnTo>
                  <a:lnTo>
                    <a:pt x="634" y="452"/>
                  </a:lnTo>
                  <a:lnTo>
                    <a:pt x="635" y="455"/>
                  </a:lnTo>
                  <a:lnTo>
                    <a:pt x="635" y="459"/>
                  </a:lnTo>
                  <a:lnTo>
                    <a:pt x="636" y="459"/>
                  </a:lnTo>
                  <a:lnTo>
                    <a:pt x="639" y="459"/>
                  </a:lnTo>
                  <a:lnTo>
                    <a:pt x="639" y="461"/>
                  </a:lnTo>
                  <a:lnTo>
                    <a:pt x="639" y="462"/>
                  </a:lnTo>
                  <a:lnTo>
                    <a:pt x="644" y="462"/>
                  </a:lnTo>
                  <a:lnTo>
                    <a:pt x="649" y="462"/>
                  </a:lnTo>
                  <a:lnTo>
                    <a:pt x="654" y="462"/>
                  </a:lnTo>
                  <a:lnTo>
                    <a:pt x="657" y="465"/>
                  </a:lnTo>
                  <a:lnTo>
                    <a:pt x="660" y="465"/>
                  </a:lnTo>
                  <a:lnTo>
                    <a:pt x="661" y="463"/>
                  </a:lnTo>
                  <a:lnTo>
                    <a:pt x="667" y="465"/>
                  </a:lnTo>
                  <a:lnTo>
                    <a:pt x="672" y="465"/>
                  </a:lnTo>
                  <a:close/>
                  <a:moveTo>
                    <a:pt x="661" y="462"/>
                  </a:moveTo>
                  <a:lnTo>
                    <a:pt x="661" y="462"/>
                  </a:lnTo>
                  <a:lnTo>
                    <a:pt x="665" y="461"/>
                  </a:lnTo>
                  <a:lnTo>
                    <a:pt x="667" y="459"/>
                  </a:lnTo>
                  <a:lnTo>
                    <a:pt x="662" y="458"/>
                  </a:lnTo>
                  <a:lnTo>
                    <a:pt x="657" y="459"/>
                  </a:lnTo>
                  <a:lnTo>
                    <a:pt x="660" y="461"/>
                  </a:lnTo>
                  <a:lnTo>
                    <a:pt x="661" y="462"/>
                  </a:lnTo>
                  <a:close/>
                  <a:moveTo>
                    <a:pt x="566" y="461"/>
                  </a:moveTo>
                  <a:lnTo>
                    <a:pt x="566" y="461"/>
                  </a:lnTo>
                  <a:lnTo>
                    <a:pt x="569" y="456"/>
                  </a:lnTo>
                  <a:lnTo>
                    <a:pt x="572" y="452"/>
                  </a:lnTo>
                  <a:lnTo>
                    <a:pt x="570" y="448"/>
                  </a:lnTo>
                  <a:lnTo>
                    <a:pt x="567" y="446"/>
                  </a:lnTo>
                  <a:lnTo>
                    <a:pt x="564" y="445"/>
                  </a:lnTo>
                  <a:lnTo>
                    <a:pt x="562" y="445"/>
                  </a:lnTo>
                  <a:lnTo>
                    <a:pt x="559" y="449"/>
                  </a:lnTo>
                  <a:lnTo>
                    <a:pt x="559" y="453"/>
                  </a:lnTo>
                  <a:lnTo>
                    <a:pt x="562" y="458"/>
                  </a:lnTo>
                  <a:lnTo>
                    <a:pt x="566" y="461"/>
                  </a:lnTo>
                  <a:close/>
                  <a:moveTo>
                    <a:pt x="559" y="430"/>
                  </a:moveTo>
                  <a:lnTo>
                    <a:pt x="559" y="430"/>
                  </a:lnTo>
                  <a:lnTo>
                    <a:pt x="559" y="428"/>
                  </a:lnTo>
                  <a:lnTo>
                    <a:pt x="550" y="428"/>
                  </a:lnTo>
                  <a:lnTo>
                    <a:pt x="550" y="430"/>
                  </a:lnTo>
                  <a:lnTo>
                    <a:pt x="554" y="430"/>
                  </a:lnTo>
                  <a:lnTo>
                    <a:pt x="559" y="430"/>
                  </a:lnTo>
                  <a:close/>
                  <a:moveTo>
                    <a:pt x="556" y="423"/>
                  </a:moveTo>
                  <a:lnTo>
                    <a:pt x="556" y="423"/>
                  </a:lnTo>
                  <a:lnTo>
                    <a:pt x="559" y="422"/>
                  </a:lnTo>
                  <a:lnTo>
                    <a:pt x="559" y="415"/>
                  </a:lnTo>
                  <a:lnTo>
                    <a:pt x="559" y="409"/>
                  </a:lnTo>
                  <a:lnTo>
                    <a:pt x="556" y="407"/>
                  </a:lnTo>
                  <a:lnTo>
                    <a:pt x="557" y="403"/>
                  </a:lnTo>
                  <a:lnTo>
                    <a:pt x="559" y="397"/>
                  </a:lnTo>
                  <a:lnTo>
                    <a:pt x="559" y="382"/>
                  </a:lnTo>
                  <a:lnTo>
                    <a:pt x="560" y="367"/>
                  </a:lnTo>
                  <a:lnTo>
                    <a:pt x="562" y="351"/>
                  </a:lnTo>
                  <a:lnTo>
                    <a:pt x="563" y="336"/>
                  </a:lnTo>
                  <a:lnTo>
                    <a:pt x="562" y="323"/>
                  </a:lnTo>
                  <a:lnTo>
                    <a:pt x="562" y="307"/>
                  </a:lnTo>
                  <a:lnTo>
                    <a:pt x="560" y="298"/>
                  </a:lnTo>
                  <a:lnTo>
                    <a:pt x="559" y="291"/>
                  </a:lnTo>
                  <a:lnTo>
                    <a:pt x="556" y="284"/>
                  </a:lnTo>
                  <a:lnTo>
                    <a:pt x="552" y="280"/>
                  </a:lnTo>
                  <a:lnTo>
                    <a:pt x="550" y="278"/>
                  </a:lnTo>
                  <a:lnTo>
                    <a:pt x="547" y="277"/>
                  </a:lnTo>
                  <a:lnTo>
                    <a:pt x="546" y="278"/>
                  </a:lnTo>
                  <a:lnTo>
                    <a:pt x="541" y="275"/>
                  </a:lnTo>
                  <a:lnTo>
                    <a:pt x="540" y="274"/>
                  </a:lnTo>
                  <a:lnTo>
                    <a:pt x="541" y="272"/>
                  </a:lnTo>
                  <a:lnTo>
                    <a:pt x="549" y="270"/>
                  </a:lnTo>
                  <a:lnTo>
                    <a:pt x="547" y="267"/>
                  </a:lnTo>
                  <a:lnTo>
                    <a:pt x="546" y="264"/>
                  </a:lnTo>
                  <a:lnTo>
                    <a:pt x="549" y="260"/>
                  </a:lnTo>
                  <a:lnTo>
                    <a:pt x="549" y="255"/>
                  </a:lnTo>
                  <a:lnTo>
                    <a:pt x="546" y="252"/>
                  </a:lnTo>
                  <a:lnTo>
                    <a:pt x="543" y="248"/>
                  </a:lnTo>
                  <a:lnTo>
                    <a:pt x="547" y="247"/>
                  </a:lnTo>
                  <a:lnTo>
                    <a:pt x="550" y="245"/>
                  </a:lnTo>
                  <a:lnTo>
                    <a:pt x="550" y="239"/>
                  </a:lnTo>
                  <a:lnTo>
                    <a:pt x="552" y="234"/>
                  </a:lnTo>
                  <a:lnTo>
                    <a:pt x="552" y="209"/>
                  </a:lnTo>
                  <a:lnTo>
                    <a:pt x="552" y="193"/>
                  </a:lnTo>
                  <a:lnTo>
                    <a:pt x="553" y="182"/>
                  </a:lnTo>
                  <a:lnTo>
                    <a:pt x="553" y="169"/>
                  </a:lnTo>
                  <a:lnTo>
                    <a:pt x="552" y="156"/>
                  </a:lnTo>
                  <a:lnTo>
                    <a:pt x="550" y="145"/>
                  </a:lnTo>
                  <a:lnTo>
                    <a:pt x="549" y="132"/>
                  </a:lnTo>
                  <a:lnTo>
                    <a:pt x="546" y="120"/>
                  </a:lnTo>
                  <a:lnTo>
                    <a:pt x="544" y="119"/>
                  </a:lnTo>
                  <a:lnTo>
                    <a:pt x="544" y="116"/>
                  </a:lnTo>
                  <a:lnTo>
                    <a:pt x="547" y="113"/>
                  </a:lnTo>
                  <a:lnTo>
                    <a:pt x="549" y="110"/>
                  </a:lnTo>
                  <a:lnTo>
                    <a:pt x="549" y="89"/>
                  </a:lnTo>
                  <a:lnTo>
                    <a:pt x="547" y="67"/>
                  </a:lnTo>
                  <a:lnTo>
                    <a:pt x="547" y="46"/>
                  </a:lnTo>
                  <a:lnTo>
                    <a:pt x="544" y="24"/>
                  </a:lnTo>
                  <a:lnTo>
                    <a:pt x="543" y="21"/>
                  </a:lnTo>
                  <a:lnTo>
                    <a:pt x="541" y="18"/>
                  </a:lnTo>
                  <a:lnTo>
                    <a:pt x="537" y="17"/>
                  </a:lnTo>
                  <a:lnTo>
                    <a:pt x="536" y="15"/>
                  </a:lnTo>
                  <a:lnTo>
                    <a:pt x="534" y="13"/>
                  </a:lnTo>
                  <a:lnTo>
                    <a:pt x="533" y="8"/>
                  </a:lnTo>
                  <a:lnTo>
                    <a:pt x="531" y="8"/>
                  </a:lnTo>
                  <a:lnTo>
                    <a:pt x="530" y="8"/>
                  </a:lnTo>
                  <a:lnTo>
                    <a:pt x="530" y="5"/>
                  </a:lnTo>
                  <a:lnTo>
                    <a:pt x="518" y="1"/>
                  </a:lnTo>
                  <a:lnTo>
                    <a:pt x="508" y="0"/>
                  </a:lnTo>
                  <a:lnTo>
                    <a:pt x="503" y="0"/>
                  </a:lnTo>
                  <a:lnTo>
                    <a:pt x="497" y="1"/>
                  </a:lnTo>
                  <a:lnTo>
                    <a:pt x="488" y="7"/>
                  </a:lnTo>
                  <a:lnTo>
                    <a:pt x="485" y="8"/>
                  </a:lnTo>
                  <a:lnTo>
                    <a:pt x="484" y="14"/>
                  </a:lnTo>
                  <a:lnTo>
                    <a:pt x="482" y="18"/>
                  </a:lnTo>
                  <a:lnTo>
                    <a:pt x="482" y="38"/>
                  </a:lnTo>
                  <a:lnTo>
                    <a:pt x="484" y="57"/>
                  </a:lnTo>
                  <a:lnTo>
                    <a:pt x="481" y="60"/>
                  </a:lnTo>
                  <a:lnTo>
                    <a:pt x="480" y="66"/>
                  </a:lnTo>
                  <a:lnTo>
                    <a:pt x="477" y="66"/>
                  </a:lnTo>
                  <a:lnTo>
                    <a:pt x="478" y="69"/>
                  </a:lnTo>
                  <a:lnTo>
                    <a:pt x="478" y="70"/>
                  </a:lnTo>
                  <a:lnTo>
                    <a:pt x="475" y="79"/>
                  </a:lnTo>
                  <a:lnTo>
                    <a:pt x="475" y="89"/>
                  </a:lnTo>
                  <a:lnTo>
                    <a:pt x="474" y="100"/>
                  </a:lnTo>
                  <a:lnTo>
                    <a:pt x="474" y="114"/>
                  </a:lnTo>
                  <a:lnTo>
                    <a:pt x="477" y="117"/>
                  </a:lnTo>
                  <a:lnTo>
                    <a:pt x="477" y="122"/>
                  </a:lnTo>
                  <a:lnTo>
                    <a:pt x="484" y="123"/>
                  </a:lnTo>
                  <a:lnTo>
                    <a:pt x="490" y="126"/>
                  </a:lnTo>
                  <a:lnTo>
                    <a:pt x="484" y="129"/>
                  </a:lnTo>
                  <a:lnTo>
                    <a:pt x="480" y="133"/>
                  </a:lnTo>
                  <a:lnTo>
                    <a:pt x="477" y="139"/>
                  </a:lnTo>
                  <a:lnTo>
                    <a:pt x="475" y="146"/>
                  </a:lnTo>
                  <a:lnTo>
                    <a:pt x="474" y="162"/>
                  </a:lnTo>
                  <a:lnTo>
                    <a:pt x="474" y="175"/>
                  </a:lnTo>
                  <a:lnTo>
                    <a:pt x="474" y="182"/>
                  </a:lnTo>
                  <a:lnTo>
                    <a:pt x="475" y="189"/>
                  </a:lnTo>
                  <a:lnTo>
                    <a:pt x="474" y="202"/>
                  </a:lnTo>
                  <a:lnTo>
                    <a:pt x="475" y="216"/>
                  </a:lnTo>
                  <a:lnTo>
                    <a:pt x="474" y="218"/>
                  </a:lnTo>
                  <a:lnTo>
                    <a:pt x="474" y="222"/>
                  </a:lnTo>
                  <a:lnTo>
                    <a:pt x="475" y="226"/>
                  </a:lnTo>
                  <a:lnTo>
                    <a:pt x="474" y="229"/>
                  </a:lnTo>
                  <a:lnTo>
                    <a:pt x="474" y="235"/>
                  </a:lnTo>
                  <a:lnTo>
                    <a:pt x="475" y="241"/>
                  </a:lnTo>
                  <a:lnTo>
                    <a:pt x="475" y="245"/>
                  </a:lnTo>
                  <a:lnTo>
                    <a:pt x="485" y="245"/>
                  </a:lnTo>
                  <a:lnTo>
                    <a:pt x="494" y="244"/>
                  </a:lnTo>
                  <a:lnTo>
                    <a:pt x="495" y="242"/>
                  </a:lnTo>
                  <a:lnTo>
                    <a:pt x="498" y="241"/>
                  </a:lnTo>
                  <a:lnTo>
                    <a:pt x="500" y="242"/>
                  </a:lnTo>
                  <a:lnTo>
                    <a:pt x="501" y="245"/>
                  </a:lnTo>
                  <a:lnTo>
                    <a:pt x="497" y="247"/>
                  </a:lnTo>
                  <a:lnTo>
                    <a:pt x="495" y="249"/>
                  </a:lnTo>
                  <a:lnTo>
                    <a:pt x="500" y="249"/>
                  </a:lnTo>
                  <a:lnTo>
                    <a:pt x="505" y="251"/>
                  </a:lnTo>
                  <a:lnTo>
                    <a:pt x="500" y="254"/>
                  </a:lnTo>
                  <a:lnTo>
                    <a:pt x="495" y="254"/>
                  </a:lnTo>
                  <a:lnTo>
                    <a:pt x="494" y="252"/>
                  </a:lnTo>
                  <a:lnTo>
                    <a:pt x="491" y="251"/>
                  </a:lnTo>
                  <a:lnTo>
                    <a:pt x="488" y="251"/>
                  </a:lnTo>
                  <a:lnTo>
                    <a:pt x="485" y="251"/>
                  </a:lnTo>
                  <a:lnTo>
                    <a:pt x="481" y="257"/>
                  </a:lnTo>
                  <a:lnTo>
                    <a:pt x="480" y="261"/>
                  </a:lnTo>
                  <a:lnTo>
                    <a:pt x="480" y="264"/>
                  </a:lnTo>
                  <a:lnTo>
                    <a:pt x="481" y="265"/>
                  </a:lnTo>
                  <a:lnTo>
                    <a:pt x="488" y="264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7" y="268"/>
                  </a:lnTo>
                  <a:lnTo>
                    <a:pt x="491" y="268"/>
                  </a:lnTo>
                  <a:lnTo>
                    <a:pt x="487" y="271"/>
                  </a:lnTo>
                  <a:lnTo>
                    <a:pt x="484" y="272"/>
                  </a:lnTo>
                  <a:lnTo>
                    <a:pt x="484" y="274"/>
                  </a:lnTo>
                  <a:lnTo>
                    <a:pt x="484" y="275"/>
                  </a:lnTo>
                  <a:lnTo>
                    <a:pt x="485" y="278"/>
                  </a:lnTo>
                  <a:lnTo>
                    <a:pt x="491" y="280"/>
                  </a:lnTo>
                  <a:lnTo>
                    <a:pt x="492" y="281"/>
                  </a:lnTo>
                  <a:lnTo>
                    <a:pt x="488" y="282"/>
                  </a:lnTo>
                  <a:lnTo>
                    <a:pt x="485" y="285"/>
                  </a:lnTo>
                  <a:lnTo>
                    <a:pt x="482" y="293"/>
                  </a:lnTo>
                  <a:lnTo>
                    <a:pt x="480" y="303"/>
                  </a:lnTo>
                  <a:lnTo>
                    <a:pt x="478" y="313"/>
                  </a:lnTo>
                  <a:lnTo>
                    <a:pt x="477" y="323"/>
                  </a:lnTo>
                  <a:lnTo>
                    <a:pt x="477" y="333"/>
                  </a:lnTo>
                  <a:lnTo>
                    <a:pt x="478" y="343"/>
                  </a:lnTo>
                  <a:lnTo>
                    <a:pt x="478" y="351"/>
                  </a:lnTo>
                  <a:lnTo>
                    <a:pt x="481" y="360"/>
                  </a:lnTo>
                  <a:lnTo>
                    <a:pt x="487" y="363"/>
                  </a:lnTo>
                  <a:lnTo>
                    <a:pt x="488" y="366"/>
                  </a:lnTo>
                  <a:lnTo>
                    <a:pt x="490" y="370"/>
                  </a:lnTo>
                  <a:lnTo>
                    <a:pt x="491" y="377"/>
                  </a:lnTo>
                  <a:lnTo>
                    <a:pt x="497" y="386"/>
                  </a:lnTo>
                  <a:lnTo>
                    <a:pt x="503" y="394"/>
                  </a:lnTo>
                  <a:lnTo>
                    <a:pt x="511" y="399"/>
                  </a:lnTo>
                  <a:lnTo>
                    <a:pt x="518" y="405"/>
                  </a:lnTo>
                  <a:lnTo>
                    <a:pt x="521" y="412"/>
                  </a:lnTo>
                  <a:lnTo>
                    <a:pt x="524" y="417"/>
                  </a:lnTo>
                  <a:lnTo>
                    <a:pt x="531" y="420"/>
                  </a:lnTo>
                  <a:lnTo>
                    <a:pt x="540" y="422"/>
                  </a:lnTo>
                  <a:lnTo>
                    <a:pt x="549" y="423"/>
                  </a:lnTo>
                  <a:lnTo>
                    <a:pt x="556" y="423"/>
                  </a:lnTo>
                  <a:close/>
                  <a:moveTo>
                    <a:pt x="865" y="394"/>
                  </a:moveTo>
                  <a:lnTo>
                    <a:pt x="865" y="394"/>
                  </a:lnTo>
                  <a:lnTo>
                    <a:pt x="867" y="393"/>
                  </a:lnTo>
                  <a:lnTo>
                    <a:pt x="868" y="390"/>
                  </a:lnTo>
                  <a:lnTo>
                    <a:pt x="865" y="392"/>
                  </a:lnTo>
                  <a:lnTo>
                    <a:pt x="865" y="393"/>
                  </a:lnTo>
                  <a:lnTo>
                    <a:pt x="865" y="394"/>
                  </a:lnTo>
                  <a:close/>
                  <a:moveTo>
                    <a:pt x="850" y="390"/>
                  </a:moveTo>
                  <a:lnTo>
                    <a:pt x="850" y="390"/>
                  </a:lnTo>
                  <a:lnTo>
                    <a:pt x="850" y="389"/>
                  </a:lnTo>
                  <a:lnTo>
                    <a:pt x="850" y="386"/>
                  </a:lnTo>
                  <a:lnTo>
                    <a:pt x="847" y="387"/>
                  </a:lnTo>
                  <a:lnTo>
                    <a:pt x="847" y="389"/>
                  </a:lnTo>
                  <a:lnTo>
                    <a:pt x="847" y="390"/>
                  </a:lnTo>
                  <a:lnTo>
                    <a:pt x="850" y="390"/>
                  </a:lnTo>
                  <a:close/>
                  <a:moveTo>
                    <a:pt x="687" y="323"/>
                  </a:moveTo>
                  <a:lnTo>
                    <a:pt x="687" y="323"/>
                  </a:lnTo>
                  <a:lnTo>
                    <a:pt x="688" y="320"/>
                  </a:lnTo>
                  <a:lnTo>
                    <a:pt x="688" y="318"/>
                  </a:lnTo>
                  <a:lnTo>
                    <a:pt x="687" y="316"/>
                  </a:lnTo>
                  <a:lnTo>
                    <a:pt x="685" y="313"/>
                  </a:lnTo>
                  <a:lnTo>
                    <a:pt x="687" y="313"/>
                  </a:lnTo>
                  <a:lnTo>
                    <a:pt x="690" y="311"/>
                  </a:lnTo>
                  <a:lnTo>
                    <a:pt x="690" y="310"/>
                  </a:lnTo>
                  <a:lnTo>
                    <a:pt x="694" y="308"/>
                  </a:lnTo>
                  <a:lnTo>
                    <a:pt x="694" y="305"/>
                  </a:lnTo>
                  <a:lnTo>
                    <a:pt x="690" y="303"/>
                  </a:lnTo>
                  <a:lnTo>
                    <a:pt x="685" y="301"/>
                  </a:lnTo>
                  <a:lnTo>
                    <a:pt x="683" y="303"/>
                  </a:lnTo>
                  <a:lnTo>
                    <a:pt x="678" y="304"/>
                  </a:lnTo>
                  <a:lnTo>
                    <a:pt x="680" y="308"/>
                  </a:lnTo>
                  <a:lnTo>
                    <a:pt x="680" y="311"/>
                  </a:lnTo>
                  <a:lnTo>
                    <a:pt x="675" y="316"/>
                  </a:lnTo>
                  <a:lnTo>
                    <a:pt x="670" y="317"/>
                  </a:lnTo>
                  <a:lnTo>
                    <a:pt x="677" y="321"/>
                  </a:lnTo>
                  <a:lnTo>
                    <a:pt x="687" y="323"/>
                  </a:lnTo>
                  <a:close/>
                  <a:moveTo>
                    <a:pt x="357" y="314"/>
                  </a:moveTo>
                  <a:lnTo>
                    <a:pt x="357" y="314"/>
                  </a:lnTo>
                  <a:lnTo>
                    <a:pt x="359" y="311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4"/>
                  </a:lnTo>
                  <a:lnTo>
                    <a:pt x="357" y="314"/>
                  </a:lnTo>
                  <a:close/>
                  <a:moveTo>
                    <a:pt x="537" y="284"/>
                  </a:moveTo>
                  <a:lnTo>
                    <a:pt x="537" y="284"/>
                  </a:lnTo>
                  <a:lnTo>
                    <a:pt x="539" y="281"/>
                  </a:lnTo>
                  <a:lnTo>
                    <a:pt x="539" y="280"/>
                  </a:lnTo>
                  <a:lnTo>
                    <a:pt x="536" y="277"/>
                  </a:lnTo>
                  <a:lnTo>
                    <a:pt x="531" y="277"/>
                  </a:lnTo>
                  <a:lnTo>
                    <a:pt x="533" y="280"/>
                  </a:lnTo>
                  <a:lnTo>
                    <a:pt x="536" y="284"/>
                  </a:lnTo>
                  <a:lnTo>
                    <a:pt x="537" y="284"/>
                  </a:lnTo>
                  <a:close/>
                  <a:moveTo>
                    <a:pt x="701" y="129"/>
                  </a:moveTo>
                  <a:lnTo>
                    <a:pt x="701" y="129"/>
                  </a:lnTo>
                  <a:lnTo>
                    <a:pt x="701" y="126"/>
                  </a:lnTo>
                  <a:lnTo>
                    <a:pt x="700" y="126"/>
                  </a:lnTo>
                  <a:lnTo>
                    <a:pt x="698" y="126"/>
                  </a:lnTo>
                  <a:lnTo>
                    <a:pt x="700" y="129"/>
                  </a:lnTo>
                  <a:lnTo>
                    <a:pt x="701" y="129"/>
                  </a:lnTo>
                  <a:close/>
                  <a:moveTo>
                    <a:pt x="275" y="140"/>
                  </a:moveTo>
                  <a:lnTo>
                    <a:pt x="275" y="140"/>
                  </a:lnTo>
                  <a:lnTo>
                    <a:pt x="276" y="139"/>
                  </a:lnTo>
                  <a:lnTo>
                    <a:pt x="281" y="137"/>
                  </a:lnTo>
                  <a:lnTo>
                    <a:pt x="281" y="136"/>
                  </a:lnTo>
                  <a:lnTo>
                    <a:pt x="278" y="136"/>
                  </a:lnTo>
                  <a:lnTo>
                    <a:pt x="275" y="133"/>
                  </a:lnTo>
                  <a:lnTo>
                    <a:pt x="274" y="130"/>
                  </a:lnTo>
                  <a:lnTo>
                    <a:pt x="275" y="126"/>
                  </a:lnTo>
                  <a:lnTo>
                    <a:pt x="275" y="122"/>
                  </a:lnTo>
                  <a:lnTo>
                    <a:pt x="272" y="119"/>
                  </a:lnTo>
                  <a:lnTo>
                    <a:pt x="268" y="119"/>
                  </a:lnTo>
                  <a:lnTo>
                    <a:pt x="268" y="122"/>
                  </a:lnTo>
                  <a:lnTo>
                    <a:pt x="271" y="123"/>
                  </a:lnTo>
                  <a:lnTo>
                    <a:pt x="269" y="125"/>
                  </a:lnTo>
                  <a:lnTo>
                    <a:pt x="266" y="126"/>
                  </a:lnTo>
                  <a:lnTo>
                    <a:pt x="264" y="123"/>
                  </a:lnTo>
                  <a:lnTo>
                    <a:pt x="261" y="122"/>
                  </a:lnTo>
                  <a:lnTo>
                    <a:pt x="261" y="125"/>
                  </a:lnTo>
                  <a:lnTo>
                    <a:pt x="262" y="130"/>
                  </a:lnTo>
                  <a:lnTo>
                    <a:pt x="268" y="136"/>
                  </a:lnTo>
                  <a:lnTo>
                    <a:pt x="275" y="140"/>
                  </a:lnTo>
                  <a:close/>
                  <a:moveTo>
                    <a:pt x="714" y="119"/>
                  </a:moveTo>
                  <a:lnTo>
                    <a:pt x="714" y="119"/>
                  </a:lnTo>
                  <a:lnTo>
                    <a:pt x="716" y="117"/>
                  </a:lnTo>
                  <a:lnTo>
                    <a:pt x="713" y="116"/>
                  </a:lnTo>
                  <a:lnTo>
                    <a:pt x="710" y="116"/>
                  </a:lnTo>
                  <a:lnTo>
                    <a:pt x="711" y="117"/>
                  </a:lnTo>
                  <a:lnTo>
                    <a:pt x="714" y="119"/>
                  </a:lnTo>
                  <a:close/>
                  <a:moveTo>
                    <a:pt x="719" y="106"/>
                  </a:moveTo>
                  <a:lnTo>
                    <a:pt x="719" y="106"/>
                  </a:lnTo>
                  <a:lnTo>
                    <a:pt x="719" y="104"/>
                  </a:lnTo>
                  <a:lnTo>
                    <a:pt x="719" y="102"/>
                  </a:lnTo>
                  <a:lnTo>
                    <a:pt x="713" y="99"/>
                  </a:lnTo>
                  <a:lnTo>
                    <a:pt x="710" y="99"/>
                  </a:lnTo>
                  <a:lnTo>
                    <a:pt x="711" y="103"/>
                  </a:lnTo>
                  <a:lnTo>
                    <a:pt x="713" y="104"/>
                  </a:lnTo>
                  <a:lnTo>
                    <a:pt x="716" y="106"/>
                  </a:lnTo>
                  <a:lnTo>
                    <a:pt x="719" y="106"/>
                  </a:lnTo>
                  <a:close/>
                  <a:moveTo>
                    <a:pt x="716" y="96"/>
                  </a:moveTo>
                  <a:lnTo>
                    <a:pt x="716" y="96"/>
                  </a:lnTo>
                  <a:lnTo>
                    <a:pt x="719" y="93"/>
                  </a:lnTo>
                  <a:lnTo>
                    <a:pt x="719" y="90"/>
                  </a:lnTo>
                  <a:lnTo>
                    <a:pt x="717" y="89"/>
                  </a:lnTo>
                  <a:lnTo>
                    <a:pt x="716" y="89"/>
                  </a:lnTo>
                  <a:lnTo>
                    <a:pt x="714" y="89"/>
                  </a:lnTo>
                  <a:lnTo>
                    <a:pt x="710" y="89"/>
                  </a:lnTo>
                  <a:lnTo>
                    <a:pt x="706" y="89"/>
                  </a:lnTo>
                  <a:lnTo>
                    <a:pt x="707" y="91"/>
                  </a:lnTo>
                  <a:lnTo>
                    <a:pt x="708" y="93"/>
                  </a:lnTo>
                  <a:lnTo>
                    <a:pt x="710" y="93"/>
                  </a:lnTo>
                  <a:lnTo>
                    <a:pt x="713" y="91"/>
                  </a:lnTo>
                  <a:lnTo>
                    <a:pt x="714" y="94"/>
                  </a:lnTo>
                  <a:lnTo>
                    <a:pt x="716" y="96"/>
                  </a:lnTo>
                  <a:close/>
                  <a:moveTo>
                    <a:pt x="732" y="93"/>
                  </a:moveTo>
                  <a:lnTo>
                    <a:pt x="732" y="93"/>
                  </a:lnTo>
                  <a:lnTo>
                    <a:pt x="733" y="91"/>
                  </a:lnTo>
                  <a:lnTo>
                    <a:pt x="730" y="89"/>
                  </a:lnTo>
                  <a:lnTo>
                    <a:pt x="730" y="86"/>
                  </a:lnTo>
                  <a:lnTo>
                    <a:pt x="733" y="83"/>
                  </a:lnTo>
                  <a:lnTo>
                    <a:pt x="733" y="81"/>
                  </a:lnTo>
                  <a:lnTo>
                    <a:pt x="733" y="79"/>
                  </a:lnTo>
                  <a:lnTo>
                    <a:pt x="730" y="79"/>
                  </a:lnTo>
                  <a:lnTo>
                    <a:pt x="727" y="81"/>
                  </a:lnTo>
                  <a:lnTo>
                    <a:pt x="727" y="84"/>
                  </a:lnTo>
                  <a:lnTo>
                    <a:pt x="727" y="87"/>
                  </a:lnTo>
                  <a:lnTo>
                    <a:pt x="727" y="91"/>
                  </a:lnTo>
                  <a:lnTo>
                    <a:pt x="729" y="93"/>
                  </a:lnTo>
                  <a:lnTo>
                    <a:pt x="732" y="93"/>
                  </a:lnTo>
                  <a:close/>
                  <a:moveTo>
                    <a:pt x="503" y="51"/>
                  </a:moveTo>
                  <a:lnTo>
                    <a:pt x="503" y="51"/>
                  </a:lnTo>
                  <a:lnTo>
                    <a:pt x="504" y="50"/>
                  </a:lnTo>
                  <a:lnTo>
                    <a:pt x="505" y="48"/>
                  </a:lnTo>
                  <a:lnTo>
                    <a:pt x="505" y="46"/>
                  </a:lnTo>
                  <a:lnTo>
                    <a:pt x="501" y="46"/>
                  </a:lnTo>
                  <a:lnTo>
                    <a:pt x="498" y="47"/>
                  </a:lnTo>
                  <a:lnTo>
                    <a:pt x="495" y="47"/>
                  </a:lnTo>
                  <a:lnTo>
                    <a:pt x="495" y="50"/>
                  </a:lnTo>
                  <a:lnTo>
                    <a:pt x="498" y="50"/>
                  </a:lnTo>
                  <a:lnTo>
                    <a:pt x="501" y="51"/>
                  </a:lnTo>
                  <a:lnTo>
                    <a:pt x="503" y="51"/>
                  </a:lnTo>
                  <a:close/>
                  <a:moveTo>
                    <a:pt x="514" y="37"/>
                  </a:moveTo>
                  <a:lnTo>
                    <a:pt x="514" y="37"/>
                  </a:lnTo>
                  <a:lnTo>
                    <a:pt x="517" y="31"/>
                  </a:lnTo>
                  <a:lnTo>
                    <a:pt x="520" y="24"/>
                  </a:lnTo>
                  <a:lnTo>
                    <a:pt x="516" y="25"/>
                  </a:lnTo>
                  <a:lnTo>
                    <a:pt x="511" y="27"/>
                  </a:lnTo>
                  <a:lnTo>
                    <a:pt x="508" y="28"/>
                  </a:lnTo>
                  <a:lnTo>
                    <a:pt x="505" y="33"/>
                  </a:lnTo>
                  <a:lnTo>
                    <a:pt x="508" y="33"/>
                  </a:lnTo>
                  <a:lnTo>
                    <a:pt x="508" y="31"/>
                  </a:lnTo>
                  <a:lnTo>
                    <a:pt x="510" y="34"/>
                  </a:lnTo>
                  <a:lnTo>
                    <a:pt x="510" y="35"/>
                  </a:lnTo>
                  <a:lnTo>
                    <a:pt x="511" y="35"/>
                  </a:lnTo>
                  <a:lnTo>
                    <a:pt x="514" y="37"/>
                  </a:lnTo>
                  <a:close/>
                </a:path>
              </a:pathLst>
            </a:custGeom>
            <a:solidFill>
              <a:srgbClr val="E200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grpSp>
        <p:nvGrpSpPr>
          <p:cNvPr id="1063" name="Skupina 1062">
            <a:extLst>
              <a:ext uri="{FF2B5EF4-FFF2-40B4-BE49-F238E27FC236}">
                <a16:creationId xmlns:a16="http://schemas.microsoft.com/office/drawing/2014/main" id="{079B90BA-CFA5-A43D-6458-6EA70F80BE97}"/>
              </a:ext>
            </a:extLst>
          </p:cNvPr>
          <p:cNvGrpSpPr/>
          <p:nvPr/>
        </p:nvGrpSpPr>
        <p:grpSpPr>
          <a:xfrm>
            <a:off x="10287000" y="3894138"/>
            <a:ext cx="1524000" cy="495300"/>
            <a:chOff x="10287000" y="3894138"/>
            <a:chExt cx="1524000" cy="495300"/>
          </a:xfrm>
        </p:grpSpPr>
        <p:sp>
          <p:nvSpPr>
            <p:cNvPr id="1025" name="Freeform 30">
              <a:extLst>
                <a:ext uri="{FF2B5EF4-FFF2-40B4-BE49-F238E27FC236}">
                  <a16:creationId xmlns:a16="http://schemas.microsoft.com/office/drawing/2014/main" id="{CA5EF41B-5CD4-389F-71EA-B31CDBA49D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2525" y="4003675"/>
              <a:ext cx="61913" cy="92075"/>
            </a:xfrm>
            <a:custGeom>
              <a:avLst/>
              <a:gdLst>
                <a:gd name="T0" fmla="*/ 115 w 117"/>
                <a:gd name="T1" fmla="*/ 133 h 173"/>
                <a:gd name="T2" fmla="*/ 107 w 117"/>
                <a:gd name="T3" fmla="*/ 153 h 173"/>
                <a:gd name="T4" fmla="*/ 92 w 117"/>
                <a:gd name="T5" fmla="*/ 166 h 173"/>
                <a:gd name="T6" fmla="*/ 72 w 117"/>
                <a:gd name="T7" fmla="*/ 173 h 173"/>
                <a:gd name="T8" fmla="*/ 46 w 117"/>
                <a:gd name="T9" fmla="*/ 172 h 173"/>
                <a:gd name="T10" fmla="*/ 29 w 117"/>
                <a:gd name="T11" fmla="*/ 166 h 173"/>
                <a:gd name="T12" fmla="*/ 19 w 117"/>
                <a:gd name="T13" fmla="*/ 159 h 173"/>
                <a:gd name="T14" fmla="*/ 9 w 117"/>
                <a:gd name="T15" fmla="*/ 145 h 173"/>
                <a:gd name="T16" fmla="*/ 2 w 117"/>
                <a:gd name="T17" fmla="*/ 119 h 173"/>
                <a:gd name="T18" fmla="*/ 2 w 117"/>
                <a:gd name="T19" fmla="*/ 89 h 173"/>
                <a:gd name="T20" fmla="*/ 10 w 117"/>
                <a:gd name="T21" fmla="*/ 63 h 173"/>
                <a:gd name="T22" fmla="*/ 26 w 117"/>
                <a:gd name="T23" fmla="*/ 46 h 173"/>
                <a:gd name="T24" fmla="*/ 48 w 117"/>
                <a:gd name="T25" fmla="*/ 36 h 173"/>
                <a:gd name="T26" fmla="*/ 72 w 117"/>
                <a:gd name="T27" fmla="*/ 36 h 173"/>
                <a:gd name="T28" fmla="*/ 92 w 117"/>
                <a:gd name="T29" fmla="*/ 41 h 173"/>
                <a:gd name="T30" fmla="*/ 107 w 117"/>
                <a:gd name="T31" fmla="*/ 54 h 173"/>
                <a:gd name="T32" fmla="*/ 115 w 117"/>
                <a:gd name="T33" fmla="*/ 74 h 173"/>
                <a:gd name="T34" fmla="*/ 81 w 117"/>
                <a:gd name="T35" fmla="*/ 87 h 173"/>
                <a:gd name="T36" fmla="*/ 75 w 117"/>
                <a:gd name="T37" fmla="*/ 67 h 173"/>
                <a:gd name="T38" fmla="*/ 69 w 117"/>
                <a:gd name="T39" fmla="*/ 63 h 173"/>
                <a:gd name="T40" fmla="*/ 61 w 117"/>
                <a:gd name="T41" fmla="*/ 60 h 173"/>
                <a:gd name="T42" fmla="*/ 51 w 117"/>
                <a:gd name="T43" fmla="*/ 64 h 173"/>
                <a:gd name="T44" fmla="*/ 43 w 117"/>
                <a:gd name="T45" fmla="*/ 73 h 173"/>
                <a:gd name="T46" fmla="*/ 39 w 117"/>
                <a:gd name="T47" fmla="*/ 87 h 173"/>
                <a:gd name="T48" fmla="*/ 38 w 117"/>
                <a:gd name="T49" fmla="*/ 104 h 173"/>
                <a:gd name="T50" fmla="*/ 39 w 117"/>
                <a:gd name="T51" fmla="*/ 122 h 173"/>
                <a:gd name="T52" fmla="*/ 43 w 117"/>
                <a:gd name="T53" fmla="*/ 135 h 173"/>
                <a:gd name="T54" fmla="*/ 51 w 117"/>
                <a:gd name="T55" fmla="*/ 143 h 173"/>
                <a:gd name="T56" fmla="*/ 61 w 117"/>
                <a:gd name="T57" fmla="*/ 148 h 173"/>
                <a:gd name="T58" fmla="*/ 69 w 117"/>
                <a:gd name="T59" fmla="*/ 146 h 173"/>
                <a:gd name="T60" fmla="*/ 75 w 117"/>
                <a:gd name="T61" fmla="*/ 140 h 173"/>
                <a:gd name="T62" fmla="*/ 81 w 117"/>
                <a:gd name="T63" fmla="*/ 122 h 173"/>
                <a:gd name="T64" fmla="*/ 77 w 117"/>
                <a:gd name="T65" fmla="*/ 27 h 173"/>
                <a:gd name="T66" fmla="*/ 42 w 117"/>
                <a:gd name="T67" fmla="*/ 27 h 173"/>
                <a:gd name="T68" fmla="*/ 43 w 117"/>
                <a:gd name="T69" fmla="*/ 0 h 173"/>
                <a:gd name="T70" fmla="*/ 75 w 117"/>
                <a:gd name="T71" fmla="*/ 0 h 173"/>
                <a:gd name="T72" fmla="*/ 77 w 117"/>
                <a:gd name="T73" fmla="*/ 27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7" h="173">
                  <a:moveTo>
                    <a:pt x="117" y="122"/>
                  </a:moveTo>
                  <a:lnTo>
                    <a:pt x="115" y="133"/>
                  </a:lnTo>
                  <a:lnTo>
                    <a:pt x="113" y="145"/>
                  </a:lnTo>
                  <a:lnTo>
                    <a:pt x="107" y="153"/>
                  </a:lnTo>
                  <a:lnTo>
                    <a:pt x="101" y="160"/>
                  </a:lnTo>
                  <a:lnTo>
                    <a:pt x="92" y="166"/>
                  </a:lnTo>
                  <a:lnTo>
                    <a:pt x="84" y="171"/>
                  </a:lnTo>
                  <a:lnTo>
                    <a:pt x="72" y="173"/>
                  </a:lnTo>
                  <a:lnTo>
                    <a:pt x="61" y="173"/>
                  </a:lnTo>
                  <a:lnTo>
                    <a:pt x="46" y="172"/>
                  </a:lnTo>
                  <a:lnTo>
                    <a:pt x="33" y="169"/>
                  </a:lnTo>
                  <a:lnTo>
                    <a:pt x="29" y="166"/>
                  </a:lnTo>
                  <a:lnTo>
                    <a:pt x="23" y="163"/>
                  </a:lnTo>
                  <a:lnTo>
                    <a:pt x="19" y="159"/>
                  </a:lnTo>
                  <a:lnTo>
                    <a:pt x="15" y="155"/>
                  </a:lnTo>
                  <a:lnTo>
                    <a:pt x="9" y="145"/>
                  </a:lnTo>
                  <a:lnTo>
                    <a:pt x="5" y="133"/>
                  </a:lnTo>
                  <a:lnTo>
                    <a:pt x="2" y="119"/>
                  </a:lnTo>
                  <a:lnTo>
                    <a:pt x="0" y="104"/>
                  </a:lnTo>
                  <a:lnTo>
                    <a:pt x="2" y="89"/>
                  </a:lnTo>
                  <a:lnTo>
                    <a:pt x="5" y="76"/>
                  </a:lnTo>
                  <a:lnTo>
                    <a:pt x="10" y="63"/>
                  </a:lnTo>
                  <a:lnTo>
                    <a:pt x="18" y="53"/>
                  </a:lnTo>
                  <a:lnTo>
                    <a:pt x="26" y="46"/>
                  </a:lnTo>
                  <a:lnTo>
                    <a:pt x="36" y="38"/>
                  </a:lnTo>
                  <a:lnTo>
                    <a:pt x="48" y="36"/>
                  </a:lnTo>
                  <a:lnTo>
                    <a:pt x="61" y="34"/>
                  </a:lnTo>
                  <a:lnTo>
                    <a:pt x="72" y="36"/>
                  </a:lnTo>
                  <a:lnTo>
                    <a:pt x="84" y="37"/>
                  </a:lnTo>
                  <a:lnTo>
                    <a:pt x="92" y="41"/>
                  </a:lnTo>
                  <a:lnTo>
                    <a:pt x="101" y="47"/>
                  </a:lnTo>
                  <a:lnTo>
                    <a:pt x="107" y="54"/>
                  </a:lnTo>
                  <a:lnTo>
                    <a:pt x="113" y="63"/>
                  </a:lnTo>
                  <a:lnTo>
                    <a:pt x="115" y="74"/>
                  </a:lnTo>
                  <a:lnTo>
                    <a:pt x="117" y="87"/>
                  </a:lnTo>
                  <a:lnTo>
                    <a:pt x="81" y="87"/>
                  </a:lnTo>
                  <a:lnTo>
                    <a:pt x="79" y="76"/>
                  </a:lnTo>
                  <a:lnTo>
                    <a:pt x="75" y="67"/>
                  </a:lnTo>
                  <a:lnTo>
                    <a:pt x="74" y="64"/>
                  </a:lnTo>
                  <a:lnTo>
                    <a:pt x="69" y="63"/>
                  </a:lnTo>
                  <a:lnTo>
                    <a:pt x="65" y="61"/>
                  </a:lnTo>
                  <a:lnTo>
                    <a:pt x="61" y="60"/>
                  </a:lnTo>
                  <a:lnTo>
                    <a:pt x="55" y="61"/>
                  </a:lnTo>
                  <a:lnTo>
                    <a:pt x="51" y="64"/>
                  </a:lnTo>
                  <a:lnTo>
                    <a:pt x="46" y="67"/>
                  </a:lnTo>
                  <a:lnTo>
                    <a:pt x="43" y="73"/>
                  </a:lnTo>
                  <a:lnTo>
                    <a:pt x="41" y="80"/>
                  </a:lnTo>
                  <a:lnTo>
                    <a:pt x="39" y="87"/>
                  </a:lnTo>
                  <a:lnTo>
                    <a:pt x="39" y="94"/>
                  </a:lnTo>
                  <a:lnTo>
                    <a:pt x="38" y="104"/>
                  </a:lnTo>
                  <a:lnTo>
                    <a:pt x="39" y="113"/>
                  </a:lnTo>
                  <a:lnTo>
                    <a:pt x="39" y="122"/>
                  </a:lnTo>
                  <a:lnTo>
                    <a:pt x="41" y="129"/>
                  </a:lnTo>
                  <a:lnTo>
                    <a:pt x="43" y="135"/>
                  </a:lnTo>
                  <a:lnTo>
                    <a:pt x="46" y="140"/>
                  </a:lnTo>
                  <a:lnTo>
                    <a:pt x="51" y="143"/>
                  </a:lnTo>
                  <a:lnTo>
                    <a:pt x="55" y="146"/>
                  </a:lnTo>
                  <a:lnTo>
                    <a:pt x="61" y="148"/>
                  </a:lnTo>
                  <a:lnTo>
                    <a:pt x="65" y="146"/>
                  </a:lnTo>
                  <a:lnTo>
                    <a:pt x="69" y="146"/>
                  </a:lnTo>
                  <a:lnTo>
                    <a:pt x="74" y="143"/>
                  </a:lnTo>
                  <a:lnTo>
                    <a:pt x="75" y="140"/>
                  </a:lnTo>
                  <a:lnTo>
                    <a:pt x="79" y="132"/>
                  </a:lnTo>
                  <a:lnTo>
                    <a:pt x="81" y="122"/>
                  </a:lnTo>
                  <a:lnTo>
                    <a:pt x="117" y="122"/>
                  </a:lnTo>
                  <a:close/>
                  <a:moveTo>
                    <a:pt x="77" y="27"/>
                  </a:moveTo>
                  <a:lnTo>
                    <a:pt x="77" y="27"/>
                  </a:lnTo>
                  <a:lnTo>
                    <a:pt x="42" y="27"/>
                  </a:lnTo>
                  <a:lnTo>
                    <a:pt x="13" y="0"/>
                  </a:lnTo>
                  <a:lnTo>
                    <a:pt x="43" y="0"/>
                  </a:lnTo>
                  <a:lnTo>
                    <a:pt x="59" y="10"/>
                  </a:lnTo>
                  <a:lnTo>
                    <a:pt x="75" y="0"/>
                  </a:lnTo>
                  <a:lnTo>
                    <a:pt x="105" y="0"/>
                  </a:lnTo>
                  <a:lnTo>
                    <a:pt x="77" y="2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6" name="Freeform 31">
              <a:extLst>
                <a:ext uri="{FF2B5EF4-FFF2-40B4-BE49-F238E27FC236}">
                  <a16:creationId xmlns:a16="http://schemas.microsoft.com/office/drawing/2014/main" id="{B40120F3-4B08-96B3-F8C8-643C9C4731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82375" y="4038600"/>
              <a:ext cx="49213" cy="57150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5 w 95"/>
                <a:gd name="T13" fmla="*/ 105 h 106"/>
                <a:gd name="T14" fmla="*/ 58 w 95"/>
                <a:gd name="T15" fmla="*/ 106 h 106"/>
                <a:gd name="T16" fmla="*/ 48 w 95"/>
                <a:gd name="T17" fmla="*/ 106 h 106"/>
                <a:gd name="T18" fmla="*/ 36 w 95"/>
                <a:gd name="T19" fmla="*/ 106 h 106"/>
                <a:gd name="T20" fmla="*/ 28 w 95"/>
                <a:gd name="T21" fmla="*/ 104 h 106"/>
                <a:gd name="T22" fmla="*/ 19 w 95"/>
                <a:gd name="T23" fmla="*/ 99 h 106"/>
                <a:gd name="T24" fmla="*/ 12 w 95"/>
                <a:gd name="T25" fmla="*/ 92 h 106"/>
                <a:gd name="T26" fmla="*/ 6 w 95"/>
                <a:gd name="T27" fmla="*/ 85 h 106"/>
                <a:gd name="T28" fmla="*/ 3 w 95"/>
                <a:gd name="T29" fmla="*/ 76 h 106"/>
                <a:gd name="T30" fmla="*/ 0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2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3 h 106"/>
                <a:gd name="T54" fmla="*/ 77 w 95"/>
                <a:gd name="T55" fmla="*/ 7 h 106"/>
                <a:gd name="T56" fmla="*/ 84 w 95"/>
                <a:gd name="T57" fmla="*/ 14 h 106"/>
                <a:gd name="T58" fmla="*/ 88 w 95"/>
                <a:gd name="T59" fmla="*/ 22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0 h 106"/>
                <a:gd name="T66" fmla="*/ 33 w 95"/>
                <a:gd name="T67" fmla="*/ 60 h 106"/>
                <a:gd name="T68" fmla="*/ 35 w 95"/>
                <a:gd name="T69" fmla="*/ 72 h 106"/>
                <a:gd name="T70" fmla="*/ 38 w 95"/>
                <a:gd name="T71" fmla="*/ 79 h 106"/>
                <a:gd name="T72" fmla="*/ 39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8 w 95"/>
                <a:gd name="T79" fmla="*/ 85 h 106"/>
                <a:gd name="T80" fmla="*/ 54 w 95"/>
                <a:gd name="T81" fmla="*/ 83 h 106"/>
                <a:gd name="T82" fmla="*/ 56 w 95"/>
                <a:gd name="T83" fmla="*/ 82 h 106"/>
                <a:gd name="T84" fmla="*/ 59 w 95"/>
                <a:gd name="T85" fmla="*/ 78 h 106"/>
                <a:gd name="T86" fmla="*/ 61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2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6"/>
                  </a:lnTo>
                  <a:lnTo>
                    <a:pt x="36" y="106"/>
                  </a:lnTo>
                  <a:lnTo>
                    <a:pt x="28" y="104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2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3"/>
                  </a:lnTo>
                  <a:lnTo>
                    <a:pt x="77" y="7"/>
                  </a:lnTo>
                  <a:lnTo>
                    <a:pt x="84" y="14"/>
                  </a:lnTo>
                  <a:lnTo>
                    <a:pt x="88" y="22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0"/>
                  </a:lnTo>
                  <a:lnTo>
                    <a:pt x="33" y="60"/>
                  </a:lnTo>
                  <a:lnTo>
                    <a:pt x="35" y="72"/>
                  </a:lnTo>
                  <a:lnTo>
                    <a:pt x="38" y="79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4" y="83"/>
                  </a:lnTo>
                  <a:lnTo>
                    <a:pt x="56" y="82"/>
                  </a:lnTo>
                  <a:lnTo>
                    <a:pt x="59" y="78"/>
                  </a:lnTo>
                  <a:lnTo>
                    <a:pt x="61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2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7" name="Freeform 32">
              <a:extLst>
                <a:ext uri="{FF2B5EF4-FFF2-40B4-BE49-F238E27FC236}">
                  <a16:creationId xmlns:a16="http://schemas.microsoft.com/office/drawing/2014/main" id="{43E86E30-0A21-D53E-137F-5A21380D0C7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9525" y="4038600"/>
              <a:ext cx="47625" cy="57150"/>
            </a:xfrm>
            <a:custGeom>
              <a:avLst/>
              <a:gdLst>
                <a:gd name="T0" fmla="*/ 54 w 90"/>
                <a:gd name="T1" fmla="*/ 27 h 106"/>
                <a:gd name="T2" fmla="*/ 48 w 90"/>
                <a:gd name="T3" fmla="*/ 22 h 106"/>
                <a:gd name="T4" fmla="*/ 38 w 90"/>
                <a:gd name="T5" fmla="*/ 22 h 106"/>
                <a:gd name="T6" fmla="*/ 32 w 90"/>
                <a:gd name="T7" fmla="*/ 26 h 106"/>
                <a:gd name="T8" fmla="*/ 32 w 90"/>
                <a:gd name="T9" fmla="*/ 32 h 106"/>
                <a:gd name="T10" fmla="*/ 33 w 90"/>
                <a:gd name="T11" fmla="*/ 36 h 106"/>
                <a:gd name="T12" fmla="*/ 43 w 90"/>
                <a:gd name="T13" fmla="*/ 39 h 106"/>
                <a:gd name="T14" fmla="*/ 67 w 90"/>
                <a:gd name="T15" fmla="*/ 43 h 106"/>
                <a:gd name="T16" fmla="*/ 82 w 90"/>
                <a:gd name="T17" fmla="*/ 52 h 106"/>
                <a:gd name="T18" fmla="*/ 90 w 90"/>
                <a:gd name="T19" fmla="*/ 63 h 106"/>
                <a:gd name="T20" fmla="*/ 90 w 90"/>
                <a:gd name="T21" fmla="*/ 79 h 106"/>
                <a:gd name="T22" fmla="*/ 82 w 90"/>
                <a:gd name="T23" fmla="*/ 92 h 106"/>
                <a:gd name="T24" fmla="*/ 71 w 90"/>
                <a:gd name="T25" fmla="*/ 102 h 106"/>
                <a:gd name="T26" fmla="*/ 55 w 90"/>
                <a:gd name="T27" fmla="*/ 106 h 106"/>
                <a:gd name="T28" fmla="*/ 36 w 90"/>
                <a:gd name="T29" fmla="*/ 106 h 106"/>
                <a:gd name="T30" fmla="*/ 20 w 90"/>
                <a:gd name="T31" fmla="*/ 102 h 106"/>
                <a:gd name="T32" fmla="*/ 9 w 90"/>
                <a:gd name="T33" fmla="*/ 93 h 106"/>
                <a:gd name="T34" fmla="*/ 2 w 90"/>
                <a:gd name="T35" fmla="*/ 81 h 106"/>
                <a:gd name="T36" fmla="*/ 33 w 90"/>
                <a:gd name="T37" fmla="*/ 72 h 106"/>
                <a:gd name="T38" fmla="*/ 38 w 90"/>
                <a:gd name="T39" fmla="*/ 83 h 106"/>
                <a:gd name="T40" fmla="*/ 46 w 90"/>
                <a:gd name="T41" fmla="*/ 86 h 106"/>
                <a:gd name="T42" fmla="*/ 56 w 90"/>
                <a:gd name="T43" fmla="*/ 85 h 106"/>
                <a:gd name="T44" fmla="*/ 59 w 90"/>
                <a:gd name="T45" fmla="*/ 76 h 106"/>
                <a:gd name="T46" fmla="*/ 58 w 90"/>
                <a:gd name="T47" fmla="*/ 72 h 106"/>
                <a:gd name="T48" fmla="*/ 54 w 90"/>
                <a:gd name="T49" fmla="*/ 69 h 106"/>
                <a:gd name="T50" fmla="*/ 38 w 90"/>
                <a:gd name="T51" fmla="*/ 66 h 106"/>
                <a:gd name="T52" fmla="*/ 13 w 90"/>
                <a:gd name="T53" fmla="*/ 58 h 106"/>
                <a:gd name="T54" fmla="*/ 5 w 90"/>
                <a:gd name="T55" fmla="*/ 49 h 106"/>
                <a:gd name="T56" fmla="*/ 2 w 90"/>
                <a:gd name="T57" fmla="*/ 33 h 106"/>
                <a:gd name="T58" fmla="*/ 5 w 90"/>
                <a:gd name="T59" fmla="*/ 19 h 106"/>
                <a:gd name="T60" fmla="*/ 13 w 90"/>
                <a:gd name="T61" fmla="*/ 9 h 106"/>
                <a:gd name="T62" fmla="*/ 26 w 90"/>
                <a:gd name="T63" fmla="*/ 3 h 106"/>
                <a:gd name="T64" fmla="*/ 42 w 90"/>
                <a:gd name="T65" fmla="*/ 0 h 106"/>
                <a:gd name="T66" fmla="*/ 62 w 90"/>
                <a:gd name="T67" fmla="*/ 2 h 106"/>
                <a:gd name="T68" fmla="*/ 75 w 90"/>
                <a:gd name="T69" fmla="*/ 9 h 106"/>
                <a:gd name="T70" fmla="*/ 84 w 90"/>
                <a:gd name="T71" fmla="*/ 19 h 106"/>
                <a:gd name="T72" fmla="*/ 87 w 90"/>
                <a:gd name="T73" fmla="*/ 3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6">
                  <a:moveTo>
                    <a:pt x="55" y="32"/>
                  </a:moveTo>
                  <a:lnTo>
                    <a:pt x="54" y="27"/>
                  </a:lnTo>
                  <a:lnTo>
                    <a:pt x="51" y="23"/>
                  </a:lnTo>
                  <a:lnTo>
                    <a:pt x="48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5" y="23"/>
                  </a:lnTo>
                  <a:lnTo>
                    <a:pt x="32" y="26"/>
                  </a:lnTo>
                  <a:lnTo>
                    <a:pt x="31" y="29"/>
                  </a:lnTo>
                  <a:lnTo>
                    <a:pt x="32" y="32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3" y="39"/>
                  </a:lnTo>
                  <a:lnTo>
                    <a:pt x="52" y="40"/>
                  </a:lnTo>
                  <a:lnTo>
                    <a:pt x="67" y="43"/>
                  </a:lnTo>
                  <a:lnTo>
                    <a:pt x="78" y="47"/>
                  </a:lnTo>
                  <a:lnTo>
                    <a:pt x="82" y="52"/>
                  </a:lnTo>
                  <a:lnTo>
                    <a:pt x="87" y="58"/>
                  </a:lnTo>
                  <a:lnTo>
                    <a:pt x="90" y="63"/>
                  </a:lnTo>
                  <a:lnTo>
                    <a:pt x="90" y="72"/>
                  </a:lnTo>
                  <a:lnTo>
                    <a:pt x="90" y="79"/>
                  </a:lnTo>
                  <a:lnTo>
                    <a:pt x="87" y="86"/>
                  </a:lnTo>
                  <a:lnTo>
                    <a:pt x="82" y="92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6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20" y="102"/>
                  </a:lnTo>
                  <a:lnTo>
                    <a:pt x="13" y="98"/>
                  </a:lnTo>
                  <a:lnTo>
                    <a:pt x="9" y="93"/>
                  </a:lnTo>
                  <a:lnTo>
                    <a:pt x="5" y="88"/>
                  </a:lnTo>
                  <a:lnTo>
                    <a:pt x="2" y="81"/>
                  </a:lnTo>
                  <a:lnTo>
                    <a:pt x="0" y="72"/>
                  </a:lnTo>
                  <a:lnTo>
                    <a:pt x="33" y="72"/>
                  </a:lnTo>
                  <a:lnTo>
                    <a:pt x="35" y="79"/>
                  </a:lnTo>
                  <a:lnTo>
                    <a:pt x="38" y="83"/>
                  </a:lnTo>
                  <a:lnTo>
                    <a:pt x="42" y="85"/>
                  </a:lnTo>
                  <a:lnTo>
                    <a:pt x="46" y="86"/>
                  </a:lnTo>
                  <a:lnTo>
                    <a:pt x="52" y="86"/>
                  </a:lnTo>
                  <a:lnTo>
                    <a:pt x="56" y="85"/>
                  </a:lnTo>
                  <a:lnTo>
                    <a:pt x="59" y="82"/>
                  </a:lnTo>
                  <a:lnTo>
                    <a:pt x="59" y="76"/>
                  </a:lnTo>
                  <a:lnTo>
                    <a:pt x="59" y="75"/>
                  </a:lnTo>
                  <a:lnTo>
                    <a:pt x="58" y="72"/>
                  </a:lnTo>
                  <a:lnTo>
                    <a:pt x="56" y="70"/>
                  </a:lnTo>
                  <a:lnTo>
                    <a:pt x="54" y="69"/>
                  </a:lnTo>
                  <a:lnTo>
                    <a:pt x="46" y="68"/>
                  </a:lnTo>
                  <a:lnTo>
                    <a:pt x="38" y="66"/>
                  </a:lnTo>
                  <a:lnTo>
                    <a:pt x="25" y="63"/>
                  </a:lnTo>
                  <a:lnTo>
                    <a:pt x="13" y="58"/>
                  </a:lnTo>
                  <a:lnTo>
                    <a:pt x="7" y="53"/>
                  </a:lnTo>
                  <a:lnTo>
                    <a:pt x="5" y="49"/>
                  </a:lnTo>
                  <a:lnTo>
                    <a:pt x="2" y="42"/>
                  </a:lnTo>
                  <a:lnTo>
                    <a:pt x="2" y="33"/>
                  </a:lnTo>
                  <a:lnTo>
                    <a:pt x="2" y="26"/>
                  </a:lnTo>
                  <a:lnTo>
                    <a:pt x="5" y="19"/>
                  </a:lnTo>
                  <a:lnTo>
                    <a:pt x="9" y="13"/>
                  </a:lnTo>
                  <a:lnTo>
                    <a:pt x="13" y="9"/>
                  </a:lnTo>
                  <a:lnTo>
                    <a:pt x="19" y="4"/>
                  </a:lnTo>
                  <a:lnTo>
                    <a:pt x="26" y="3"/>
                  </a:lnTo>
                  <a:lnTo>
                    <a:pt x="35" y="2"/>
                  </a:lnTo>
                  <a:lnTo>
                    <a:pt x="42" y="0"/>
                  </a:lnTo>
                  <a:lnTo>
                    <a:pt x="54" y="0"/>
                  </a:lnTo>
                  <a:lnTo>
                    <a:pt x="62" y="2"/>
                  </a:lnTo>
                  <a:lnTo>
                    <a:pt x="69" y="4"/>
                  </a:lnTo>
                  <a:lnTo>
                    <a:pt x="75" y="9"/>
                  </a:lnTo>
                  <a:lnTo>
                    <a:pt x="81" y="13"/>
                  </a:lnTo>
                  <a:lnTo>
                    <a:pt x="84" y="19"/>
                  </a:lnTo>
                  <a:lnTo>
                    <a:pt x="87" y="25"/>
                  </a:lnTo>
                  <a:lnTo>
                    <a:pt x="87" y="32"/>
                  </a:lnTo>
                  <a:lnTo>
                    <a:pt x="55" y="3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8" name="Freeform 33">
              <a:extLst>
                <a:ext uri="{FF2B5EF4-FFF2-40B4-BE49-F238E27FC236}">
                  <a16:creationId xmlns:a16="http://schemas.microsoft.com/office/drawing/2014/main" id="{68722D6A-4945-F661-E9EF-59BAD5C744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017963"/>
              <a:ext cx="50800" cy="76200"/>
            </a:xfrm>
            <a:custGeom>
              <a:avLst/>
              <a:gdLst>
                <a:gd name="T0" fmla="*/ 0 w 98"/>
                <a:gd name="T1" fmla="*/ 143 h 143"/>
                <a:gd name="T2" fmla="*/ 0 w 98"/>
                <a:gd name="T3" fmla="*/ 0 h 143"/>
                <a:gd name="T4" fmla="*/ 35 w 98"/>
                <a:gd name="T5" fmla="*/ 0 h 143"/>
                <a:gd name="T6" fmla="*/ 35 w 98"/>
                <a:gd name="T7" fmla="*/ 85 h 143"/>
                <a:gd name="T8" fmla="*/ 64 w 98"/>
                <a:gd name="T9" fmla="*/ 42 h 143"/>
                <a:gd name="T10" fmla="*/ 97 w 98"/>
                <a:gd name="T11" fmla="*/ 42 h 143"/>
                <a:gd name="T12" fmla="*/ 65 w 98"/>
                <a:gd name="T13" fmla="*/ 85 h 143"/>
                <a:gd name="T14" fmla="*/ 98 w 98"/>
                <a:gd name="T15" fmla="*/ 143 h 143"/>
                <a:gd name="T16" fmla="*/ 59 w 98"/>
                <a:gd name="T17" fmla="*/ 143 h 143"/>
                <a:gd name="T18" fmla="*/ 35 w 98"/>
                <a:gd name="T19" fmla="*/ 97 h 143"/>
                <a:gd name="T20" fmla="*/ 35 w 98"/>
                <a:gd name="T21" fmla="*/ 143 h 143"/>
                <a:gd name="T22" fmla="*/ 0 w 98"/>
                <a:gd name="T23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8" h="143">
                  <a:moveTo>
                    <a:pt x="0" y="143"/>
                  </a:moveTo>
                  <a:lnTo>
                    <a:pt x="0" y="0"/>
                  </a:lnTo>
                  <a:lnTo>
                    <a:pt x="35" y="0"/>
                  </a:lnTo>
                  <a:lnTo>
                    <a:pt x="35" y="85"/>
                  </a:lnTo>
                  <a:lnTo>
                    <a:pt x="64" y="42"/>
                  </a:lnTo>
                  <a:lnTo>
                    <a:pt x="97" y="42"/>
                  </a:lnTo>
                  <a:lnTo>
                    <a:pt x="65" y="85"/>
                  </a:lnTo>
                  <a:lnTo>
                    <a:pt x="98" y="143"/>
                  </a:lnTo>
                  <a:lnTo>
                    <a:pt x="59" y="143"/>
                  </a:lnTo>
                  <a:lnTo>
                    <a:pt x="35" y="97"/>
                  </a:lnTo>
                  <a:lnTo>
                    <a:pt x="35" y="143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29" name="Freeform 34">
              <a:extLst>
                <a:ext uri="{FF2B5EF4-FFF2-40B4-BE49-F238E27FC236}">
                  <a16:creationId xmlns:a16="http://schemas.microsoft.com/office/drawing/2014/main" id="{FC7F992F-BC20-D979-3CE0-30F57C50AC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2238" y="4017963"/>
              <a:ext cx="50800" cy="77788"/>
            </a:xfrm>
            <a:custGeom>
              <a:avLst/>
              <a:gdLst>
                <a:gd name="T0" fmla="*/ 60 w 95"/>
                <a:gd name="T1" fmla="*/ 135 h 146"/>
                <a:gd name="T2" fmla="*/ 46 w 95"/>
                <a:gd name="T3" fmla="*/ 144 h 146"/>
                <a:gd name="T4" fmla="*/ 30 w 95"/>
                <a:gd name="T5" fmla="*/ 146 h 146"/>
                <a:gd name="T6" fmla="*/ 17 w 95"/>
                <a:gd name="T7" fmla="*/ 145 h 146"/>
                <a:gd name="T8" fmla="*/ 7 w 95"/>
                <a:gd name="T9" fmla="*/ 139 h 146"/>
                <a:gd name="T10" fmla="*/ 3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1 w 95"/>
                <a:gd name="T17" fmla="*/ 95 h 146"/>
                <a:gd name="T18" fmla="*/ 27 w 95"/>
                <a:gd name="T19" fmla="*/ 89 h 146"/>
                <a:gd name="T20" fmla="*/ 49 w 95"/>
                <a:gd name="T21" fmla="*/ 86 h 146"/>
                <a:gd name="T22" fmla="*/ 60 w 95"/>
                <a:gd name="T23" fmla="*/ 86 h 146"/>
                <a:gd name="T24" fmla="*/ 60 w 95"/>
                <a:gd name="T25" fmla="*/ 70 h 146"/>
                <a:gd name="T26" fmla="*/ 53 w 95"/>
                <a:gd name="T27" fmla="*/ 63 h 146"/>
                <a:gd name="T28" fmla="*/ 43 w 95"/>
                <a:gd name="T29" fmla="*/ 63 h 146"/>
                <a:gd name="T30" fmla="*/ 36 w 95"/>
                <a:gd name="T31" fmla="*/ 70 h 146"/>
                <a:gd name="T32" fmla="*/ 3 w 95"/>
                <a:gd name="T33" fmla="*/ 77 h 146"/>
                <a:gd name="T34" fmla="*/ 7 w 95"/>
                <a:gd name="T35" fmla="*/ 60 h 146"/>
                <a:gd name="T36" fmla="*/ 16 w 95"/>
                <a:gd name="T37" fmla="*/ 49 h 146"/>
                <a:gd name="T38" fmla="*/ 30 w 95"/>
                <a:gd name="T39" fmla="*/ 43 h 146"/>
                <a:gd name="T40" fmla="*/ 49 w 95"/>
                <a:gd name="T41" fmla="*/ 40 h 146"/>
                <a:gd name="T42" fmla="*/ 63 w 95"/>
                <a:gd name="T43" fmla="*/ 42 h 146"/>
                <a:gd name="T44" fmla="*/ 79 w 95"/>
                <a:gd name="T45" fmla="*/ 46 h 146"/>
                <a:gd name="T46" fmla="*/ 91 w 95"/>
                <a:gd name="T47" fmla="*/ 56 h 146"/>
                <a:gd name="T48" fmla="*/ 95 w 95"/>
                <a:gd name="T49" fmla="*/ 73 h 146"/>
                <a:gd name="T50" fmla="*/ 60 w 95"/>
                <a:gd name="T51" fmla="*/ 144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0 w 95"/>
                <a:gd name="T59" fmla="*/ 103 h 146"/>
                <a:gd name="T60" fmla="*/ 50 w 95"/>
                <a:gd name="T61" fmla="*/ 103 h 146"/>
                <a:gd name="T62" fmla="*/ 40 w 95"/>
                <a:gd name="T63" fmla="*/ 105 h 146"/>
                <a:gd name="T64" fmla="*/ 36 w 95"/>
                <a:gd name="T65" fmla="*/ 109 h 146"/>
                <a:gd name="T66" fmla="*/ 34 w 95"/>
                <a:gd name="T67" fmla="*/ 115 h 146"/>
                <a:gd name="T68" fmla="*/ 37 w 95"/>
                <a:gd name="T69" fmla="*/ 122 h 146"/>
                <a:gd name="T70" fmla="*/ 46 w 95"/>
                <a:gd name="T71" fmla="*/ 123 h 146"/>
                <a:gd name="T72" fmla="*/ 60 w 95"/>
                <a:gd name="T73" fmla="*/ 11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0" y="144"/>
                  </a:moveTo>
                  <a:lnTo>
                    <a:pt x="60" y="135"/>
                  </a:lnTo>
                  <a:lnTo>
                    <a:pt x="53" y="141"/>
                  </a:lnTo>
                  <a:lnTo>
                    <a:pt x="46" y="144"/>
                  </a:lnTo>
                  <a:lnTo>
                    <a:pt x="39" y="146"/>
                  </a:lnTo>
                  <a:lnTo>
                    <a:pt x="30" y="146"/>
                  </a:lnTo>
                  <a:lnTo>
                    <a:pt x="23" y="146"/>
                  </a:lnTo>
                  <a:lnTo>
                    <a:pt x="17" y="145"/>
                  </a:lnTo>
                  <a:lnTo>
                    <a:pt x="11" y="142"/>
                  </a:lnTo>
                  <a:lnTo>
                    <a:pt x="7" y="139"/>
                  </a:lnTo>
                  <a:lnTo>
                    <a:pt x="4" y="135"/>
                  </a:lnTo>
                  <a:lnTo>
                    <a:pt x="3" y="131"/>
                  </a:lnTo>
                  <a:lnTo>
                    <a:pt x="1" y="125"/>
                  </a:lnTo>
                  <a:lnTo>
                    <a:pt x="0" y="119"/>
                  </a:lnTo>
                  <a:lnTo>
                    <a:pt x="1" y="112"/>
                  </a:lnTo>
                  <a:lnTo>
                    <a:pt x="3" y="106"/>
                  </a:lnTo>
                  <a:lnTo>
                    <a:pt x="7" y="100"/>
                  </a:lnTo>
                  <a:lnTo>
                    <a:pt x="11" y="95"/>
                  </a:lnTo>
                  <a:lnTo>
                    <a:pt x="19" y="92"/>
                  </a:lnTo>
                  <a:lnTo>
                    <a:pt x="27" y="89"/>
                  </a:lnTo>
                  <a:lnTo>
                    <a:pt x="37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0" y="86"/>
                  </a:lnTo>
                  <a:lnTo>
                    <a:pt x="60" y="77"/>
                  </a:lnTo>
                  <a:lnTo>
                    <a:pt x="60" y="70"/>
                  </a:lnTo>
                  <a:lnTo>
                    <a:pt x="57" y="66"/>
                  </a:lnTo>
                  <a:lnTo>
                    <a:pt x="53" y="63"/>
                  </a:lnTo>
                  <a:lnTo>
                    <a:pt x="49" y="62"/>
                  </a:lnTo>
                  <a:lnTo>
                    <a:pt x="43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4" y="77"/>
                  </a:lnTo>
                  <a:lnTo>
                    <a:pt x="3" y="77"/>
                  </a:lnTo>
                  <a:lnTo>
                    <a:pt x="4" y="69"/>
                  </a:lnTo>
                  <a:lnTo>
                    <a:pt x="7" y="60"/>
                  </a:lnTo>
                  <a:lnTo>
                    <a:pt x="11" y="54"/>
                  </a:lnTo>
                  <a:lnTo>
                    <a:pt x="16" y="49"/>
                  </a:lnTo>
                  <a:lnTo>
                    <a:pt x="23" y="44"/>
                  </a:lnTo>
                  <a:lnTo>
                    <a:pt x="30" y="43"/>
                  </a:lnTo>
                  <a:lnTo>
                    <a:pt x="39" y="40"/>
                  </a:lnTo>
                  <a:lnTo>
                    <a:pt x="49" y="40"/>
                  </a:lnTo>
                  <a:lnTo>
                    <a:pt x="56" y="40"/>
                  </a:lnTo>
                  <a:lnTo>
                    <a:pt x="63" y="42"/>
                  </a:lnTo>
                  <a:lnTo>
                    <a:pt x="72" y="43"/>
                  </a:lnTo>
                  <a:lnTo>
                    <a:pt x="79" y="46"/>
                  </a:lnTo>
                  <a:lnTo>
                    <a:pt x="85" y="50"/>
                  </a:lnTo>
                  <a:lnTo>
                    <a:pt x="91" y="56"/>
                  </a:lnTo>
                  <a:lnTo>
                    <a:pt x="93" y="65"/>
                  </a:lnTo>
                  <a:lnTo>
                    <a:pt x="95" y="73"/>
                  </a:lnTo>
                  <a:lnTo>
                    <a:pt x="95" y="144"/>
                  </a:lnTo>
                  <a:lnTo>
                    <a:pt x="60" y="144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6" y="0"/>
                  </a:lnTo>
                  <a:lnTo>
                    <a:pt x="85" y="0"/>
                  </a:lnTo>
                  <a:lnTo>
                    <a:pt x="53" y="31"/>
                  </a:lnTo>
                  <a:lnTo>
                    <a:pt x="26" y="31"/>
                  </a:lnTo>
                  <a:close/>
                  <a:moveTo>
                    <a:pt x="60" y="103"/>
                  </a:moveTo>
                  <a:lnTo>
                    <a:pt x="60" y="103"/>
                  </a:lnTo>
                  <a:lnTo>
                    <a:pt x="56" y="103"/>
                  </a:lnTo>
                  <a:lnTo>
                    <a:pt x="50" y="103"/>
                  </a:lnTo>
                  <a:lnTo>
                    <a:pt x="44" y="103"/>
                  </a:lnTo>
                  <a:lnTo>
                    <a:pt x="40" y="105"/>
                  </a:lnTo>
                  <a:lnTo>
                    <a:pt x="37" y="106"/>
                  </a:lnTo>
                  <a:lnTo>
                    <a:pt x="36" y="109"/>
                  </a:lnTo>
                  <a:lnTo>
                    <a:pt x="34" y="110"/>
                  </a:lnTo>
                  <a:lnTo>
                    <a:pt x="34" y="115"/>
                  </a:lnTo>
                  <a:lnTo>
                    <a:pt x="34" y="119"/>
                  </a:lnTo>
                  <a:lnTo>
                    <a:pt x="37" y="122"/>
                  </a:lnTo>
                  <a:lnTo>
                    <a:pt x="42" y="123"/>
                  </a:lnTo>
                  <a:lnTo>
                    <a:pt x="46" y="123"/>
                  </a:lnTo>
                  <a:lnTo>
                    <a:pt x="53" y="122"/>
                  </a:lnTo>
                  <a:lnTo>
                    <a:pt x="60" y="118"/>
                  </a:lnTo>
                  <a:lnTo>
                    <a:pt x="6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0" name="Freeform 35">
              <a:extLst>
                <a:ext uri="{FF2B5EF4-FFF2-40B4-BE49-F238E27FC236}">
                  <a16:creationId xmlns:a16="http://schemas.microsoft.com/office/drawing/2014/main" id="{B6C383B2-2B01-1A7E-F2FA-E673E8BD9A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15700" y="4119563"/>
              <a:ext cx="52388" cy="74613"/>
            </a:xfrm>
            <a:custGeom>
              <a:avLst/>
              <a:gdLst>
                <a:gd name="T0" fmla="*/ 0 w 99"/>
                <a:gd name="T1" fmla="*/ 142 h 142"/>
                <a:gd name="T2" fmla="*/ 0 w 99"/>
                <a:gd name="T3" fmla="*/ 0 h 142"/>
                <a:gd name="T4" fmla="*/ 34 w 99"/>
                <a:gd name="T5" fmla="*/ 0 h 142"/>
                <a:gd name="T6" fmla="*/ 34 w 99"/>
                <a:gd name="T7" fmla="*/ 85 h 142"/>
                <a:gd name="T8" fmla="*/ 63 w 99"/>
                <a:gd name="T9" fmla="*/ 42 h 142"/>
                <a:gd name="T10" fmla="*/ 96 w 99"/>
                <a:gd name="T11" fmla="*/ 42 h 142"/>
                <a:gd name="T12" fmla="*/ 64 w 99"/>
                <a:gd name="T13" fmla="*/ 86 h 142"/>
                <a:gd name="T14" fmla="*/ 99 w 99"/>
                <a:gd name="T15" fmla="*/ 142 h 142"/>
                <a:gd name="T16" fmla="*/ 60 w 99"/>
                <a:gd name="T17" fmla="*/ 142 h 142"/>
                <a:gd name="T18" fmla="*/ 34 w 99"/>
                <a:gd name="T19" fmla="*/ 98 h 142"/>
                <a:gd name="T20" fmla="*/ 34 w 99"/>
                <a:gd name="T21" fmla="*/ 142 h 142"/>
                <a:gd name="T22" fmla="*/ 0 w 9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42">
                  <a:moveTo>
                    <a:pt x="0" y="142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34" y="85"/>
                  </a:lnTo>
                  <a:lnTo>
                    <a:pt x="63" y="42"/>
                  </a:lnTo>
                  <a:lnTo>
                    <a:pt x="96" y="42"/>
                  </a:lnTo>
                  <a:lnTo>
                    <a:pt x="64" y="86"/>
                  </a:lnTo>
                  <a:lnTo>
                    <a:pt x="99" y="142"/>
                  </a:lnTo>
                  <a:lnTo>
                    <a:pt x="60" y="142"/>
                  </a:lnTo>
                  <a:lnTo>
                    <a:pt x="34" y="98"/>
                  </a:lnTo>
                  <a:lnTo>
                    <a:pt x="34" y="142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2" name="Freeform 36">
              <a:extLst>
                <a:ext uri="{FF2B5EF4-FFF2-40B4-BE49-F238E27FC236}">
                  <a16:creationId xmlns:a16="http://schemas.microsoft.com/office/drawing/2014/main" id="{CC3F183E-6B61-E44A-DBDC-8BBFADA71E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2850" y="4140200"/>
              <a:ext cx="49213" cy="55563"/>
            </a:xfrm>
            <a:custGeom>
              <a:avLst/>
              <a:gdLst>
                <a:gd name="T0" fmla="*/ 59 w 93"/>
                <a:gd name="T1" fmla="*/ 95 h 106"/>
                <a:gd name="T2" fmla="*/ 44 w 93"/>
                <a:gd name="T3" fmla="*/ 103 h 106"/>
                <a:gd name="T4" fmla="*/ 30 w 93"/>
                <a:gd name="T5" fmla="*/ 106 h 106"/>
                <a:gd name="T6" fmla="*/ 15 w 93"/>
                <a:gd name="T7" fmla="*/ 105 h 106"/>
                <a:gd name="T8" fmla="*/ 7 w 93"/>
                <a:gd name="T9" fmla="*/ 99 h 106"/>
                <a:gd name="T10" fmla="*/ 1 w 93"/>
                <a:gd name="T11" fmla="*/ 91 h 106"/>
                <a:gd name="T12" fmla="*/ 0 w 93"/>
                <a:gd name="T13" fmla="*/ 79 h 106"/>
                <a:gd name="T14" fmla="*/ 1 w 93"/>
                <a:gd name="T15" fmla="*/ 66 h 106"/>
                <a:gd name="T16" fmla="*/ 10 w 93"/>
                <a:gd name="T17" fmla="*/ 56 h 106"/>
                <a:gd name="T18" fmla="*/ 25 w 93"/>
                <a:gd name="T19" fmla="*/ 49 h 106"/>
                <a:gd name="T20" fmla="*/ 47 w 93"/>
                <a:gd name="T21" fmla="*/ 46 h 106"/>
                <a:gd name="T22" fmla="*/ 59 w 93"/>
                <a:gd name="T23" fmla="*/ 46 h 106"/>
                <a:gd name="T24" fmla="*/ 59 w 93"/>
                <a:gd name="T25" fmla="*/ 30 h 106"/>
                <a:gd name="T26" fmla="*/ 53 w 93"/>
                <a:gd name="T27" fmla="*/ 23 h 106"/>
                <a:gd name="T28" fmla="*/ 41 w 93"/>
                <a:gd name="T29" fmla="*/ 23 h 106"/>
                <a:gd name="T30" fmla="*/ 34 w 93"/>
                <a:gd name="T31" fmla="*/ 30 h 106"/>
                <a:gd name="T32" fmla="*/ 1 w 93"/>
                <a:gd name="T33" fmla="*/ 37 h 106"/>
                <a:gd name="T34" fmla="*/ 5 w 93"/>
                <a:gd name="T35" fmla="*/ 20 h 106"/>
                <a:gd name="T36" fmla="*/ 15 w 93"/>
                <a:gd name="T37" fmla="*/ 9 h 106"/>
                <a:gd name="T38" fmla="*/ 30 w 93"/>
                <a:gd name="T39" fmla="*/ 3 h 106"/>
                <a:gd name="T40" fmla="*/ 47 w 93"/>
                <a:gd name="T41" fmla="*/ 0 h 106"/>
                <a:gd name="T42" fmla="*/ 63 w 93"/>
                <a:gd name="T43" fmla="*/ 2 h 106"/>
                <a:gd name="T44" fmla="*/ 77 w 93"/>
                <a:gd name="T45" fmla="*/ 7 h 106"/>
                <a:gd name="T46" fmla="*/ 89 w 93"/>
                <a:gd name="T47" fmla="*/ 17 h 106"/>
                <a:gd name="T48" fmla="*/ 93 w 93"/>
                <a:gd name="T49" fmla="*/ 33 h 106"/>
                <a:gd name="T50" fmla="*/ 59 w 93"/>
                <a:gd name="T51" fmla="*/ 103 h 106"/>
                <a:gd name="T52" fmla="*/ 59 w 93"/>
                <a:gd name="T53" fmla="*/ 63 h 106"/>
                <a:gd name="T54" fmla="*/ 50 w 93"/>
                <a:gd name="T55" fmla="*/ 63 h 106"/>
                <a:gd name="T56" fmla="*/ 38 w 93"/>
                <a:gd name="T57" fmla="*/ 65 h 106"/>
                <a:gd name="T58" fmla="*/ 34 w 93"/>
                <a:gd name="T59" fmla="*/ 69 h 106"/>
                <a:gd name="T60" fmla="*/ 33 w 93"/>
                <a:gd name="T61" fmla="*/ 75 h 106"/>
                <a:gd name="T62" fmla="*/ 37 w 93"/>
                <a:gd name="T63" fmla="*/ 82 h 106"/>
                <a:gd name="T64" fmla="*/ 44 w 93"/>
                <a:gd name="T65" fmla="*/ 85 h 106"/>
                <a:gd name="T66" fmla="*/ 59 w 93"/>
                <a:gd name="T67" fmla="*/ 79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3" h="106">
                  <a:moveTo>
                    <a:pt x="59" y="103"/>
                  </a:moveTo>
                  <a:lnTo>
                    <a:pt x="59" y="95"/>
                  </a:lnTo>
                  <a:lnTo>
                    <a:pt x="53" y="101"/>
                  </a:lnTo>
                  <a:lnTo>
                    <a:pt x="44" y="103"/>
                  </a:lnTo>
                  <a:lnTo>
                    <a:pt x="37" y="106"/>
                  </a:lnTo>
                  <a:lnTo>
                    <a:pt x="30" y="106"/>
                  </a:lnTo>
                  <a:lnTo>
                    <a:pt x="23" y="106"/>
                  </a:lnTo>
                  <a:lnTo>
                    <a:pt x="15" y="105"/>
                  </a:lnTo>
                  <a:lnTo>
                    <a:pt x="11" y="102"/>
                  </a:lnTo>
                  <a:lnTo>
                    <a:pt x="7" y="99"/>
                  </a:lnTo>
                  <a:lnTo>
                    <a:pt x="2" y="95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9"/>
                  </a:lnTo>
                  <a:lnTo>
                    <a:pt x="0" y="72"/>
                  </a:lnTo>
                  <a:lnTo>
                    <a:pt x="1" y="66"/>
                  </a:lnTo>
                  <a:lnTo>
                    <a:pt x="5" y="60"/>
                  </a:lnTo>
                  <a:lnTo>
                    <a:pt x="10" y="56"/>
                  </a:lnTo>
                  <a:lnTo>
                    <a:pt x="17" y="52"/>
                  </a:lnTo>
                  <a:lnTo>
                    <a:pt x="25" y="49"/>
                  </a:lnTo>
                  <a:lnTo>
                    <a:pt x="36" y="46"/>
                  </a:lnTo>
                  <a:lnTo>
                    <a:pt x="47" y="46"/>
                  </a:lnTo>
                  <a:lnTo>
                    <a:pt x="53" y="46"/>
                  </a:lnTo>
                  <a:lnTo>
                    <a:pt x="59" y="46"/>
                  </a:lnTo>
                  <a:lnTo>
                    <a:pt x="59" y="37"/>
                  </a:lnTo>
                  <a:lnTo>
                    <a:pt x="59" y="30"/>
                  </a:lnTo>
                  <a:lnTo>
                    <a:pt x="56" y="26"/>
                  </a:lnTo>
                  <a:lnTo>
                    <a:pt x="53" y="23"/>
                  </a:lnTo>
                  <a:lnTo>
                    <a:pt x="47" y="23"/>
                  </a:lnTo>
                  <a:lnTo>
                    <a:pt x="41" y="23"/>
                  </a:lnTo>
                  <a:lnTo>
                    <a:pt x="37" y="26"/>
                  </a:lnTo>
                  <a:lnTo>
                    <a:pt x="34" y="30"/>
                  </a:lnTo>
                  <a:lnTo>
                    <a:pt x="34" y="37"/>
                  </a:lnTo>
                  <a:lnTo>
                    <a:pt x="1" y="37"/>
                  </a:lnTo>
                  <a:lnTo>
                    <a:pt x="2" y="29"/>
                  </a:lnTo>
                  <a:lnTo>
                    <a:pt x="5" y="20"/>
                  </a:lnTo>
                  <a:lnTo>
                    <a:pt x="10" y="14"/>
                  </a:lnTo>
                  <a:lnTo>
                    <a:pt x="15" y="9"/>
                  </a:lnTo>
                  <a:lnTo>
                    <a:pt x="21" y="6"/>
                  </a:lnTo>
                  <a:lnTo>
                    <a:pt x="30" y="3"/>
                  </a:lnTo>
                  <a:lnTo>
                    <a:pt x="37" y="2"/>
                  </a:lnTo>
                  <a:lnTo>
                    <a:pt x="47" y="0"/>
                  </a:lnTo>
                  <a:lnTo>
                    <a:pt x="54" y="2"/>
                  </a:lnTo>
                  <a:lnTo>
                    <a:pt x="63" y="2"/>
                  </a:lnTo>
                  <a:lnTo>
                    <a:pt x="70" y="4"/>
                  </a:lnTo>
                  <a:lnTo>
                    <a:pt x="77" y="7"/>
                  </a:lnTo>
                  <a:lnTo>
                    <a:pt x="85" y="12"/>
                  </a:lnTo>
                  <a:lnTo>
                    <a:pt x="89" y="17"/>
                  </a:lnTo>
                  <a:lnTo>
                    <a:pt x="92" y="25"/>
                  </a:lnTo>
                  <a:lnTo>
                    <a:pt x="93" y="33"/>
                  </a:lnTo>
                  <a:lnTo>
                    <a:pt x="93" y="103"/>
                  </a:lnTo>
                  <a:lnTo>
                    <a:pt x="59" y="103"/>
                  </a:lnTo>
                  <a:close/>
                  <a:moveTo>
                    <a:pt x="59" y="63"/>
                  </a:moveTo>
                  <a:lnTo>
                    <a:pt x="59" y="63"/>
                  </a:lnTo>
                  <a:lnTo>
                    <a:pt x="54" y="63"/>
                  </a:lnTo>
                  <a:lnTo>
                    <a:pt x="50" y="63"/>
                  </a:lnTo>
                  <a:lnTo>
                    <a:pt x="44" y="63"/>
                  </a:lnTo>
                  <a:lnTo>
                    <a:pt x="38" y="65"/>
                  </a:lnTo>
                  <a:lnTo>
                    <a:pt x="36" y="68"/>
                  </a:lnTo>
                  <a:lnTo>
                    <a:pt x="34" y="69"/>
                  </a:lnTo>
                  <a:lnTo>
                    <a:pt x="33" y="72"/>
                  </a:lnTo>
                  <a:lnTo>
                    <a:pt x="33" y="75"/>
                  </a:lnTo>
                  <a:lnTo>
                    <a:pt x="34" y="79"/>
                  </a:lnTo>
                  <a:lnTo>
                    <a:pt x="37" y="82"/>
                  </a:lnTo>
                  <a:lnTo>
                    <a:pt x="40" y="83"/>
                  </a:lnTo>
                  <a:lnTo>
                    <a:pt x="44" y="85"/>
                  </a:lnTo>
                  <a:lnTo>
                    <a:pt x="51" y="83"/>
                  </a:lnTo>
                  <a:lnTo>
                    <a:pt x="59" y="79"/>
                  </a:lnTo>
                  <a:lnTo>
                    <a:pt x="59" y="6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3" name="Freeform 37">
              <a:extLst>
                <a:ext uri="{FF2B5EF4-FFF2-40B4-BE49-F238E27FC236}">
                  <a16:creationId xmlns:a16="http://schemas.microsoft.com/office/drawing/2014/main" id="{505F472A-5D5D-B6DC-3598-776C6E47E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3175" y="4140200"/>
              <a:ext cx="52388" cy="53975"/>
            </a:xfrm>
            <a:custGeom>
              <a:avLst/>
              <a:gdLst>
                <a:gd name="T0" fmla="*/ 0 w 98"/>
                <a:gd name="T1" fmla="*/ 103 h 103"/>
                <a:gd name="T2" fmla="*/ 0 w 98"/>
                <a:gd name="T3" fmla="*/ 3 h 103"/>
                <a:gd name="T4" fmla="*/ 35 w 98"/>
                <a:gd name="T5" fmla="*/ 3 h 103"/>
                <a:gd name="T6" fmla="*/ 35 w 98"/>
                <a:gd name="T7" fmla="*/ 17 h 103"/>
                <a:gd name="T8" fmla="*/ 43 w 98"/>
                <a:gd name="T9" fmla="*/ 10 h 103"/>
                <a:gd name="T10" fmla="*/ 52 w 98"/>
                <a:gd name="T11" fmla="*/ 4 h 103"/>
                <a:gd name="T12" fmla="*/ 61 w 98"/>
                <a:gd name="T13" fmla="*/ 2 h 103"/>
                <a:gd name="T14" fmla="*/ 71 w 98"/>
                <a:gd name="T15" fmla="*/ 0 h 103"/>
                <a:gd name="T16" fmla="*/ 75 w 98"/>
                <a:gd name="T17" fmla="*/ 2 h 103"/>
                <a:gd name="T18" fmla="*/ 81 w 98"/>
                <a:gd name="T19" fmla="*/ 2 h 103"/>
                <a:gd name="T20" fmla="*/ 85 w 98"/>
                <a:gd name="T21" fmla="*/ 4 h 103"/>
                <a:gd name="T22" fmla="*/ 89 w 98"/>
                <a:gd name="T23" fmla="*/ 7 h 103"/>
                <a:gd name="T24" fmla="*/ 94 w 98"/>
                <a:gd name="T25" fmla="*/ 12 h 103"/>
                <a:gd name="T26" fmla="*/ 95 w 98"/>
                <a:gd name="T27" fmla="*/ 17 h 103"/>
                <a:gd name="T28" fmla="*/ 98 w 98"/>
                <a:gd name="T29" fmla="*/ 25 h 103"/>
                <a:gd name="T30" fmla="*/ 98 w 98"/>
                <a:gd name="T31" fmla="*/ 35 h 103"/>
                <a:gd name="T32" fmla="*/ 98 w 98"/>
                <a:gd name="T33" fmla="*/ 103 h 103"/>
                <a:gd name="T34" fmla="*/ 64 w 98"/>
                <a:gd name="T35" fmla="*/ 103 h 103"/>
                <a:gd name="T36" fmla="*/ 64 w 98"/>
                <a:gd name="T37" fmla="*/ 40 h 103"/>
                <a:gd name="T38" fmla="*/ 64 w 98"/>
                <a:gd name="T39" fmla="*/ 35 h 103"/>
                <a:gd name="T40" fmla="*/ 61 w 98"/>
                <a:gd name="T41" fmla="*/ 30 h 103"/>
                <a:gd name="T42" fmla="*/ 56 w 98"/>
                <a:gd name="T43" fmla="*/ 29 h 103"/>
                <a:gd name="T44" fmla="*/ 51 w 98"/>
                <a:gd name="T45" fmla="*/ 27 h 103"/>
                <a:gd name="T46" fmla="*/ 43 w 98"/>
                <a:gd name="T47" fmla="*/ 29 h 103"/>
                <a:gd name="T48" fmla="*/ 35 w 98"/>
                <a:gd name="T49" fmla="*/ 35 h 103"/>
                <a:gd name="T50" fmla="*/ 35 w 98"/>
                <a:gd name="T51" fmla="*/ 103 h 103"/>
                <a:gd name="T52" fmla="*/ 0 w 98"/>
                <a:gd name="T5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8" h="103">
                  <a:moveTo>
                    <a:pt x="0" y="103"/>
                  </a:moveTo>
                  <a:lnTo>
                    <a:pt x="0" y="3"/>
                  </a:lnTo>
                  <a:lnTo>
                    <a:pt x="35" y="3"/>
                  </a:lnTo>
                  <a:lnTo>
                    <a:pt x="35" y="17"/>
                  </a:lnTo>
                  <a:lnTo>
                    <a:pt x="43" y="10"/>
                  </a:lnTo>
                  <a:lnTo>
                    <a:pt x="52" y="4"/>
                  </a:lnTo>
                  <a:lnTo>
                    <a:pt x="61" y="2"/>
                  </a:lnTo>
                  <a:lnTo>
                    <a:pt x="71" y="0"/>
                  </a:lnTo>
                  <a:lnTo>
                    <a:pt x="75" y="2"/>
                  </a:lnTo>
                  <a:lnTo>
                    <a:pt x="81" y="2"/>
                  </a:lnTo>
                  <a:lnTo>
                    <a:pt x="85" y="4"/>
                  </a:lnTo>
                  <a:lnTo>
                    <a:pt x="89" y="7"/>
                  </a:lnTo>
                  <a:lnTo>
                    <a:pt x="94" y="12"/>
                  </a:lnTo>
                  <a:lnTo>
                    <a:pt x="95" y="17"/>
                  </a:lnTo>
                  <a:lnTo>
                    <a:pt x="98" y="25"/>
                  </a:lnTo>
                  <a:lnTo>
                    <a:pt x="98" y="35"/>
                  </a:lnTo>
                  <a:lnTo>
                    <a:pt x="98" y="103"/>
                  </a:lnTo>
                  <a:lnTo>
                    <a:pt x="64" y="103"/>
                  </a:lnTo>
                  <a:lnTo>
                    <a:pt x="64" y="40"/>
                  </a:lnTo>
                  <a:lnTo>
                    <a:pt x="64" y="35"/>
                  </a:lnTo>
                  <a:lnTo>
                    <a:pt x="61" y="30"/>
                  </a:lnTo>
                  <a:lnTo>
                    <a:pt x="56" y="29"/>
                  </a:lnTo>
                  <a:lnTo>
                    <a:pt x="51" y="27"/>
                  </a:lnTo>
                  <a:lnTo>
                    <a:pt x="43" y="29"/>
                  </a:lnTo>
                  <a:lnTo>
                    <a:pt x="35" y="35"/>
                  </a:lnTo>
                  <a:lnTo>
                    <a:pt x="35" y="103"/>
                  </a:lnTo>
                  <a:lnTo>
                    <a:pt x="0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4" name="Freeform 38">
              <a:extLst>
                <a:ext uri="{FF2B5EF4-FFF2-40B4-BE49-F238E27FC236}">
                  <a16:creationId xmlns:a16="http://schemas.microsoft.com/office/drawing/2014/main" id="{D7785973-2BD0-A55A-49BB-49177D5B3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5088" y="4140200"/>
              <a:ext cx="50800" cy="55563"/>
            </a:xfrm>
            <a:custGeom>
              <a:avLst/>
              <a:gdLst>
                <a:gd name="T0" fmla="*/ 95 w 96"/>
                <a:gd name="T1" fmla="*/ 68 h 106"/>
                <a:gd name="T2" fmla="*/ 93 w 96"/>
                <a:gd name="T3" fmla="*/ 76 h 106"/>
                <a:gd name="T4" fmla="*/ 91 w 96"/>
                <a:gd name="T5" fmla="*/ 85 h 106"/>
                <a:gd name="T6" fmla="*/ 86 w 96"/>
                <a:gd name="T7" fmla="*/ 91 h 106"/>
                <a:gd name="T8" fmla="*/ 80 w 96"/>
                <a:gd name="T9" fmla="*/ 96 h 106"/>
                <a:gd name="T10" fmla="*/ 75 w 96"/>
                <a:gd name="T11" fmla="*/ 101 h 106"/>
                <a:gd name="T12" fmla="*/ 68 w 96"/>
                <a:gd name="T13" fmla="*/ 105 h 106"/>
                <a:gd name="T14" fmla="*/ 59 w 96"/>
                <a:gd name="T15" fmla="*/ 106 h 106"/>
                <a:gd name="T16" fmla="*/ 49 w 96"/>
                <a:gd name="T17" fmla="*/ 106 h 106"/>
                <a:gd name="T18" fmla="*/ 39 w 96"/>
                <a:gd name="T19" fmla="*/ 106 h 106"/>
                <a:gd name="T20" fmla="*/ 29 w 96"/>
                <a:gd name="T21" fmla="*/ 103 h 106"/>
                <a:gd name="T22" fmla="*/ 20 w 96"/>
                <a:gd name="T23" fmla="*/ 99 h 106"/>
                <a:gd name="T24" fmla="*/ 13 w 96"/>
                <a:gd name="T25" fmla="*/ 92 h 106"/>
                <a:gd name="T26" fmla="*/ 7 w 96"/>
                <a:gd name="T27" fmla="*/ 85 h 106"/>
                <a:gd name="T28" fmla="*/ 4 w 96"/>
                <a:gd name="T29" fmla="*/ 76 h 106"/>
                <a:gd name="T30" fmla="*/ 1 w 96"/>
                <a:gd name="T31" fmla="*/ 65 h 106"/>
                <a:gd name="T32" fmla="*/ 0 w 96"/>
                <a:gd name="T33" fmla="*/ 53 h 106"/>
                <a:gd name="T34" fmla="*/ 1 w 96"/>
                <a:gd name="T35" fmla="*/ 42 h 106"/>
                <a:gd name="T36" fmla="*/ 4 w 96"/>
                <a:gd name="T37" fmla="*/ 32 h 106"/>
                <a:gd name="T38" fmla="*/ 8 w 96"/>
                <a:gd name="T39" fmla="*/ 23 h 106"/>
                <a:gd name="T40" fmla="*/ 14 w 96"/>
                <a:gd name="T41" fmla="*/ 14 h 106"/>
                <a:gd name="T42" fmla="*/ 20 w 96"/>
                <a:gd name="T43" fmla="*/ 9 h 106"/>
                <a:gd name="T44" fmla="*/ 29 w 96"/>
                <a:gd name="T45" fmla="*/ 4 h 106"/>
                <a:gd name="T46" fmla="*/ 39 w 96"/>
                <a:gd name="T47" fmla="*/ 2 h 106"/>
                <a:gd name="T48" fmla="*/ 49 w 96"/>
                <a:gd name="T49" fmla="*/ 0 h 106"/>
                <a:gd name="T50" fmla="*/ 59 w 96"/>
                <a:gd name="T51" fmla="*/ 2 h 106"/>
                <a:gd name="T52" fmla="*/ 68 w 96"/>
                <a:gd name="T53" fmla="*/ 3 h 106"/>
                <a:gd name="T54" fmla="*/ 76 w 96"/>
                <a:gd name="T55" fmla="*/ 6 h 106"/>
                <a:gd name="T56" fmla="*/ 82 w 96"/>
                <a:gd name="T57" fmla="*/ 12 h 106"/>
                <a:gd name="T58" fmla="*/ 88 w 96"/>
                <a:gd name="T59" fmla="*/ 17 h 106"/>
                <a:gd name="T60" fmla="*/ 92 w 96"/>
                <a:gd name="T61" fmla="*/ 25 h 106"/>
                <a:gd name="T62" fmla="*/ 95 w 96"/>
                <a:gd name="T63" fmla="*/ 32 h 106"/>
                <a:gd name="T64" fmla="*/ 96 w 96"/>
                <a:gd name="T65" fmla="*/ 42 h 106"/>
                <a:gd name="T66" fmla="*/ 63 w 96"/>
                <a:gd name="T67" fmla="*/ 42 h 106"/>
                <a:gd name="T68" fmla="*/ 62 w 96"/>
                <a:gd name="T69" fmla="*/ 33 h 106"/>
                <a:gd name="T70" fmla="*/ 59 w 96"/>
                <a:gd name="T71" fmla="*/ 27 h 106"/>
                <a:gd name="T72" fmla="*/ 55 w 96"/>
                <a:gd name="T73" fmla="*/ 23 h 106"/>
                <a:gd name="T74" fmla="*/ 49 w 96"/>
                <a:gd name="T75" fmla="*/ 23 h 106"/>
                <a:gd name="T76" fmla="*/ 46 w 96"/>
                <a:gd name="T77" fmla="*/ 23 h 106"/>
                <a:gd name="T78" fmla="*/ 43 w 96"/>
                <a:gd name="T79" fmla="*/ 25 h 106"/>
                <a:gd name="T80" fmla="*/ 40 w 96"/>
                <a:gd name="T81" fmla="*/ 27 h 106"/>
                <a:gd name="T82" fmla="*/ 39 w 96"/>
                <a:gd name="T83" fmla="*/ 30 h 106"/>
                <a:gd name="T84" fmla="*/ 36 w 96"/>
                <a:gd name="T85" fmla="*/ 40 h 106"/>
                <a:gd name="T86" fmla="*/ 34 w 96"/>
                <a:gd name="T87" fmla="*/ 53 h 106"/>
                <a:gd name="T88" fmla="*/ 36 w 96"/>
                <a:gd name="T89" fmla="*/ 68 h 106"/>
                <a:gd name="T90" fmla="*/ 39 w 96"/>
                <a:gd name="T91" fmla="*/ 78 h 106"/>
                <a:gd name="T92" fmla="*/ 42 w 96"/>
                <a:gd name="T93" fmla="*/ 81 h 106"/>
                <a:gd name="T94" fmla="*/ 43 w 96"/>
                <a:gd name="T95" fmla="*/ 83 h 106"/>
                <a:gd name="T96" fmla="*/ 46 w 96"/>
                <a:gd name="T97" fmla="*/ 85 h 106"/>
                <a:gd name="T98" fmla="*/ 49 w 96"/>
                <a:gd name="T99" fmla="*/ 85 h 106"/>
                <a:gd name="T100" fmla="*/ 55 w 96"/>
                <a:gd name="T101" fmla="*/ 83 h 106"/>
                <a:gd name="T102" fmla="*/ 57 w 96"/>
                <a:gd name="T103" fmla="*/ 81 h 106"/>
                <a:gd name="T104" fmla="*/ 60 w 96"/>
                <a:gd name="T105" fmla="*/ 75 h 106"/>
                <a:gd name="T106" fmla="*/ 62 w 96"/>
                <a:gd name="T107" fmla="*/ 68 h 106"/>
                <a:gd name="T108" fmla="*/ 95 w 96"/>
                <a:gd name="T109" fmla="*/ 68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6" h="106">
                  <a:moveTo>
                    <a:pt x="95" y="68"/>
                  </a:moveTo>
                  <a:lnTo>
                    <a:pt x="93" y="76"/>
                  </a:lnTo>
                  <a:lnTo>
                    <a:pt x="91" y="85"/>
                  </a:lnTo>
                  <a:lnTo>
                    <a:pt x="86" y="91"/>
                  </a:lnTo>
                  <a:lnTo>
                    <a:pt x="80" y="96"/>
                  </a:lnTo>
                  <a:lnTo>
                    <a:pt x="75" y="101"/>
                  </a:lnTo>
                  <a:lnTo>
                    <a:pt x="68" y="105"/>
                  </a:lnTo>
                  <a:lnTo>
                    <a:pt x="59" y="106"/>
                  </a:lnTo>
                  <a:lnTo>
                    <a:pt x="49" y="106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2"/>
                  </a:lnTo>
                  <a:lnTo>
                    <a:pt x="7" y="85"/>
                  </a:lnTo>
                  <a:lnTo>
                    <a:pt x="4" y="76"/>
                  </a:lnTo>
                  <a:lnTo>
                    <a:pt x="1" y="65"/>
                  </a:lnTo>
                  <a:lnTo>
                    <a:pt x="0" y="53"/>
                  </a:lnTo>
                  <a:lnTo>
                    <a:pt x="1" y="42"/>
                  </a:lnTo>
                  <a:lnTo>
                    <a:pt x="4" y="32"/>
                  </a:lnTo>
                  <a:lnTo>
                    <a:pt x="8" y="23"/>
                  </a:lnTo>
                  <a:lnTo>
                    <a:pt x="14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49" y="0"/>
                  </a:lnTo>
                  <a:lnTo>
                    <a:pt x="59" y="2"/>
                  </a:lnTo>
                  <a:lnTo>
                    <a:pt x="68" y="3"/>
                  </a:lnTo>
                  <a:lnTo>
                    <a:pt x="76" y="6"/>
                  </a:lnTo>
                  <a:lnTo>
                    <a:pt x="82" y="12"/>
                  </a:lnTo>
                  <a:lnTo>
                    <a:pt x="88" y="17"/>
                  </a:lnTo>
                  <a:lnTo>
                    <a:pt x="92" y="25"/>
                  </a:lnTo>
                  <a:lnTo>
                    <a:pt x="95" y="32"/>
                  </a:lnTo>
                  <a:lnTo>
                    <a:pt x="96" y="42"/>
                  </a:lnTo>
                  <a:lnTo>
                    <a:pt x="63" y="42"/>
                  </a:lnTo>
                  <a:lnTo>
                    <a:pt x="62" y="33"/>
                  </a:lnTo>
                  <a:lnTo>
                    <a:pt x="59" y="27"/>
                  </a:lnTo>
                  <a:lnTo>
                    <a:pt x="55" y="23"/>
                  </a:lnTo>
                  <a:lnTo>
                    <a:pt x="49" y="23"/>
                  </a:lnTo>
                  <a:lnTo>
                    <a:pt x="46" y="23"/>
                  </a:lnTo>
                  <a:lnTo>
                    <a:pt x="43" y="25"/>
                  </a:lnTo>
                  <a:lnTo>
                    <a:pt x="40" y="27"/>
                  </a:lnTo>
                  <a:lnTo>
                    <a:pt x="39" y="30"/>
                  </a:lnTo>
                  <a:lnTo>
                    <a:pt x="36" y="40"/>
                  </a:lnTo>
                  <a:lnTo>
                    <a:pt x="34" y="53"/>
                  </a:lnTo>
                  <a:lnTo>
                    <a:pt x="36" y="68"/>
                  </a:lnTo>
                  <a:lnTo>
                    <a:pt x="39" y="78"/>
                  </a:lnTo>
                  <a:lnTo>
                    <a:pt x="42" y="81"/>
                  </a:lnTo>
                  <a:lnTo>
                    <a:pt x="43" y="83"/>
                  </a:lnTo>
                  <a:lnTo>
                    <a:pt x="46" y="85"/>
                  </a:lnTo>
                  <a:lnTo>
                    <a:pt x="49" y="85"/>
                  </a:lnTo>
                  <a:lnTo>
                    <a:pt x="55" y="83"/>
                  </a:lnTo>
                  <a:lnTo>
                    <a:pt x="57" y="81"/>
                  </a:lnTo>
                  <a:lnTo>
                    <a:pt x="60" y="75"/>
                  </a:lnTo>
                  <a:lnTo>
                    <a:pt x="62" y="68"/>
                  </a:lnTo>
                  <a:lnTo>
                    <a:pt x="95" y="68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5" name="Freeform 39">
              <a:extLst>
                <a:ext uri="{FF2B5EF4-FFF2-40B4-BE49-F238E27FC236}">
                  <a16:creationId xmlns:a16="http://schemas.microsoft.com/office/drawing/2014/main" id="{04B8DF3A-1E53-EDD6-C56C-320013E88D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3825" y="4140200"/>
              <a:ext cx="49213" cy="55563"/>
            </a:xfrm>
            <a:custGeom>
              <a:avLst/>
              <a:gdLst>
                <a:gd name="T0" fmla="*/ 94 w 95"/>
                <a:gd name="T1" fmla="*/ 72 h 106"/>
                <a:gd name="T2" fmla="*/ 92 w 95"/>
                <a:gd name="T3" fmla="*/ 81 h 106"/>
                <a:gd name="T4" fmla="*/ 90 w 95"/>
                <a:gd name="T5" fmla="*/ 88 h 106"/>
                <a:gd name="T6" fmla="*/ 85 w 95"/>
                <a:gd name="T7" fmla="*/ 93 h 106"/>
                <a:gd name="T8" fmla="*/ 79 w 95"/>
                <a:gd name="T9" fmla="*/ 98 h 106"/>
                <a:gd name="T10" fmla="*/ 74 w 95"/>
                <a:gd name="T11" fmla="*/ 102 h 106"/>
                <a:gd name="T12" fmla="*/ 67 w 95"/>
                <a:gd name="T13" fmla="*/ 105 h 106"/>
                <a:gd name="T14" fmla="*/ 58 w 95"/>
                <a:gd name="T15" fmla="*/ 106 h 106"/>
                <a:gd name="T16" fmla="*/ 49 w 95"/>
                <a:gd name="T17" fmla="*/ 106 h 106"/>
                <a:gd name="T18" fmla="*/ 38 w 95"/>
                <a:gd name="T19" fmla="*/ 106 h 106"/>
                <a:gd name="T20" fmla="*/ 28 w 95"/>
                <a:gd name="T21" fmla="*/ 103 h 106"/>
                <a:gd name="T22" fmla="*/ 19 w 95"/>
                <a:gd name="T23" fmla="*/ 99 h 106"/>
                <a:gd name="T24" fmla="*/ 12 w 95"/>
                <a:gd name="T25" fmla="*/ 92 h 106"/>
                <a:gd name="T26" fmla="*/ 7 w 95"/>
                <a:gd name="T27" fmla="*/ 85 h 106"/>
                <a:gd name="T28" fmla="*/ 3 w 95"/>
                <a:gd name="T29" fmla="*/ 76 h 106"/>
                <a:gd name="T30" fmla="*/ 2 w 95"/>
                <a:gd name="T31" fmla="*/ 65 h 106"/>
                <a:gd name="T32" fmla="*/ 0 w 95"/>
                <a:gd name="T33" fmla="*/ 53 h 106"/>
                <a:gd name="T34" fmla="*/ 2 w 95"/>
                <a:gd name="T35" fmla="*/ 42 h 106"/>
                <a:gd name="T36" fmla="*/ 3 w 95"/>
                <a:gd name="T37" fmla="*/ 32 h 106"/>
                <a:gd name="T38" fmla="*/ 7 w 95"/>
                <a:gd name="T39" fmla="*/ 23 h 106"/>
                <a:gd name="T40" fmla="*/ 13 w 95"/>
                <a:gd name="T41" fmla="*/ 14 h 106"/>
                <a:gd name="T42" fmla="*/ 20 w 95"/>
                <a:gd name="T43" fmla="*/ 9 h 106"/>
                <a:gd name="T44" fmla="*/ 29 w 95"/>
                <a:gd name="T45" fmla="*/ 4 h 106"/>
                <a:gd name="T46" fmla="*/ 38 w 95"/>
                <a:gd name="T47" fmla="*/ 2 h 106"/>
                <a:gd name="T48" fmla="*/ 48 w 95"/>
                <a:gd name="T49" fmla="*/ 0 h 106"/>
                <a:gd name="T50" fmla="*/ 58 w 95"/>
                <a:gd name="T51" fmla="*/ 2 h 106"/>
                <a:gd name="T52" fmla="*/ 68 w 95"/>
                <a:gd name="T53" fmla="*/ 4 h 106"/>
                <a:gd name="T54" fmla="*/ 77 w 95"/>
                <a:gd name="T55" fmla="*/ 9 h 106"/>
                <a:gd name="T56" fmla="*/ 84 w 95"/>
                <a:gd name="T57" fmla="*/ 14 h 106"/>
                <a:gd name="T58" fmla="*/ 90 w 95"/>
                <a:gd name="T59" fmla="*/ 23 h 106"/>
                <a:gd name="T60" fmla="*/ 92 w 95"/>
                <a:gd name="T61" fmla="*/ 33 h 106"/>
                <a:gd name="T62" fmla="*/ 95 w 95"/>
                <a:gd name="T63" fmla="*/ 46 h 106"/>
                <a:gd name="T64" fmla="*/ 95 w 95"/>
                <a:gd name="T65" fmla="*/ 62 h 106"/>
                <a:gd name="T66" fmla="*/ 33 w 95"/>
                <a:gd name="T67" fmla="*/ 62 h 106"/>
                <a:gd name="T68" fmla="*/ 35 w 95"/>
                <a:gd name="T69" fmla="*/ 73 h 106"/>
                <a:gd name="T70" fmla="*/ 38 w 95"/>
                <a:gd name="T71" fmla="*/ 81 h 106"/>
                <a:gd name="T72" fmla="*/ 41 w 95"/>
                <a:gd name="T73" fmla="*/ 82 h 106"/>
                <a:gd name="T74" fmla="*/ 42 w 95"/>
                <a:gd name="T75" fmla="*/ 83 h 106"/>
                <a:gd name="T76" fmla="*/ 45 w 95"/>
                <a:gd name="T77" fmla="*/ 85 h 106"/>
                <a:gd name="T78" fmla="*/ 49 w 95"/>
                <a:gd name="T79" fmla="*/ 85 h 106"/>
                <a:gd name="T80" fmla="*/ 54 w 95"/>
                <a:gd name="T81" fmla="*/ 85 h 106"/>
                <a:gd name="T82" fmla="*/ 58 w 95"/>
                <a:gd name="T83" fmla="*/ 82 h 106"/>
                <a:gd name="T84" fmla="*/ 61 w 95"/>
                <a:gd name="T85" fmla="*/ 78 h 106"/>
                <a:gd name="T86" fmla="*/ 62 w 95"/>
                <a:gd name="T87" fmla="*/ 72 h 106"/>
                <a:gd name="T88" fmla="*/ 94 w 95"/>
                <a:gd name="T89" fmla="*/ 72 h 106"/>
                <a:gd name="T90" fmla="*/ 33 w 95"/>
                <a:gd name="T91" fmla="*/ 42 h 106"/>
                <a:gd name="T92" fmla="*/ 33 w 95"/>
                <a:gd name="T93" fmla="*/ 42 h 106"/>
                <a:gd name="T94" fmla="*/ 62 w 95"/>
                <a:gd name="T95" fmla="*/ 42 h 106"/>
                <a:gd name="T96" fmla="*/ 61 w 95"/>
                <a:gd name="T97" fmla="*/ 32 h 106"/>
                <a:gd name="T98" fmla="*/ 58 w 95"/>
                <a:gd name="T99" fmla="*/ 26 h 106"/>
                <a:gd name="T100" fmla="*/ 54 w 95"/>
                <a:gd name="T101" fmla="*/ 23 h 106"/>
                <a:gd name="T102" fmla="*/ 48 w 95"/>
                <a:gd name="T103" fmla="*/ 22 h 106"/>
                <a:gd name="T104" fmla="*/ 43 w 95"/>
                <a:gd name="T105" fmla="*/ 23 h 106"/>
                <a:gd name="T106" fmla="*/ 39 w 95"/>
                <a:gd name="T107" fmla="*/ 26 h 106"/>
                <a:gd name="T108" fmla="*/ 35 w 95"/>
                <a:gd name="T109" fmla="*/ 33 h 106"/>
                <a:gd name="T110" fmla="*/ 33 w 95"/>
                <a:gd name="T111" fmla="*/ 4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6">
                  <a:moveTo>
                    <a:pt x="94" y="72"/>
                  </a:moveTo>
                  <a:lnTo>
                    <a:pt x="92" y="81"/>
                  </a:lnTo>
                  <a:lnTo>
                    <a:pt x="90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4" y="102"/>
                  </a:lnTo>
                  <a:lnTo>
                    <a:pt x="67" y="105"/>
                  </a:lnTo>
                  <a:lnTo>
                    <a:pt x="58" y="106"/>
                  </a:lnTo>
                  <a:lnTo>
                    <a:pt x="49" y="106"/>
                  </a:lnTo>
                  <a:lnTo>
                    <a:pt x="38" y="106"/>
                  </a:lnTo>
                  <a:lnTo>
                    <a:pt x="28" y="103"/>
                  </a:lnTo>
                  <a:lnTo>
                    <a:pt x="19" y="99"/>
                  </a:lnTo>
                  <a:lnTo>
                    <a:pt x="12" y="92"/>
                  </a:lnTo>
                  <a:lnTo>
                    <a:pt x="7" y="85"/>
                  </a:lnTo>
                  <a:lnTo>
                    <a:pt x="3" y="76"/>
                  </a:lnTo>
                  <a:lnTo>
                    <a:pt x="2" y="65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7" y="9"/>
                  </a:lnTo>
                  <a:lnTo>
                    <a:pt x="84" y="14"/>
                  </a:lnTo>
                  <a:lnTo>
                    <a:pt x="90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5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41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9" y="85"/>
                  </a:lnTo>
                  <a:lnTo>
                    <a:pt x="54" y="85"/>
                  </a:lnTo>
                  <a:lnTo>
                    <a:pt x="58" y="82"/>
                  </a:lnTo>
                  <a:lnTo>
                    <a:pt x="61" y="78"/>
                  </a:lnTo>
                  <a:lnTo>
                    <a:pt x="62" y="72"/>
                  </a:lnTo>
                  <a:lnTo>
                    <a:pt x="94" y="72"/>
                  </a:lnTo>
                  <a:close/>
                  <a:moveTo>
                    <a:pt x="33" y="42"/>
                  </a:moveTo>
                  <a:lnTo>
                    <a:pt x="33" y="42"/>
                  </a:lnTo>
                  <a:lnTo>
                    <a:pt x="62" y="42"/>
                  </a:lnTo>
                  <a:lnTo>
                    <a:pt x="61" y="32"/>
                  </a:lnTo>
                  <a:lnTo>
                    <a:pt x="58" y="26"/>
                  </a:lnTo>
                  <a:lnTo>
                    <a:pt x="54" y="23"/>
                  </a:lnTo>
                  <a:lnTo>
                    <a:pt x="48" y="22"/>
                  </a:lnTo>
                  <a:lnTo>
                    <a:pt x="43" y="23"/>
                  </a:lnTo>
                  <a:lnTo>
                    <a:pt x="39" y="26"/>
                  </a:lnTo>
                  <a:lnTo>
                    <a:pt x="35" y="33"/>
                  </a:lnTo>
                  <a:lnTo>
                    <a:pt x="33" y="42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6" name="Rectangle 40">
              <a:extLst>
                <a:ext uri="{FF2B5EF4-FFF2-40B4-BE49-F238E27FC236}">
                  <a16:creationId xmlns:a16="http://schemas.microsoft.com/office/drawing/2014/main" id="{433E8C28-B494-4FD4-DC4E-DB804E53CC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14150" y="4119563"/>
              <a:ext cx="17463" cy="74613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7" name="Freeform 41">
              <a:extLst>
                <a:ext uri="{FF2B5EF4-FFF2-40B4-BE49-F238E27FC236}">
                  <a16:creationId xmlns:a16="http://schemas.microsoft.com/office/drawing/2014/main" id="{C5831D8B-5C18-ABDA-57BF-B602EF6F39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41138" y="4119563"/>
              <a:ext cx="50800" cy="76200"/>
            </a:xfrm>
            <a:custGeom>
              <a:avLst/>
              <a:gdLst>
                <a:gd name="T0" fmla="*/ 61 w 95"/>
                <a:gd name="T1" fmla="*/ 135 h 146"/>
                <a:gd name="T2" fmla="*/ 46 w 95"/>
                <a:gd name="T3" fmla="*/ 143 h 146"/>
                <a:gd name="T4" fmla="*/ 31 w 95"/>
                <a:gd name="T5" fmla="*/ 146 h 146"/>
                <a:gd name="T6" fmla="*/ 18 w 95"/>
                <a:gd name="T7" fmla="*/ 145 h 146"/>
                <a:gd name="T8" fmla="*/ 8 w 95"/>
                <a:gd name="T9" fmla="*/ 139 h 146"/>
                <a:gd name="T10" fmla="*/ 2 w 95"/>
                <a:gd name="T11" fmla="*/ 131 h 146"/>
                <a:gd name="T12" fmla="*/ 0 w 95"/>
                <a:gd name="T13" fmla="*/ 119 h 146"/>
                <a:gd name="T14" fmla="*/ 3 w 95"/>
                <a:gd name="T15" fmla="*/ 106 h 146"/>
                <a:gd name="T16" fmla="*/ 12 w 95"/>
                <a:gd name="T17" fmla="*/ 96 h 146"/>
                <a:gd name="T18" fmla="*/ 28 w 95"/>
                <a:gd name="T19" fmla="*/ 89 h 146"/>
                <a:gd name="T20" fmla="*/ 49 w 95"/>
                <a:gd name="T21" fmla="*/ 86 h 146"/>
                <a:gd name="T22" fmla="*/ 61 w 95"/>
                <a:gd name="T23" fmla="*/ 86 h 146"/>
                <a:gd name="T24" fmla="*/ 59 w 95"/>
                <a:gd name="T25" fmla="*/ 70 h 146"/>
                <a:gd name="T26" fmla="*/ 54 w 95"/>
                <a:gd name="T27" fmla="*/ 63 h 146"/>
                <a:gd name="T28" fmla="*/ 42 w 95"/>
                <a:gd name="T29" fmla="*/ 63 h 146"/>
                <a:gd name="T30" fmla="*/ 36 w 95"/>
                <a:gd name="T31" fmla="*/ 70 h 146"/>
                <a:gd name="T32" fmla="*/ 2 w 95"/>
                <a:gd name="T33" fmla="*/ 77 h 146"/>
                <a:gd name="T34" fmla="*/ 6 w 95"/>
                <a:gd name="T35" fmla="*/ 60 h 146"/>
                <a:gd name="T36" fmla="*/ 16 w 95"/>
                <a:gd name="T37" fmla="*/ 49 h 146"/>
                <a:gd name="T38" fmla="*/ 31 w 95"/>
                <a:gd name="T39" fmla="*/ 43 h 146"/>
                <a:gd name="T40" fmla="*/ 48 w 95"/>
                <a:gd name="T41" fmla="*/ 40 h 146"/>
                <a:gd name="T42" fmla="*/ 64 w 95"/>
                <a:gd name="T43" fmla="*/ 42 h 146"/>
                <a:gd name="T44" fmla="*/ 80 w 95"/>
                <a:gd name="T45" fmla="*/ 47 h 146"/>
                <a:gd name="T46" fmla="*/ 91 w 95"/>
                <a:gd name="T47" fmla="*/ 57 h 146"/>
                <a:gd name="T48" fmla="*/ 95 w 95"/>
                <a:gd name="T49" fmla="*/ 73 h 146"/>
                <a:gd name="T50" fmla="*/ 61 w 95"/>
                <a:gd name="T51" fmla="*/ 143 h 146"/>
                <a:gd name="T52" fmla="*/ 26 w 95"/>
                <a:gd name="T53" fmla="*/ 31 h 146"/>
                <a:gd name="T54" fmla="*/ 85 w 95"/>
                <a:gd name="T55" fmla="*/ 0 h 146"/>
                <a:gd name="T56" fmla="*/ 26 w 95"/>
                <a:gd name="T57" fmla="*/ 31 h 146"/>
                <a:gd name="T58" fmla="*/ 61 w 95"/>
                <a:gd name="T59" fmla="*/ 103 h 146"/>
                <a:gd name="T60" fmla="*/ 51 w 95"/>
                <a:gd name="T61" fmla="*/ 103 h 146"/>
                <a:gd name="T62" fmla="*/ 39 w 95"/>
                <a:gd name="T63" fmla="*/ 105 h 146"/>
                <a:gd name="T64" fmla="*/ 36 w 95"/>
                <a:gd name="T65" fmla="*/ 109 h 146"/>
                <a:gd name="T66" fmla="*/ 33 w 95"/>
                <a:gd name="T67" fmla="*/ 115 h 146"/>
                <a:gd name="T68" fmla="*/ 38 w 95"/>
                <a:gd name="T69" fmla="*/ 122 h 146"/>
                <a:gd name="T70" fmla="*/ 46 w 95"/>
                <a:gd name="T71" fmla="*/ 125 h 146"/>
                <a:gd name="T72" fmla="*/ 61 w 95"/>
                <a:gd name="T73" fmla="*/ 11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5" h="146">
                  <a:moveTo>
                    <a:pt x="61" y="143"/>
                  </a:moveTo>
                  <a:lnTo>
                    <a:pt x="61" y="135"/>
                  </a:lnTo>
                  <a:lnTo>
                    <a:pt x="54" y="141"/>
                  </a:lnTo>
                  <a:lnTo>
                    <a:pt x="46" y="143"/>
                  </a:lnTo>
                  <a:lnTo>
                    <a:pt x="38" y="146"/>
                  </a:lnTo>
                  <a:lnTo>
                    <a:pt x="31" y="146"/>
                  </a:lnTo>
                  <a:lnTo>
                    <a:pt x="23" y="146"/>
                  </a:lnTo>
                  <a:lnTo>
                    <a:pt x="18" y="145"/>
                  </a:lnTo>
                  <a:lnTo>
                    <a:pt x="12" y="142"/>
                  </a:lnTo>
                  <a:lnTo>
                    <a:pt x="8" y="139"/>
                  </a:lnTo>
                  <a:lnTo>
                    <a:pt x="5" y="135"/>
                  </a:lnTo>
                  <a:lnTo>
                    <a:pt x="2" y="131"/>
                  </a:lnTo>
                  <a:lnTo>
                    <a:pt x="0" y="125"/>
                  </a:lnTo>
                  <a:lnTo>
                    <a:pt x="0" y="119"/>
                  </a:lnTo>
                  <a:lnTo>
                    <a:pt x="0" y="112"/>
                  </a:lnTo>
                  <a:lnTo>
                    <a:pt x="3" y="106"/>
                  </a:lnTo>
                  <a:lnTo>
                    <a:pt x="6" y="100"/>
                  </a:lnTo>
                  <a:lnTo>
                    <a:pt x="12" y="96"/>
                  </a:lnTo>
                  <a:lnTo>
                    <a:pt x="19" y="92"/>
                  </a:lnTo>
                  <a:lnTo>
                    <a:pt x="28" y="89"/>
                  </a:lnTo>
                  <a:lnTo>
                    <a:pt x="38" y="86"/>
                  </a:lnTo>
                  <a:lnTo>
                    <a:pt x="49" y="86"/>
                  </a:lnTo>
                  <a:lnTo>
                    <a:pt x="55" y="86"/>
                  </a:lnTo>
                  <a:lnTo>
                    <a:pt x="61" y="86"/>
                  </a:lnTo>
                  <a:lnTo>
                    <a:pt x="61" y="77"/>
                  </a:lnTo>
                  <a:lnTo>
                    <a:pt x="59" y="70"/>
                  </a:lnTo>
                  <a:lnTo>
                    <a:pt x="58" y="66"/>
                  </a:lnTo>
                  <a:lnTo>
                    <a:pt x="54" y="63"/>
                  </a:lnTo>
                  <a:lnTo>
                    <a:pt x="48" y="63"/>
                  </a:lnTo>
                  <a:lnTo>
                    <a:pt x="42" y="63"/>
                  </a:lnTo>
                  <a:lnTo>
                    <a:pt x="39" y="66"/>
                  </a:lnTo>
                  <a:lnTo>
                    <a:pt x="36" y="70"/>
                  </a:lnTo>
                  <a:lnTo>
                    <a:pt x="35" y="77"/>
                  </a:lnTo>
                  <a:lnTo>
                    <a:pt x="2" y="77"/>
                  </a:lnTo>
                  <a:lnTo>
                    <a:pt x="3" y="69"/>
                  </a:lnTo>
                  <a:lnTo>
                    <a:pt x="6" y="60"/>
                  </a:lnTo>
                  <a:lnTo>
                    <a:pt x="10" y="54"/>
                  </a:lnTo>
                  <a:lnTo>
                    <a:pt x="16" y="49"/>
                  </a:lnTo>
                  <a:lnTo>
                    <a:pt x="23" y="46"/>
                  </a:lnTo>
                  <a:lnTo>
                    <a:pt x="31" y="43"/>
                  </a:lnTo>
                  <a:lnTo>
                    <a:pt x="39" y="42"/>
                  </a:lnTo>
                  <a:lnTo>
                    <a:pt x="48" y="40"/>
                  </a:lnTo>
                  <a:lnTo>
                    <a:pt x="56" y="42"/>
                  </a:lnTo>
                  <a:lnTo>
                    <a:pt x="64" y="42"/>
                  </a:lnTo>
                  <a:lnTo>
                    <a:pt x="72" y="44"/>
                  </a:lnTo>
                  <a:lnTo>
                    <a:pt x="80" y="47"/>
                  </a:lnTo>
                  <a:lnTo>
                    <a:pt x="85" y="52"/>
                  </a:lnTo>
                  <a:lnTo>
                    <a:pt x="91" y="57"/>
                  </a:lnTo>
                  <a:lnTo>
                    <a:pt x="94" y="65"/>
                  </a:lnTo>
                  <a:lnTo>
                    <a:pt x="95" y="73"/>
                  </a:lnTo>
                  <a:lnTo>
                    <a:pt x="95" y="143"/>
                  </a:lnTo>
                  <a:lnTo>
                    <a:pt x="61" y="143"/>
                  </a:lnTo>
                  <a:close/>
                  <a:moveTo>
                    <a:pt x="26" y="31"/>
                  </a:moveTo>
                  <a:lnTo>
                    <a:pt x="26" y="31"/>
                  </a:lnTo>
                  <a:lnTo>
                    <a:pt x="45" y="0"/>
                  </a:lnTo>
                  <a:lnTo>
                    <a:pt x="85" y="0"/>
                  </a:lnTo>
                  <a:lnTo>
                    <a:pt x="52" y="31"/>
                  </a:lnTo>
                  <a:lnTo>
                    <a:pt x="26" y="31"/>
                  </a:lnTo>
                  <a:close/>
                  <a:moveTo>
                    <a:pt x="61" y="103"/>
                  </a:moveTo>
                  <a:lnTo>
                    <a:pt x="61" y="103"/>
                  </a:lnTo>
                  <a:lnTo>
                    <a:pt x="55" y="103"/>
                  </a:lnTo>
                  <a:lnTo>
                    <a:pt x="51" y="103"/>
                  </a:lnTo>
                  <a:lnTo>
                    <a:pt x="45" y="103"/>
                  </a:lnTo>
                  <a:lnTo>
                    <a:pt x="39" y="105"/>
                  </a:lnTo>
                  <a:lnTo>
                    <a:pt x="38" y="108"/>
                  </a:lnTo>
                  <a:lnTo>
                    <a:pt x="36" y="109"/>
                  </a:lnTo>
                  <a:lnTo>
                    <a:pt x="35" y="112"/>
                  </a:lnTo>
                  <a:lnTo>
                    <a:pt x="33" y="115"/>
                  </a:lnTo>
                  <a:lnTo>
                    <a:pt x="35" y="119"/>
                  </a:lnTo>
                  <a:lnTo>
                    <a:pt x="38" y="122"/>
                  </a:lnTo>
                  <a:lnTo>
                    <a:pt x="42" y="123"/>
                  </a:lnTo>
                  <a:lnTo>
                    <a:pt x="46" y="125"/>
                  </a:lnTo>
                  <a:lnTo>
                    <a:pt x="54" y="123"/>
                  </a:lnTo>
                  <a:lnTo>
                    <a:pt x="61" y="119"/>
                  </a:lnTo>
                  <a:lnTo>
                    <a:pt x="61" y="10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8" name="Freeform 42">
              <a:extLst>
                <a:ext uri="{FF2B5EF4-FFF2-40B4-BE49-F238E27FC236}">
                  <a16:creationId xmlns:a16="http://schemas.microsoft.com/office/drawing/2014/main" id="{B02AD946-8BE9-DC2D-3A34-6E91C6162B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01463" y="4119563"/>
              <a:ext cx="42863" cy="74613"/>
            </a:xfrm>
            <a:custGeom>
              <a:avLst/>
              <a:gdLst>
                <a:gd name="T0" fmla="*/ 24 w 80"/>
                <a:gd name="T1" fmla="*/ 31 h 143"/>
                <a:gd name="T2" fmla="*/ 0 w 80"/>
                <a:gd name="T3" fmla="*/ 0 h 143"/>
                <a:gd name="T4" fmla="*/ 27 w 80"/>
                <a:gd name="T5" fmla="*/ 0 h 143"/>
                <a:gd name="T6" fmla="*/ 40 w 80"/>
                <a:gd name="T7" fmla="*/ 11 h 143"/>
                <a:gd name="T8" fmla="*/ 53 w 80"/>
                <a:gd name="T9" fmla="*/ 0 h 143"/>
                <a:gd name="T10" fmla="*/ 80 w 80"/>
                <a:gd name="T11" fmla="*/ 0 h 143"/>
                <a:gd name="T12" fmla="*/ 54 w 80"/>
                <a:gd name="T13" fmla="*/ 31 h 143"/>
                <a:gd name="T14" fmla="*/ 24 w 80"/>
                <a:gd name="T15" fmla="*/ 31 h 143"/>
                <a:gd name="T16" fmla="*/ 5 w 80"/>
                <a:gd name="T17" fmla="*/ 143 h 143"/>
                <a:gd name="T18" fmla="*/ 5 w 80"/>
                <a:gd name="T19" fmla="*/ 143 h 143"/>
                <a:gd name="T20" fmla="*/ 5 w 80"/>
                <a:gd name="T21" fmla="*/ 43 h 143"/>
                <a:gd name="T22" fmla="*/ 40 w 80"/>
                <a:gd name="T23" fmla="*/ 43 h 143"/>
                <a:gd name="T24" fmla="*/ 40 w 80"/>
                <a:gd name="T25" fmla="*/ 63 h 143"/>
                <a:gd name="T26" fmla="*/ 46 w 80"/>
                <a:gd name="T27" fmla="*/ 53 h 143"/>
                <a:gd name="T28" fmla="*/ 51 w 80"/>
                <a:gd name="T29" fmla="*/ 46 h 143"/>
                <a:gd name="T30" fmla="*/ 59 w 80"/>
                <a:gd name="T31" fmla="*/ 42 h 143"/>
                <a:gd name="T32" fmla="*/ 66 w 80"/>
                <a:gd name="T33" fmla="*/ 40 h 143"/>
                <a:gd name="T34" fmla="*/ 73 w 80"/>
                <a:gd name="T35" fmla="*/ 42 h 143"/>
                <a:gd name="T36" fmla="*/ 79 w 80"/>
                <a:gd name="T37" fmla="*/ 44 h 143"/>
                <a:gd name="T38" fmla="*/ 79 w 80"/>
                <a:gd name="T39" fmla="*/ 75 h 143"/>
                <a:gd name="T40" fmla="*/ 72 w 80"/>
                <a:gd name="T41" fmla="*/ 72 h 143"/>
                <a:gd name="T42" fmla="*/ 63 w 80"/>
                <a:gd name="T43" fmla="*/ 72 h 143"/>
                <a:gd name="T44" fmla="*/ 56 w 80"/>
                <a:gd name="T45" fmla="*/ 72 h 143"/>
                <a:gd name="T46" fmla="*/ 50 w 80"/>
                <a:gd name="T47" fmla="*/ 75 h 143"/>
                <a:gd name="T48" fmla="*/ 44 w 80"/>
                <a:gd name="T49" fmla="*/ 77 h 143"/>
                <a:gd name="T50" fmla="*/ 40 w 80"/>
                <a:gd name="T51" fmla="*/ 82 h 143"/>
                <a:gd name="T52" fmla="*/ 40 w 80"/>
                <a:gd name="T53" fmla="*/ 143 h 143"/>
                <a:gd name="T54" fmla="*/ 5 w 80"/>
                <a:gd name="T55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3">
                  <a:moveTo>
                    <a:pt x="24" y="31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40" y="11"/>
                  </a:lnTo>
                  <a:lnTo>
                    <a:pt x="53" y="0"/>
                  </a:lnTo>
                  <a:lnTo>
                    <a:pt x="80" y="0"/>
                  </a:lnTo>
                  <a:lnTo>
                    <a:pt x="54" y="31"/>
                  </a:lnTo>
                  <a:lnTo>
                    <a:pt x="24" y="31"/>
                  </a:lnTo>
                  <a:close/>
                  <a:moveTo>
                    <a:pt x="5" y="143"/>
                  </a:moveTo>
                  <a:lnTo>
                    <a:pt x="5" y="143"/>
                  </a:lnTo>
                  <a:lnTo>
                    <a:pt x="5" y="43"/>
                  </a:lnTo>
                  <a:lnTo>
                    <a:pt x="40" y="43"/>
                  </a:lnTo>
                  <a:lnTo>
                    <a:pt x="40" y="63"/>
                  </a:lnTo>
                  <a:lnTo>
                    <a:pt x="46" y="53"/>
                  </a:lnTo>
                  <a:lnTo>
                    <a:pt x="51" y="46"/>
                  </a:lnTo>
                  <a:lnTo>
                    <a:pt x="59" y="42"/>
                  </a:lnTo>
                  <a:lnTo>
                    <a:pt x="66" y="40"/>
                  </a:lnTo>
                  <a:lnTo>
                    <a:pt x="73" y="42"/>
                  </a:lnTo>
                  <a:lnTo>
                    <a:pt x="79" y="44"/>
                  </a:lnTo>
                  <a:lnTo>
                    <a:pt x="79" y="75"/>
                  </a:lnTo>
                  <a:lnTo>
                    <a:pt x="72" y="72"/>
                  </a:lnTo>
                  <a:lnTo>
                    <a:pt x="63" y="72"/>
                  </a:lnTo>
                  <a:lnTo>
                    <a:pt x="56" y="72"/>
                  </a:lnTo>
                  <a:lnTo>
                    <a:pt x="50" y="75"/>
                  </a:lnTo>
                  <a:lnTo>
                    <a:pt x="44" y="77"/>
                  </a:lnTo>
                  <a:lnTo>
                    <a:pt x="40" y="82"/>
                  </a:lnTo>
                  <a:lnTo>
                    <a:pt x="40" y="143"/>
                  </a:lnTo>
                  <a:lnTo>
                    <a:pt x="5" y="1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39" name="Freeform 43">
              <a:extLst>
                <a:ext uri="{FF2B5EF4-FFF2-40B4-BE49-F238E27FC236}">
                  <a16:creationId xmlns:a16="http://schemas.microsoft.com/office/drawing/2014/main" id="{73D58EE5-3AB6-C2B0-57DC-DCF4C5496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15700" y="4241800"/>
              <a:ext cx="52388" cy="76200"/>
            </a:xfrm>
            <a:custGeom>
              <a:avLst/>
              <a:gdLst>
                <a:gd name="T0" fmla="*/ 0 w 99"/>
                <a:gd name="T1" fmla="*/ 144 h 144"/>
                <a:gd name="T2" fmla="*/ 0 w 99"/>
                <a:gd name="T3" fmla="*/ 3 h 144"/>
                <a:gd name="T4" fmla="*/ 34 w 99"/>
                <a:gd name="T5" fmla="*/ 3 h 144"/>
                <a:gd name="T6" fmla="*/ 34 w 99"/>
                <a:gd name="T7" fmla="*/ 13 h 144"/>
                <a:gd name="T8" fmla="*/ 40 w 99"/>
                <a:gd name="T9" fmla="*/ 7 h 144"/>
                <a:gd name="T10" fmla="*/ 47 w 99"/>
                <a:gd name="T11" fmla="*/ 4 h 144"/>
                <a:gd name="T12" fmla="*/ 53 w 99"/>
                <a:gd name="T13" fmla="*/ 2 h 144"/>
                <a:gd name="T14" fmla="*/ 61 w 99"/>
                <a:gd name="T15" fmla="*/ 0 h 144"/>
                <a:gd name="T16" fmla="*/ 70 w 99"/>
                <a:gd name="T17" fmla="*/ 2 h 144"/>
                <a:gd name="T18" fmla="*/ 77 w 99"/>
                <a:gd name="T19" fmla="*/ 4 h 144"/>
                <a:gd name="T20" fmla="*/ 85 w 99"/>
                <a:gd name="T21" fmla="*/ 10 h 144"/>
                <a:gd name="T22" fmla="*/ 89 w 99"/>
                <a:gd name="T23" fmla="*/ 16 h 144"/>
                <a:gd name="T24" fmla="*/ 93 w 99"/>
                <a:gd name="T25" fmla="*/ 24 h 144"/>
                <a:gd name="T26" fmla="*/ 96 w 99"/>
                <a:gd name="T27" fmla="*/ 33 h 144"/>
                <a:gd name="T28" fmla="*/ 97 w 99"/>
                <a:gd name="T29" fmla="*/ 43 h 144"/>
                <a:gd name="T30" fmla="*/ 99 w 99"/>
                <a:gd name="T31" fmla="*/ 55 h 144"/>
                <a:gd name="T32" fmla="*/ 97 w 99"/>
                <a:gd name="T33" fmla="*/ 65 h 144"/>
                <a:gd name="T34" fmla="*/ 96 w 99"/>
                <a:gd name="T35" fmla="*/ 75 h 144"/>
                <a:gd name="T36" fmla="*/ 92 w 99"/>
                <a:gd name="T37" fmla="*/ 83 h 144"/>
                <a:gd name="T38" fmla="*/ 87 w 99"/>
                <a:gd name="T39" fmla="*/ 92 h 144"/>
                <a:gd name="T40" fmla="*/ 82 w 99"/>
                <a:gd name="T41" fmla="*/ 98 h 144"/>
                <a:gd name="T42" fmla="*/ 74 w 99"/>
                <a:gd name="T43" fmla="*/ 103 h 144"/>
                <a:gd name="T44" fmla="*/ 67 w 99"/>
                <a:gd name="T45" fmla="*/ 106 h 144"/>
                <a:gd name="T46" fmla="*/ 59 w 99"/>
                <a:gd name="T47" fmla="*/ 108 h 144"/>
                <a:gd name="T48" fmla="*/ 51 w 99"/>
                <a:gd name="T49" fmla="*/ 106 h 144"/>
                <a:gd name="T50" fmla="*/ 46 w 99"/>
                <a:gd name="T51" fmla="*/ 105 h 144"/>
                <a:gd name="T52" fmla="*/ 40 w 99"/>
                <a:gd name="T53" fmla="*/ 101 h 144"/>
                <a:gd name="T54" fmla="*/ 34 w 99"/>
                <a:gd name="T55" fmla="*/ 95 h 144"/>
                <a:gd name="T56" fmla="*/ 34 w 99"/>
                <a:gd name="T57" fmla="*/ 144 h 144"/>
                <a:gd name="T58" fmla="*/ 0 w 99"/>
                <a:gd name="T59" fmla="*/ 144 h 144"/>
                <a:gd name="T60" fmla="*/ 34 w 99"/>
                <a:gd name="T61" fmla="*/ 30 h 144"/>
                <a:gd name="T62" fmla="*/ 34 w 99"/>
                <a:gd name="T63" fmla="*/ 30 h 144"/>
                <a:gd name="T64" fmla="*/ 34 w 99"/>
                <a:gd name="T65" fmla="*/ 78 h 144"/>
                <a:gd name="T66" fmla="*/ 40 w 99"/>
                <a:gd name="T67" fmla="*/ 82 h 144"/>
                <a:gd name="T68" fmla="*/ 47 w 99"/>
                <a:gd name="T69" fmla="*/ 83 h 144"/>
                <a:gd name="T70" fmla="*/ 51 w 99"/>
                <a:gd name="T71" fmla="*/ 83 h 144"/>
                <a:gd name="T72" fmla="*/ 54 w 99"/>
                <a:gd name="T73" fmla="*/ 81 h 144"/>
                <a:gd name="T74" fmla="*/ 57 w 99"/>
                <a:gd name="T75" fmla="*/ 79 h 144"/>
                <a:gd name="T76" fmla="*/ 60 w 99"/>
                <a:gd name="T77" fmla="*/ 75 h 144"/>
                <a:gd name="T78" fmla="*/ 63 w 99"/>
                <a:gd name="T79" fmla="*/ 66 h 144"/>
                <a:gd name="T80" fmla="*/ 64 w 99"/>
                <a:gd name="T81" fmla="*/ 55 h 144"/>
                <a:gd name="T82" fmla="*/ 63 w 99"/>
                <a:gd name="T83" fmla="*/ 42 h 144"/>
                <a:gd name="T84" fmla="*/ 60 w 99"/>
                <a:gd name="T85" fmla="*/ 33 h 144"/>
                <a:gd name="T86" fmla="*/ 59 w 99"/>
                <a:gd name="T87" fmla="*/ 29 h 144"/>
                <a:gd name="T88" fmla="*/ 56 w 99"/>
                <a:gd name="T89" fmla="*/ 27 h 144"/>
                <a:gd name="T90" fmla="*/ 51 w 99"/>
                <a:gd name="T91" fmla="*/ 26 h 144"/>
                <a:gd name="T92" fmla="*/ 47 w 99"/>
                <a:gd name="T93" fmla="*/ 24 h 144"/>
                <a:gd name="T94" fmla="*/ 41 w 99"/>
                <a:gd name="T95" fmla="*/ 26 h 144"/>
                <a:gd name="T96" fmla="*/ 34 w 99"/>
                <a:gd name="T97" fmla="*/ 3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9" h="144">
                  <a:moveTo>
                    <a:pt x="0" y="144"/>
                  </a:moveTo>
                  <a:lnTo>
                    <a:pt x="0" y="3"/>
                  </a:lnTo>
                  <a:lnTo>
                    <a:pt x="34" y="3"/>
                  </a:lnTo>
                  <a:lnTo>
                    <a:pt x="34" y="13"/>
                  </a:lnTo>
                  <a:lnTo>
                    <a:pt x="40" y="7"/>
                  </a:lnTo>
                  <a:lnTo>
                    <a:pt x="47" y="4"/>
                  </a:lnTo>
                  <a:lnTo>
                    <a:pt x="53" y="2"/>
                  </a:lnTo>
                  <a:lnTo>
                    <a:pt x="61" y="0"/>
                  </a:lnTo>
                  <a:lnTo>
                    <a:pt x="70" y="2"/>
                  </a:lnTo>
                  <a:lnTo>
                    <a:pt x="77" y="4"/>
                  </a:lnTo>
                  <a:lnTo>
                    <a:pt x="85" y="10"/>
                  </a:lnTo>
                  <a:lnTo>
                    <a:pt x="89" y="16"/>
                  </a:lnTo>
                  <a:lnTo>
                    <a:pt x="93" y="24"/>
                  </a:lnTo>
                  <a:lnTo>
                    <a:pt x="96" y="33"/>
                  </a:lnTo>
                  <a:lnTo>
                    <a:pt x="97" y="43"/>
                  </a:lnTo>
                  <a:lnTo>
                    <a:pt x="99" y="55"/>
                  </a:lnTo>
                  <a:lnTo>
                    <a:pt x="97" y="65"/>
                  </a:lnTo>
                  <a:lnTo>
                    <a:pt x="96" y="75"/>
                  </a:lnTo>
                  <a:lnTo>
                    <a:pt x="92" y="83"/>
                  </a:lnTo>
                  <a:lnTo>
                    <a:pt x="87" y="92"/>
                  </a:lnTo>
                  <a:lnTo>
                    <a:pt x="82" y="98"/>
                  </a:lnTo>
                  <a:lnTo>
                    <a:pt x="74" y="103"/>
                  </a:lnTo>
                  <a:lnTo>
                    <a:pt x="67" y="106"/>
                  </a:lnTo>
                  <a:lnTo>
                    <a:pt x="59" y="108"/>
                  </a:lnTo>
                  <a:lnTo>
                    <a:pt x="51" y="106"/>
                  </a:lnTo>
                  <a:lnTo>
                    <a:pt x="46" y="105"/>
                  </a:lnTo>
                  <a:lnTo>
                    <a:pt x="40" y="101"/>
                  </a:lnTo>
                  <a:lnTo>
                    <a:pt x="34" y="95"/>
                  </a:lnTo>
                  <a:lnTo>
                    <a:pt x="34" y="144"/>
                  </a:lnTo>
                  <a:lnTo>
                    <a:pt x="0" y="144"/>
                  </a:lnTo>
                  <a:close/>
                  <a:moveTo>
                    <a:pt x="34" y="30"/>
                  </a:moveTo>
                  <a:lnTo>
                    <a:pt x="34" y="30"/>
                  </a:lnTo>
                  <a:lnTo>
                    <a:pt x="34" y="78"/>
                  </a:lnTo>
                  <a:lnTo>
                    <a:pt x="40" y="82"/>
                  </a:lnTo>
                  <a:lnTo>
                    <a:pt x="47" y="83"/>
                  </a:lnTo>
                  <a:lnTo>
                    <a:pt x="51" y="83"/>
                  </a:lnTo>
                  <a:lnTo>
                    <a:pt x="54" y="81"/>
                  </a:lnTo>
                  <a:lnTo>
                    <a:pt x="57" y="79"/>
                  </a:lnTo>
                  <a:lnTo>
                    <a:pt x="60" y="75"/>
                  </a:lnTo>
                  <a:lnTo>
                    <a:pt x="63" y="66"/>
                  </a:lnTo>
                  <a:lnTo>
                    <a:pt x="64" y="55"/>
                  </a:lnTo>
                  <a:lnTo>
                    <a:pt x="63" y="42"/>
                  </a:lnTo>
                  <a:lnTo>
                    <a:pt x="60" y="33"/>
                  </a:lnTo>
                  <a:lnTo>
                    <a:pt x="59" y="29"/>
                  </a:lnTo>
                  <a:lnTo>
                    <a:pt x="56" y="27"/>
                  </a:lnTo>
                  <a:lnTo>
                    <a:pt x="51" y="26"/>
                  </a:lnTo>
                  <a:lnTo>
                    <a:pt x="47" y="24"/>
                  </a:lnTo>
                  <a:lnTo>
                    <a:pt x="41" y="26"/>
                  </a:lnTo>
                  <a:lnTo>
                    <a:pt x="34" y="3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0" name="Freeform 44">
              <a:extLst>
                <a:ext uri="{FF2B5EF4-FFF2-40B4-BE49-F238E27FC236}">
                  <a16:creationId xmlns:a16="http://schemas.microsoft.com/office/drawing/2014/main" id="{6E65873A-A751-B17D-85E4-A489C760EE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74438" y="4241800"/>
              <a:ext cx="53975" cy="57150"/>
            </a:xfrm>
            <a:custGeom>
              <a:avLst/>
              <a:gdLst>
                <a:gd name="T0" fmla="*/ 0 w 101"/>
                <a:gd name="T1" fmla="*/ 55 h 108"/>
                <a:gd name="T2" fmla="*/ 0 w 101"/>
                <a:gd name="T3" fmla="*/ 42 h 108"/>
                <a:gd name="T4" fmla="*/ 3 w 101"/>
                <a:gd name="T5" fmla="*/ 32 h 108"/>
                <a:gd name="T6" fmla="*/ 8 w 101"/>
                <a:gd name="T7" fmla="*/ 23 h 108"/>
                <a:gd name="T8" fmla="*/ 13 w 101"/>
                <a:gd name="T9" fmla="*/ 14 h 108"/>
                <a:gd name="T10" fmla="*/ 20 w 101"/>
                <a:gd name="T11" fmla="*/ 9 h 108"/>
                <a:gd name="T12" fmla="*/ 29 w 101"/>
                <a:gd name="T13" fmla="*/ 4 h 108"/>
                <a:gd name="T14" fmla="*/ 39 w 101"/>
                <a:gd name="T15" fmla="*/ 2 h 108"/>
                <a:gd name="T16" fmla="*/ 51 w 101"/>
                <a:gd name="T17" fmla="*/ 0 h 108"/>
                <a:gd name="T18" fmla="*/ 62 w 101"/>
                <a:gd name="T19" fmla="*/ 2 h 108"/>
                <a:gd name="T20" fmla="*/ 71 w 101"/>
                <a:gd name="T21" fmla="*/ 4 h 108"/>
                <a:gd name="T22" fmla="*/ 80 w 101"/>
                <a:gd name="T23" fmla="*/ 9 h 108"/>
                <a:gd name="T24" fmla="*/ 87 w 101"/>
                <a:gd name="T25" fmla="*/ 14 h 108"/>
                <a:gd name="T26" fmla="*/ 92 w 101"/>
                <a:gd name="T27" fmla="*/ 23 h 108"/>
                <a:gd name="T28" fmla="*/ 97 w 101"/>
                <a:gd name="T29" fmla="*/ 32 h 108"/>
                <a:gd name="T30" fmla="*/ 100 w 101"/>
                <a:gd name="T31" fmla="*/ 42 h 108"/>
                <a:gd name="T32" fmla="*/ 101 w 101"/>
                <a:gd name="T33" fmla="*/ 55 h 108"/>
                <a:gd name="T34" fmla="*/ 100 w 101"/>
                <a:gd name="T35" fmla="*/ 66 h 108"/>
                <a:gd name="T36" fmla="*/ 97 w 101"/>
                <a:gd name="T37" fmla="*/ 76 h 108"/>
                <a:gd name="T38" fmla="*/ 92 w 101"/>
                <a:gd name="T39" fmla="*/ 85 h 108"/>
                <a:gd name="T40" fmla="*/ 87 w 101"/>
                <a:gd name="T41" fmla="*/ 93 h 108"/>
                <a:gd name="T42" fmla="*/ 80 w 101"/>
                <a:gd name="T43" fmla="*/ 99 h 108"/>
                <a:gd name="T44" fmla="*/ 71 w 101"/>
                <a:gd name="T45" fmla="*/ 103 h 108"/>
                <a:gd name="T46" fmla="*/ 62 w 101"/>
                <a:gd name="T47" fmla="*/ 106 h 108"/>
                <a:gd name="T48" fmla="*/ 51 w 101"/>
                <a:gd name="T49" fmla="*/ 108 h 108"/>
                <a:gd name="T50" fmla="*/ 39 w 101"/>
                <a:gd name="T51" fmla="*/ 106 h 108"/>
                <a:gd name="T52" fmla="*/ 29 w 101"/>
                <a:gd name="T53" fmla="*/ 103 h 108"/>
                <a:gd name="T54" fmla="*/ 20 w 101"/>
                <a:gd name="T55" fmla="*/ 99 h 108"/>
                <a:gd name="T56" fmla="*/ 13 w 101"/>
                <a:gd name="T57" fmla="*/ 93 h 108"/>
                <a:gd name="T58" fmla="*/ 8 w 101"/>
                <a:gd name="T59" fmla="*/ 85 h 108"/>
                <a:gd name="T60" fmla="*/ 3 w 101"/>
                <a:gd name="T61" fmla="*/ 76 h 108"/>
                <a:gd name="T62" fmla="*/ 0 w 101"/>
                <a:gd name="T63" fmla="*/ 66 h 108"/>
                <a:gd name="T64" fmla="*/ 0 w 101"/>
                <a:gd name="T65" fmla="*/ 55 h 108"/>
                <a:gd name="T66" fmla="*/ 67 w 101"/>
                <a:gd name="T67" fmla="*/ 55 h 108"/>
                <a:gd name="T68" fmla="*/ 67 w 101"/>
                <a:gd name="T69" fmla="*/ 55 h 108"/>
                <a:gd name="T70" fmla="*/ 65 w 101"/>
                <a:gd name="T71" fmla="*/ 40 h 108"/>
                <a:gd name="T72" fmla="*/ 62 w 101"/>
                <a:gd name="T73" fmla="*/ 30 h 108"/>
                <a:gd name="T74" fmla="*/ 61 w 101"/>
                <a:gd name="T75" fmla="*/ 27 h 108"/>
                <a:gd name="T76" fmla="*/ 58 w 101"/>
                <a:gd name="T77" fmla="*/ 24 h 108"/>
                <a:gd name="T78" fmla="*/ 54 w 101"/>
                <a:gd name="T79" fmla="*/ 23 h 108"/>
                <a:gd name="T80" fmla="*/ 51 w 101"/>
                <a:gd name="T81" fmla="*/ 23 h 108"/>
                <a:gd name="T82" fmla="*/ 46 w 101"/>
                <a:gd name="T83" fmla="*/ 23 h 108"/>
                <a:gd name="T84" fmla="*/ 44 w 101"/>
                <a:gd name="T85" fmla="*/ 24 h 108"/>
                <a:gd name="T86" fmla="*/ 41 w 101"/>
                <a:gd name="T87" fmla="*/ 27 h 108"/>
                <a:gd name="T88" fmla="*/ 38 w 101"/>
                <a:gd name="T89" fmla="*/ 30 h 108"/>
                <a:gd name="T90" fmla="*/ 35 w 101"/>
                <a:gd name="T91" fmla="*/ 40 h 108"/>
                <a:gd name="T92" fmla="*/ 35 w 101"/>
                <a:gd name="T93" fmla="*/ 55 h 108"/>
                <a:gd name="T94" fmla="*/ 35 w 101"/>
                <a:gd name="T95" fmla="*/ 68 h 108"/>
                <a:gd name="T96" fmla="*/ 38 w 101"/>
                <a:gd name="T97" fmla="*/ 78 h 108"/>
                <a:gd name="T98" fmla="*/ 41 w 101"/>
                <a:gd name="T99" fmla="*/ 81 h 108"/>
                <a:gd name="T100" fmla="*/ 44 w 101"/>
                <a:gd name="T101" fmla="*/ 83 h 108"/>
                <a:gd name="T102" fmla="*/ 46 w 101"/>
                <a:gd name="T103" fmla="*/ 85 h 108"/>
                <a:gd name="T104" fmla="*/ 51 w 101"/>
                <a:gd name="T105" fmla="*/ 85 h 108"/>
                <a:gd name="T106" fmla="*/ 54 w 101"/>
                <a:gd name="T107" fmla="*/ 85 h 108"/>
                <a:gd name="T108" fmla="*/ 58 w 101"/>
                <a:gd name="T109" fmla="*/ 83 h 108"/>
                <a:gd name="T110" fmla="*/ 61 w 101"/>
                <a:gd name="T111" fmla="*/ 81 h 108"/>
                <a:gd name="T112" fmla="*/ 62 w 101"/>
                <a:gd name="T113" fmla="*/ 78 h 108"/>
                <a:gd name="T114" fmla="*/ 65 w 101"/>
                <a:gd name="T115" fmla="*/ 68 h 108"/>
                <a:gd name="T116" fmla="*/ 67 w 101"/>
                <a:gd name="T117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1" h="108">
                  <a:moveTo>
                    <a:pt x="0" y="55"/>
                  </a:moveTo>
                  <a:lnTo>
                    <a:pt x="0" y="42"/>
                  </a:lnTo>
                  <a:lnTo>
                    <a:pt x="3" y="32"/>
                  </a:lnTo>
                  <a:lnTo>
                    <a:pt x="8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9" y="2"/>
                  </a:lnTo>
                  <a:lnTo>
                    <a:pt x="51" y="0"/>
                  </a:lnTo>
                  <a:lnTo>
                    <a:pt x="62" y="2"/>
                  </a:lnTo>
                  <a:lnTo>
                    <a:pt x="71" y="4"/>
                  </a:lnTo>
                  <a:lnTo>
                    <a:pt x="80" y="9"/>
                  </a:lnTo>
                  <a:lnTo>
                    <a:pt x="87" y="14"/>
                  </a:lnTo>
                  <a:lnTo>
                    <a:pt x="92" y="23"/>
                  </a:lnTo>
                  <a:lnTo>
                    <a:pt x="97" y="32"/>
                  </a:lnTo>
                  <a:lnTo>
                    <a:pt x="100" y="42"/>
                  </a:lnTo>
                  <a:lnTo>
                    <a:pt x="101" y="55"/>
                  </a:lnTo>
                  <a:lnTo>
                    <a:pt x="100" y="66"/>
                  </a:lnTo>
                  <a:lnTo>
                    <a:pt x="97" y="76"/>
                  </a:lnTo>
                  <a:lnTo>
                    <a:pt x="92" y="85"/>
                  </a:lnTo>
                  <a:lnTo>
                    <a:pt x="87" y="93"/>
                  </a:lnTo>
                  <a:lnTo>
                    <a:pt x="80" y="99"/>
                  </a:lnTo>
                  <a:lnTo>
                    <a:pt x="71" y="103"/>
                  </a:lnTo>
                  <a:lnTo>
                    <a:pt x="62" y="106"/>
                  </a:lnTo>
                  <a:lnTo>
                    <a:pt x="51" y="108"/>
                  </a:lnTo>
                  <a:lnTo>
                    <a:pt x="39" y="106"/>
                  </a:lnTo>
                  <a:lnTo>
                    <a:pt x="29" y="103"/>
                  </a:lnTo>
                  <a:lnTo>
                    <a:pt x="20" y="99"/>
                  </a:lnTo>
                  <a:lnTo>
                    <a:pt x="13" y="93"/>
                  </a:lnTo>
                  <a:lnTo>
                    <a:pt x="8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close/>
                  <a:moveTo>
                    <a:pt x="67" y="55"/>
                  </a:moveTo>
                  <a:lnTo>
                    <a:pt x="67" y="55"/>
                  </a:lnTo>
                  <a:lnTo>
                    <a:pt x="65" y="40"/>
                  </a:lnTo>
                  <a:lnTo>
                    <a:pt x="62" y="30"/>
                  </a:lnTo>
                  <a:lnTo>
                    <a:pt x="61" y="27"/>
                  </a:lnTo>
                  <a:lnTo>
                    <a:pt x="58" y="24"/>
                  </a:lnTo>
                  <a:lnTo>
                    <a:pt x="54" y="23"/>
                  </a:lnTo>
                  <a:lnTo>
                    <a:pt x="51" y="23"/>
                  </a:lnTo>
                  <a:lnTo>
                    <a:pt x="46" y="23"/>
                  </a:lnTo>
                  <a:lnTo>
                    <a:pt x="44" y="24"/>
                  </a:lnTo>
                  <a:lnTo>
                    <a:pt x="41" y="27"/>
                  </a:lnTo>
                  <a:lnTo>
                    <a:pt x="38" y="30"/>
                  </a:lnTo>
                  <a:lnTo>
                    <a:pt x="35" y="40"/>
                  </a:lnTo>
                  <a:lnTo>
                    <a:pt x="35" y="55"/>
                  </a:lnTo>
                  <a:lnTo>
                    <a:pt x="35" y="68"/>
                  </a:lnTo>
                  <a:lnTo>
                    <a:pt x="38" y="78"/>
                  </a:lnTo>
                  <a:lnTo>
                    <a:pt x="41" y="81"/>
                  </a:lnTo>
                  <a:lnTo>
                    <a:pt x="44" y="83"/>
                  </a:lnTo>
                  <a:lnTo>
                    <a:pt x="46" y="85"/>
                  </a:lnTo>
                  <a:lnTo>
                    <a:pt x="51" y="85"/>
                  </a:lnTo>
                  <a:lnTo>
                    <a:pt x="54" y="85"/>
                  </a:lnTo>
                  <a:lnTo>
                    <a:pt x="58" y="83"/>
                  </a:lnTo>
                  <a:lnTo>
                    <a:pt x="61" y="81"/>
                  </a:lnTo>
                  <a:lnTo>
                    <a:pt x="62" y="78"/>
                  </a:lnTo>
                  <a:lnTo>
                    <a:pt x="65" y="68"/>
                  </a:lnTo>
                  <a:lnTo>
                    <a:pt x="67" y="55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1" name="Freeform 45">
              <a:extLst>
                <a:ext uri="{FF2B5EF4-FFF2-40B4-BE49-F238E27FC236}">
                  <a16:creationId xmlns:a16="http://schemas.microsoft.com/office/drawing/2014/main" id="{AD622A93-5C56-DCB0-F52B-50BDAFE6A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5238" y="4217988"/>
              <a:ext cx="31750" cy="101600"/>
            </a:xfrm>
            <a:custGeom>
              <a:avLst/>
              <a:gdLst>
                <a:gd name="T0" fmla="*/ 23 w 61"/>
                <a:gd name="T1" fmla="*/ 46 h 190"/>
                <a:gd name="T2" fmla="*/ 58 w 61"/>
                <a:gd name="T3" fmla="*/ 46 h 190"/>
                <a:gd name="T4" fmla="*/ 58 w 61"/>
                <a:gd name="T5" fmla="*/ 154 h 190"/>
                <a:gd name="T6" fmla="*/ 58 w 61"/>
                <a:gd name="T7" fmla="*/ 162 h 190"/>
                <a:gd name="T8" fmla="*/ 55 w 61"/>
                <a:gd name="T9" fmla="*/ 169 h 190"/>
                <a:gd name="T10" fmla="*/ 52 w 61"/>
                <a:gd name="T11" fmla="*/ 177 h 190"/>
                <a:gd name="T12" fmla="*/ 48 w 61"/>
                <a:gd name="T13" fmla="*/ 181 h 190"/>
                <a:gd name="T14" fmla="*/ 42 w 61"/>
                <a:gd name="T15" fmla="*/ 185 h 190"/>
                <a:gd name="T16" fmla="*/ 35 w 61"/>
                <a:gd name="T17" fmla="*/ 188 h 190"/>
                <a:gd name="T18" fmla="*/ 28 w 61"/>
                <a:gd name="T19" fmla="*/ 190 h 190"/>
                <a:gd name="T20" fmla="*/ 19 w 61"/>
                <a:gd name="T21" fmla="*/ 190 h 190"/>
                <a:gd name="T22" fmla="*/ 9 w 61"/>
                <a:gd name="T23" fmla="*/ 190 h 190"/>
                <a:gd name="T24" fmla="*/ 0 w 61"/>
                <a:gd name="T25" fmla="*/ 187 h 190"/>
                <a:gd name="T26" fmla="*/ 0 w 61"/>
                <a:gd name="T27" fmla="*/ 167 h 190"/>
                <a:gd name="T28" fmla="*/ 6 w 61"/>
                <a:gd name="T29" fmla="*/ 167 h 190"/>
                <a:gd name="T30" fmla="*/ 12 w 61"/>
                <a:gd name="T31" fmla="*/ 168 h 190"/>
                <a:gd name="T32" fmla="*/ 16 w 61"/>
                <a:gd name="T33" fmla="*/ 167 h 190"/>
                <a:gd name="T34" fmla="*/ 19 w 61"/>
                <a:gd name="T35" fmla="*/ 165 h 190"/>
                <a:gd name="T36" fmla="*/ 23 w 61"/>
                <a:gd name="T37" fmla="*/ 161 h 190"/>
                <a:gd name="T38" fmla="*/ 23 w 61"/>
                <a:gd name="T39" fmla="*/ 154 h 190"/>
                <a:gd name="T40" fmla="*/ 23 w 61"/>
                <a:gd name="T41" fmla="*/ 46 h 190"/>
                <a:gd name="T42" fmla="*/ 41 w 61"/>
                <a:gd name="T43" fmla="*/ 39 h 190"/>
                <a:gd name="T44" fmla="*/ 41 w 61"/>
                <a:gd name="T45" fmla="*/ 39 h 190"/>
                <a:gd name="T46" fmla="*/ 36 w 61"/>
                <a:gd name="T47" fmla="*/ 39 h 190"/>
                <a:gd name="T48" fmla="*/ 33 w 61"/>
                <a:gd name="T49" fmla="*/ 37 h 190"/>
                <a:gd name="T50" fmla="*/ 31 w 61"/>
                <a:gd name="T51" fmla="*/ 36 h 190"/>
                <a:gd name="T52" fmla="*/ 28 w 61"/>
                <a:gd name="T53" fmla="*/ 33 h 190"/>
                <a:gd name="T54" fmla="*/ 25 w 61"/>
                <a:gd name="T55" fmla="*/ 30 h 190"/>
                <a:gd name="T56" fmla="*/ 23 w 61"/>
                <a:gd name="T57" fmla="*/ 27 h 190"/>
                <a:gd name="T58" fmla="*/ 22 w 61"/>
                <a:gd name="T59" fmla="*/ 23 h 190"/>
                <a:gd name="T60" fmla="*/ 22 w 61"/>
                <a:gd name="T61" fmla="*/ 20 h 190"/>
                <a:gd name="T62" fmla="*/ 22 w 61"/>
                <a:gd name="T63" fmla="*/ 16 h 190"/>
                <a:gd name="T64" fmla="*/ 23 w 61"/>
                <a:gd name="T65" fmla="*/ 11 h 190"/>
                <a:gd name="T66" fmla="*/ 25 w 61"/>
                <a:gd name="T67" fmla="*/ 9 h 190"/>
                <a:gd name="T68" fmla="*/ 28 w 61"/>
                <a:gd name="T69" fmla="*/ 6 h 190"/>
                <a:gd name="T70" fmla="*/ 31 w 61"/>
                <a:gd name="T71" fmla="*/ 4 h 190"/>
                <a:gd name="T72" fmla="*/ 33 w 61"/>
                <a:gd name="T73" fmla="*/ 1 h 190"/>
                <a:gd name="T74" fmla="*/ 36 w 61"/>
                <a:gd name="T75" fmla="*/ 1 h 190"/>
                <a:gd name="T76" fmla="*/ 41 w 61"/>
                <a:gd name="T77" fmla="*/ 0 h 190"/>
                <a:gd name="T78" fmla="*/ 45 w 61"/>
                <a:gd name="T79" fmla="*/ 1 h 190"/>
                <a:gd name="T80" fmla="*/ 49 w 61"/>
                <a:gd name="T81" fmla="*/ 1 h 190"/>
                <a:gd name="T82" fmla="*/ 52 w 61"/>
                <a:gd name="T83" fmla="*/ 4 h 190"/>
                <a:gd name="T84" fmla="*/ 55 w 61"/>
                <a:gd name="T85" fmla="*/ 6 h 190"/>
                <a:gd name="T86" fmla="*/ 58 w 61"/>
                <a:gd name="T87" fmla="*/ 9 h 190"/>
                <a:gd name="T88" fmla="*/ 59 w 61"/>
                <a:gd name="T89" fmla="*/ 11 h 190"/>
                <a:gd name="T90" fmla="*/ 59 w 61"/>
                <a:gd name="T91" fmla="*/ 16 h 190"/>
                <a:gd name="T92" fmla="*/ 61 w 61"/>
                <a:gd name="T93" fmla="*/ 20 h 190"/>
                <a:gd name="T94" fmla="*/ 59 w 61"/>
                <a:gd name="T95" fmla="*/ 23 h 190"/>
                <a:gd name="T96" fmla="*/ 59 w 61"/>
                <a:gd name="T97" fmla="*/ 27 h 190"/>
                <a:gd name="T98" fmla="*/ 58 w 61"/>
                <a:gd name="T99" fmla="*/ 30 h 190"/>
                <a:gd name="T100" fmla="*/ 55 w 61"/>
                <a:gd name="T101" fmla="*/ 33 h 190"/>
                <a:gd name="T102" fmla="*/ 52 w 61"/>
                <a:gd name="T103" fmla="*/ 36 h 190"/>
                <a:gd name="T104" fmla="*/ 49 w 61"/>
                <a:gd name="T105" fmla="*/ 37 h 190"/>
                <a:gd name="T106" fmla="*/ 45 w 61"/>
                <a:gd name="T107" fmla="*/ 39 h 190"/>
                <a:gd name="T108" fmla="*/ 41 w 61"/>
                <a:gd name="T109" fmla="*/ 39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1" h="190">
                  <a:moveTo>
                    <a:pt x="23" y="46"/>
                  </a:moveTo>
                  <a:lnTo>
                    <a:pt x="58" y="46"/>
                  </a:lnTo>
                  <a:lnTo>
                    <a:pt x="58" y="154"/>
                  </a:lnTo>
                  <a:lnTo>
                    <a:pt x="58" y="162"/>
                  </a:lnTo>
                  <a:lnTo>
                    <a:pt x="55" y="169"/>
                  </a:lnTo>
                  <a:lnTo>
                    <a:pt x="52" y="177"/>
                  </a:lnTo>
                  <a:lnTo>
                    <a:pt x="48" y="181"/>
                  </a:lnTo>
                  <a:lnTo>
                    <a:pt x="42" y="185"/>
                  </a:lnTo>
                  <a:lnTo>
                    <a:pt x="35" y="188"/>
                  </a:lnTo>
                  <a:lnTo>
                    <a:pt x="28" y="190"/>
                  </a:lnTo>
                  <a:lnTo>
                    <a:pt x="19" y="190"/>
                  </a:lnTo>
                  <a:lnTo>
                    <a:pt x="9" y="190"/>
                  </a:lnTo>
                  <a:lnTo>
                    <a:pt x="0" y="187"/>
                  </a:lnTo>
                  <a:lnTo>
                    <a:pt x="0" y="167"/>
                  </a:lnTo>
                  <a:lnTo>
                    <a:pt x="6" y="167"/>
                  </a:lnTo>
                  <a:lnTo>
                    <a:pt x="12" y="168"/>
                  </a:lnTo>
                  <a:lnTo>
                    <a:pt x="16" y="167"/>
                  </a:lnTo>
                  <a:lnTo>
                    <a:pt x="19" y="165"/>
                  </a:lnTo>
                  <a:lnTo>
                    <a:pt x="23" y="161"/>
                  </a:lnTo>
                  <a:lnTo>
                    <a:pt x="23" y="154"/>
                  </a:lnTo>
                  <a:lnTo>
                    <a:pt x="23" y="46"/>
                  </a:lnTo>
                  <a:close/>
                  <a:moveTo>
                    <a:pt x="41" y="39"/>
                  </a:moveTo>
                  <a:lnTo>
                    <a:pt x="41" y="39"/>
                  </a:lnTo>
                  <a:lnTo>
                    <a:pt x="36" y="39"/>
                  </a:lnTo>
                  <a:lnTo>
                    <a:pt x="33" y="37"/>
                  </a:lnTo>
                  <a:lnTo>
                    <a:pt x="31" y="36"/>
                  </a:lnTo>
                  <a:lnTo>
                    <a:pt x="28" y="33"/>
                  </a:lnTo>
                  <a:lnTo>
                    <a:pt x="25" y="30"/>
                  </a:lnTo>
                  <a:lnTo>
                    <a:pt x="23" y="27"/>
                  </a:lnTo>
                  <a:lnTo>
                    <a:pt x="22" y="23"/>
                  </a:lnTo>
                  <a:lnTo>
                    <a:pt x="22" y="20"/>
                  </a:lnTo>
                  <a:lnTo>
                    <a:pt x="22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1" y="4"/>
                  </a:lnTo>
                  <a:lnTo>
                    <a:pt x="33" y="1"/>
                  </a:lnTo>
                  <a:lnTo>
                    <a:pt x="36" y="1"/>
                  </a:lnTo>
                  <a:lnTo>
                    <a:pt x="41" y="0"/>
                  </a:lnTo>
                  <a:lnTo>
                    <a:pt x="45" y="1"/>
                  </a:lnTo>
                  <a:lnTo>
                    <a:pt x="49" y="1"/>
                  </a:lnTo>
                  <a:lnTo>
                    <a:pt x="52" y="4"/>
                  </a:lnTo>
                  <a:lnTo>
                    <a:pt x="55" y="6"/>
                  </a:lnTo>
                  <a:lnTo>
                    <a:pt x="58" y="9"/>
                  </a:lnTo>
                  <a:lnTo>
                    <a:pt x="59" y="11"/>
                  </a:lnTo>
                  <a:lnTo>
                    <a:pt x="59" y="16"/>
                  </a:lnTo>
                  <a:lnTo>
                    <a:pt x="61" y="20"/>
                  </a:lnTo>
                  <a:lnTo>
                    <a:pt x="59" y="23"/>
                  </a:lnTo>
                  <a:lnTo>
                    <a:pt x="59" y="27"/>
                  </a:lnTo>
                  <a:lnTo>
                    <a:pt x="58" y="30"/>
                  </a:lnTo>
                  <a:lnTo>
                    <a:pt x="55" y="33"/>
                  </a:lnTo>
                  <a:lnTo>
                    <a:pt x="52" y="36"/>
                  </a:lnTo>
                  <a:lnTo>
                    <a:pt x="49" y="37"/>
                  </a:lnTo>
                  <a:lnTo>
                    <a:pt x="45" y="39"/>
                  </a:lnTo>
                  <a:lnTo>
                    <a:pt x="41" y="39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2" name="Freeform 46">
              <a:extLst>
                <a:ext uri="{FF2B5EF4-FFF2-40B4-BE49-F238E27FC236}">
                  <a16:creationId xmlns:a16="http://schemas.microsoft.com/office/drawing/2014/main" id="{199E4431-D202-D06F-D396-487114F0F8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8100" y="4217988"/>
              <a:ext cx="19050" cy="79375"/>
            </a:xfrm>
            <a:custGeom>
              <a:avLst/>
              <a:gdLst>
                <a:gd name="T0" fmla="*/ 18 w 38"/>
                <a:gd name="T1" fmla="*/ 39 h 148"/>
                <a:gd name="T2" fmla="*/ 15 w 38"/>
                <a:gd name="T3" fmla="*/ 39 h 148"/>
                <a:gd name="T4" fmla="*/ 11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2 w 38"/>
                <a:gd name="T11" fmla="*/ 30 h 148"/>
                <a:gd name="T12" fmla="*/ 1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1 w 38"/>
                <a:gd name="T21" fmla="*/ 11 h 148"/>
                <a:gd name="T22" fmla="*/ 2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1 w 38"/>
                <a:gd name="T29" fmla="*/ 1 h 148"/>
                <a:gd name="T30" fmla="*/ 15 w 38"/>
                <a:gd name="T31" fmla="*/ 1 h 148"/>
                <a:gd name="T32" fmla="*/ 18 w 38"/>
                <a:gd name="T33" fmla="*/ 0 h 148"/>
                <a:gd name="T34" fmla="*/ 23 w 38"/>
                <a:gd name="T35" fmla="*/ 1 h 148"/>
                <a:gd name="T36" fmla="*/ 27 w 38"/>
                <a:gd name="T37" fmla="*/ 1 h 148"/>
                <a:gd name="T38" fmla="*/ 30 w 38"/>
                <a:gd name="T39" fmla="*/ 4 h 148"/>
                <a:gd name="T40" fmla="*/ 33 w 38"/>
                <a:gd name="T41" fmla="*/ 6 h 148"/>
                <a:gd name="T42" fmla="*/ 36 w 38"/>
                <a:gd name="T43" fmla="*/ 9 h 148"/>
                <a:gd name="T44" fmla="*/ 37 w 38"/>
                <a:gd name="T45" fmla="*/ 11 h 148"/>
                <a:gd name="T46" fmla="*/ 37 w 38"/>
                <a:gd name="T47" fmla="*/ 16 h 148"/>
                <a:gd name="T48" fmla="*/ 38 w 38"/>
                <a:gd name="T49" fmla="*/ 20 h 148"/>
                <a:gd name="T50" fmla="*/ 37 w 38"/>
                <a:gd name="T51" fmla="*/ 23 h 148"/>
                <a:gd name="T52" fmla="*/ 37 w 38"/>
                <a:gd name="T53" fmla="*/ 27 h 148"/>
                <a:gd name="T54" fmla="*/ 36 w 38"/>
                <a:gd name="T55" fmla="*/ 30 h 148"/>
                <a:gd name="T56" fmla="*/ 33 w 38"/>
                <a:gd name="T57" fmla="*/ 33 h 148"/>
                <a:gd name="T58" fmla="*/ 30 w 38"/>
                <a:gd name="T59" fmla="*/ 36 h 148"/>
                <a:gd name="T60" fmla="*/ 27 w 38"/>
                <a:gd name="T61" fmla="*/ 37 h 148"/>
                <a:gd name="T62" fmla="*/ 23 w 38"/>
                <a:gd name="T63" fmla="*/ 39 h 148"/>
                <a:gd name="T64" fmla="*/ 18 w 38"/>
                <a:gd name="T65" fmla="*/ 39 h 148"/>
                <a:gd name="T66" fmla="*/ 1 w 38"/>
                <a:gd name="T67" fmla="*/ 46 h 148"/>
                <a:gd name="T68" fmla="*/ 1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1 w 38"/>
                <a:gd name="T75" fmla="*/ 148 h 148"/>
                <a:gd name="T76" fmla="*/ 1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8" y="39"/>
                  </a:moveTo>
                  <a:lnTo>
                    <a:pt x="15" y="39"/>
                  </a:lnTo>
                  <a:lnTo>
                    <a:pt x="11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2" y="30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2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1" y="1"/>
                  </a:lnTo>
                  <a:lnTo>
                    <a:pt x="15" y="1"/>
                  </a:lnTo>
                  <a:lnTo>
                    <a:pt x="18" y="0"/>
                  </a:lnTo>
                  <a:lnTo>
                    <a:pt x="23" y="1"/>
                  </a:lnTo>
                  <a:lnTo>
                    <a:pt x="27" y="1"/>
                  </a:lnTo>
                  <a:lnTo>
                    <a:pt x="30" y="4"/>
                  </a:lnTo>
                  <a:lnTo>
                    <a:pt x="33" y="6"/>
                  </a:lnTo>
                  <a:lnTo>
                    <a:pt x="36" y="9"/>
                  </a:lnTo>
                  <a:lnTo>
                    <a:pt x="37" y="11"/>
                  </a:lnTo>
                  <a:lnTo>
                    <a:pt x="37" y="16"/>
                  </a:lnTo>
                  <a:lnTo>
                    <a:pt x="38" y="20"/>
                  </a:lnTo>
                  <a:lnTo>
                    <a:pt x="37" y="23"/>
                  </a:lnTo>
                  <a:lnTo>
                    <a:pt x="37" y="27"/>
                  </a:lnTo>
                  <a:lnTo>
                    <a:pt x="36" y="30"/>
                  </a:lnTo>
                  <a:lnTo>
                    <a:pt x="33" y="33"/>
                  </a:lnTo>
                  <a:lnTo>
                    <a:pt x="30" y="36"/>
                  </a:lnTo>
                  <a:lnTo>
                    <a:pt x="27" y="37"/>
                  </a:lnTo>
                  <a:lnTo>
                    <a:pt x="23" y="39"/>
                  </a:lnTo>
                  <a:lnTo>
                    <a:pt x="18" y="39"/>
                  </a:lnTo>
                  <a:close/>
                  <a:moveTo>
                    <a:pt x="1" y="46"/>
                  </a:moveTo>
                  <a:lnTo>
                    <a:pt x="1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1" y="148"/>
                  </a:lnTo>
                  <a:lnTo>
                    <a:pt x="1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3" name="Freeform 47">
              <a:extLst>
                <a:ext uri="{FF2B5EF4-FFF2-40B4-BE49-F238E27FC236}">
                  <a16:creationId xmlns:a16="http://schemas.microsoft.com/office/drawing/2014/main" id="{1A5925DE-FDE8-08EA-BBF1-0D8C7E253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6675" y="4241800"/>
              <a:ext cx="47625" cy="57150"/>
            </a:xfrm>
            <a:custGeom>
              <a:avLst/>
              <a:gdLst>
                <a:gd name="T0" fmla="*/ 54 w 90"/>
                <a:gd name="T1" fmla="*/ 27 h 108"/>
                <a:gd name="T2" fmla="*/ 46 w 90"/>
                <a:gd name="T3" fmla="*/ 22 h 108"/>
                <a:gd name="T4" fmla="*/ 38 w 90"/>
                <a:gd name="T5" fmla="*/ 22 h 108"/>
                <a:gd name="T6" fmla="*/ 32 w 90"/>
                <a:gd name="T7" fmla="*/ 26 h 108"/>
                <a:gd name="T8" fmla="*/ 31 w 90"/>
                <a:gd name="T9" fmla="*/ 33 h 108"/>
                <a:gd name="T10" fmla="*/ 33 w 90"/>
                <a:gd name="T11" fmla="*/ 36 h 108"/>
                <a:gd name="T12" fmla="*/ 42 w 90"/>
                <a:gd name="T13" fmla="*/ 39 h 108"/>
                <a:gd name="T14" fmla="*/ 65 w 90"/>
                <a:gd name="T15" fmla="*/ 43 h 108"/>
                <a:gd name="T16" fmla="*/ 82 w 90"/>
                <a:gd name="T17" fmla="*/ 52 h 108"/>
                <a:gd name="T18" fmla="*/ 88 w 90"/>
                <a:gd name="T19" fmla="*/ 65 h 108"/>
                <a:gd name="T20" fmla="*/ 88 w 90"/>
                <a:gd name="T21" fmla="*/ 81 h 108"/>
                <a:gd name="T22" fmla="*/ 82 w 90"/>
                <a:gd name="T23" fmla="*/ 93 h 108"/>
                <a:gd name="T24" fmla="*/ 71 w 90"/>
                <a:gd name="T25" fmla="*/ 102 h 108"/>
                <a:gd name="T26" fmla="*/ 55 w 90"/>
                <a:gd name="T27" fmla="*/ 106 h 108"/>
                <a:gd name="T28" fmla="*/ 36 w 90"/>
                <a:gd name="T29" fmla="*/ 106 h 108"/>
                <a:gd name="T30" fmla="*/ 19 w 90"/>
                <a:gd name="T31" fmla="*/ 102 h 108"/>
                <a:gd name="T32" fmla="*/ 7 w 90"/>
                <a:gd name="T33" fmla="*/ 93 h 108"/>
                <a:gd name="T34" fmla="*/ 2 w 90"/>
                <a:gd name="T35" fmla="*/ 82 h 108"/>
                <a:gd name="T36" fmla="*/ 32 w 90"/>
                <a:gd name="T37" fmla="*/ 73 h 108"/>
                <a:gd name="T38" fmla="*/ 36 w 90"/>
                <a:gd name="T39" fmla="*/ 83 h 108"/>
                <a:gd name="T40" fmla="*/ 46 w 90"/>
                <a:gd name="T41" fmla="*/ 86 h 108"/>
                <a:gd name="T42" fmla="*/ 55 w 90"/>
                <a:gd name="T43" fmla="*/ 85 h 108"/>
                <a:gd name="T44" fmla="*/ 59 w 90"/>
                <a:gd name="T45" fmla="*/ 78 h 108"/>
                <a:gd name="T46" fmla="*/ 58 w 90"/>
                <a:gd name="T47" fmla="*/ 73 h 108"/>
                <a:gd name="T48" fmla="*/ 54 w 90"/>
                <a:gd name="T49" fmla="*/ 70 h 108"/>
                <a:gd name="T50" fmla="*/ 38 w 90"/>
                <a:gd name="T51" fmla="*/ 66 h 108"/>
                <a:gd name="T52" fmla="*/ 12 w 90"/>
                <a:gd name="T53" fmla="*/ 58 h 108"/>
                <a:gd name="T54" fmla="*/ 3 w 90"/>
                <a:gd name="T55" fmla="*/ 49 h 108"/>
                <a:gd name="T56" fmla="*/ 0 w 90"/>
                <a:gd name="T57" fmla="*/ 35 h 108"/>
                <a:gd name="T58" fmla="*/ 3 w 90"/>
                <a:gd name="T59" fmla="*/ 20 h 108"/>
                <a:gd name="T60" fmla="*/ 13 w 90"/>
                <a:gd name="T61" fmla="*/ 9 h 108"/>
                <a:gd name="T62" fmla="*/ 26 w 90"/>
                <a:gd name="T63" fmla="*/ 3 h 108"/>
                <a:gd name="T64" fmla="*/ 42 w 90"/>
                <a:gd name="T65" fmla="*/ 0 h 108"/>
                <a:gd name="T66" fmla="*/ 61 w 90"/>
                <a:gd name="T67" fmla="*/ 3 h 108"/>
                <a:gd name="T68" fmla="*/ 75 w 90"/>
                <a:gd name="T69" fmla="*/ 9 h 108"/>
                <a:gd name="T70" fmla="*/ 84 w 90"/>
                <a:gd name="T71" fmla="*/ 19 h 108"/>
                <a:gd name="T72" fmla="*/ 87 w 90"/>
                <a:gd name="T73" fmla="*/ 3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0" h="108">
                  <a:moveTo>
                    <a:pt x="54" y="33"/>
                  </a:moveTo>
                  <a:lnTo>
                    <a:pt x="54" y="27"/>
                  </a:lnTo>
                  <a:lnTo>
                    <a:pt x="51" y="24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2"/>
                  </a:lnTo>
                  <a:lnTo>
                    <a:pt x="33" y="23"/>
                  </a:lnTo>
                  <a:lnTo>
                    <a:pt x="32" y="26"/>
                  </a:lnTo>
                  <a:lnTo>
                    <a:pt x="31" y="30"/>
                  </a:lnTo>
                  <a:lnTo>
                    <a:pt x="31" y="33"/>
                  </a:lnTo>
                  <a:lnTo>
                    <a:pt x="32" y="35"/>
                  </a:lnTo>
                  <a:lnTo>
                    <a:pt x="33" y="36"/>
                  </a:lnTo>
                  <a:lnTo>
                    <a:pt x="36" y="37"/>
                  </a:lnTo>
                  <a:lnTo>
                    <a:pt x="42" y="39"/>
                  </a:lnTo>
                  <a:lnTo>
                    <a:pt x="52" y="40"/>
                  </a:lnTo>
                  <a:lnTo>
                    <a:pt x="65" y="43"/>
                  </a:lnTo>
                  <a:lnTo>
                    <a:pt x="77" y="49"/>
                  </a:lnTo>
                  <a:lnTo>
                    <a:pt x="82" y="52"/>
                  </a:lnTo>
                  <a:lnTo>
                    <a:pt x="85" y="58"/>
                  </a:lnTo>
                  <a:lnTo>
                    <a:pt x="88" y="65"/>
                  </a:lnTo>
                  <a:lnTo>
                    <a:pt x="90" y="72"/>
                  </a:lnTo>
                  <a:lnTo>
                    <a:pt x="88" y="81"/>
                  </a:lnTo>
                  <a:lnTo>
                    <a:pt x="85" y="88"/>
                  </a:lnTo>
                  <a:lnTo>
                    <a:pt x="82" y="93"/>
                  </a:lnTo>
                  <a:lnTo>
                    <a:pt x="77" y="98"/>
                  </a:lnTo>
                  <a:lnTo>
                    <a:pt x="71" y="102"/>
                  </a:lnTo>
                  <a:lnTo>
                    <a:pt x="64" y="105"/>
                  </a:lnTo>
                  <a:lnTo>
                    <a:pt x="55" y="106"/>
                  </a:lnTo>
                  <a:lnTo>
                    <a:pt x="46" y="108"/>
                  </a:lnTo>
                  <a:lnTo>
                    <a:pt x="36" y="106"/>
                  </a:lnTo>
                  <a:lnTo>
                    <a:pt x="28" y="105"/>
                  </a:lnTo>
                  <a:lnTo>
                    <a:pt x="19" y="102"/>
                  </a:lnTo>
                  <a:lnTo>
                    <a:pt x="13" y="99"/>
                  </a:lnTo>
                  <a:lnTo>
                    <a:pt x="7" y="93"/>
                  </a:lnTo>
                  <a:lnTo>
                    <a:pt x="3" y="88"/>
                  </a:lnTo>
                  <a:lnTo>
                    <a:pt x="2" y="82"/>
                  </a:lnTo>
                  <a:lnTo>
                    <a:pt x="0" y="73"/>
                  </a:lnTo>
                  <a:lnTo>
                    <a:pt x="32" y="73"/>
                  </a:lnTo>
                  <a:lnTo>
                    <a:pt x="33" y="79"/>
                  </a:lnTo>
                  <a:lnTo>
                    <a:pt x="36" y="83"/>
                  </a:lnTo>
                  <a:lnTo>
                    <a:pt x="41" y="86"/>
                  </a:lnTo>
                  <a:lnTo>
                    <a:pt x="46" y="86"/>
                  </a:lnTo>
                  <a:lnTo>
                    <a:pt x="51" y="86"/>
                  </a:lnTo>
                  <a:lnTo>
                    <a:pt x="55" y="85"/>
                  </a:lnTo>
                  <a:lnTo>
                    <a:pt x="58" y="82"/>
                  </a:lnTo>
                  <a:lnTo>
                    <a:pt x="59" y="78"/>
                  </a:lnTo>
                  <a:lnTo>
                    <a:pt x="59" y="75"/>
                  </a:lnTo>
                  <a:lnTo>
                    <a:pt x="58" y="73"/>
                  </a:lnTo>
                  <a:lnTo>
                    <a:pt x="55" y="72"/>
                  </a:lnTo>
                  <a:lnTo>
                    <a:pt x="54" y="70"/>
                  </a:lnTo>
                  <a:lnTo>
                    <a:pt x="46" y="69"/>
                  </a:lnTo>
                  <a:lnTo>
                    <a:pt x="38" y="66"/>
                  </a:lnTo>
                  <a:lnTo>
                    <a:pt x="23" y="63"/>
                  </a:lnTo>
                  <a:lnTo>
                    <a:pt x="12" y="58"/>
                  </a:lnTo>
                  <a:lnTo>
                    <a:pt x="7" y="55"/>
                  </a:lnTo>
                  <a:lnTo>
                    <a:pt x="3" y="49"/>
                  </a:lnTo>
                  <a:lnTo>
                    <a:pt x="2" y="42"/>
                  </a:lnTo>
                  <a:lnTo>
                    <a:pt x="0" y="35"/>
                  </a:lnTo>
                  <a:lnTo>
                    <a:pt x="2" y="26"/>
                  </a:lnTo>
                  <a:lnTo>
                    <a:pt x="3" y="20"/>
                  </a:lnTo>
                  <a:lnTo>
                    <a:pt x="7" y="14"/>
                  </a:lnTo>
                  <a:lnTo>
                    <a:pt x="13" y="9"/>
                  </a:lnTo>
                  <a:lnTo>
                    <a:pt x="19" y="6"/>
                  </a:lnTo>
                  <a:lnTo>
                    <a:pt x="26" y="3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52" y="2"/>
                  </a:lnTo>
                  <a:lnTo>
                    <a:pt x="61" y="3"/>
                  </a:lnTo>
                  <a:lnTo>
                    <a:pt x="69" y="6"/>
                  </a:lnTo>
                  <a:lnTo>
                    <a:pt x="75" y="9"/>
                  </a:lnTo>
                  <a:lnTo>
                    <a:pt x="79" y="13"/>
                  </a:lnTo>
                  <a:lnTo>
                    <a:pt x="84" y="19"/>
                  </a:lnTo>
                  <a:lnTo>
                    <a:pt x="85" y="24"/>
                  </a:lnTo>
                  <a:lnTo>
                    <a:pt x="87" y="33"/>
                  </a:lnTo>
                  <a:lnTo>
                    <a:pt x="54" y="3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4" name="Freeform 48">
              <a:extLst>
                <a:ext uri="{FF2B5EF4-FFF2-40B4-BE49-F238E27FC236}">
                  <a16:creationId xmlns:a16="http://schemas.microsoft.com/office/drawing/2014/main" id="{DBD6A5AD-6AE9-615E-3D49-0200B77EF4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49063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1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5 w 73"/>
                <a:gd name="T35" fmla="*/ 103 h 129"/>
                <a:gd name="T36" fmla="*/ 15 w 73"/>
                <a:gd name="T37" fmla="*/ 94 h 129"/>
                <a:gd name="T38" fmla="*/ 15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5 w 73"/>
                <a:gd name="T45" fmla="*/ 24 h 129"/>
                <a:gd name="T46" fmla="*/ 15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1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5" y="103"/>
                  </a:lnTo>
                  <a:lnTo>
                    <a:pt x="15" y="94"/>
                  </a:lnTo>
                  <a:lnTo>
                    <a:pt x="15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5" y="24"/>
                  </a:lnTo>
                  <a:lnTo>
                    <a:pt x="15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5" name="Freeform 49">
              <a:extLst>
                <a:ext uri="{FF2B5EF4-FFF2-40B4-BE49-F238E27FC236}">
                  <a16:creationId xmlns:a16="http://schemas.microsoft.com/office/drawing/2014/main" id="{C78B869B-8E42-E8D2-8D6A-F7769B84E5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96688" y="4217988"/>
              <a:ext cx="20638" cy="79375"/>
            </a:xfrm>
            <a:custGeom>
              <a:avLst/>
              <a:gdLst>
                <a:gd name="T0" fmla="*/ 19 w 38"/>
                <a:gd name="T1" fmla="*/ 39 h 148"/>
                <a:gd name="T2" fmla="*/ 15 w 38"/>
                <a:gd name="T3" fmla="*/ 39 h 148"/>
                <a:gd name="T4" fmla="*/ 10 w 38"/>
                <a:gd name="T5" fmla="*/ 37 h 148"/>
                <a:gd name="T6" fmla="*/ 8 w 38"/>
                <a:gd name="T7" fmla="*/ 36 h 148"/>
                <a:gd name="T8" fmla="*/ 5 w 38"/>
                <a:gd name="T9" fmla="*/ 33 h 148"/>
                <a:gd name="T10" fmla="*/ 3 w 38"/>
                <a:gd name="T11" fmla="*/ 30 h 148"/>
                <a:gd name="T12" fmla="*/ 0 w 38"/>
                <a:gd name="T13" fmla="*/ 27 h 148"/>
                <a:gd name="T14" fmla="*/ 0 w 38"/>
                <a:gd name="T15" fmla="*/ 23 h 148"/>
                <a:gd name="T16" fmla="*/ 0 w 38"/>
                <a:gd name="T17" fmla="*/ 20 h 148"/>
                <a:gd name="T18" fmla="*/ 0 w 38"/>
                <a:gd name="T19" fmla="*/ 16 h 148"/>
                <a:gd name="T20" fmla="*/ 0 w 38"/>
                <a:gd name="T21" fmla="*/ 11 h 148"/>
                <a:gd name="T22" fmla="*/ 3 w 38"/>
                <a:gd name="T23" fmla="*/ 9 h 148"/>
                <a:gd name="T24" fmla="*/ 5 w 38"/>
                <a:gd name="T25" fmla="*/ 6 h 148"/>
                <a:gd name="T26" fmla="*/ 8 w 38"/>
                <a:gd name="T27" fmla="*/ 4 h 148"/>
                <a:gd name="T28" fmla="*/ 10 w 38"/>
                <a:gd name="T29" fmla="*/ 1 h 148"/>
                <a:gd name="T30" fmla="*/ 15 w 38"/>
                <a:gd name="T31" fmla="*/ 1 h 148"/>
                <a:gd name="T32" fmla="*/ 19 w 38"/>
                <a:gd name="T33" fmla="*/ 0 h 148"/>
                <a:gd name="T34" fmla="*/ 23 w 38"/>
                <a:gd name="T35" fmla="*/ 1 h 148"/>
                <a:gd name="T36" fmla="*/ 26 w 38"/>
                <a:gd name="T37" fmla="*/ 1 h 148"/>
                <a:gd name="T38" fmla="*/ 31 w 38"/>
                <a:gd name="T39" fmla="*/ 4 h 148"/>
                <a:gd name="T40" fmla="*/ 32 w 38"/>
                <a:gd name="T41" fmla="*/ 6 h 148"/>
                <a:gd name="T42" fmla="*/ 35 w 38"/>
                <a:gd name="T43" fmla="*/ 9 h 148"/>
                <a:gd name="T44" fmla="*/ 36 w 38"/>
                <a:gd name="T45" fmla="*/ 11 h 148"/>
                <a:gd name="T46" fmla="*/ 38 w 38"/>
                <a:gd name="T47" fmla="*/ 16 h 148"/>
                <a:gd name="T48" fmla="*/ 38 w 38"/>
                <a:gd name="T49" fmla="*/ 20 h 148"/>
                <a:gd name="T50" fmla="*/ 38 w 38"/>
                <a:gd name="T51" fmla="*/ 23 h 148"/>
                <a:gd name="T52" fmla="*/ 36 w 38"/>
                <a:gd name="T53" fmla="*/ 27 h 148"/>
                <a:gd name="T54" fmla="*/ 35 w 38"/>
                <a:gd name="T55" fmla="*/ 30 h 148"/>
                <a:gd name="T56" fmla="*/ 32 w 38"/>
                <a:gd name="T57" fmla="*/ 33 h 148"/>
                <a:gd name="T58" fmla="*/ 31 w 38"/>
                <a:gd name="T59" fmla="*/ 36 h 148"/>
                <a:gd name="T60" fmla="*/ 26 w 38"/>
                <a:gd name="T61" fmla="*/ 37 h 148"/>
                <a:gd name="T62" fmla="*/ 23 w 38"/>
                <a:gd name="T63" fmla="*/ 39 h 148"/>
                <a:gd name="T64" fmla="*/ 19 w 38"/>
                <a:gd name="T65" fmla="*/ 39 h 148"/>
                <a:gd name="T66" fmla="*/ 2 w 38"/>
                <a:gd name="T67" fmla="*/ 46 h 148"/>
                <a:gd name="T68" fmla="*/ 2 w 38"/>
                <a:gd name="T69" fmla="*/ 46 h 148"/>
                <a:gd name="T70" fmla="*/ 36 w 38"/>
                <a:gd name="T71" fmla="*/ 46 h 148"/>
                <a:gd name="T72" fmla="*/ 36 w 38"/>
                <a:gd name="T73" fmla="*/ 148 h 148"/>
                <a:gd name="T74" fmla="*/ 2 w 38"/>
                <a:gd name="T75" fmla="*/ 148 h 148"/>
                <a:gd name="T76" fmla="*/ 2 w 38"/>
                <a:gd name="T77" fmla="*/ 46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" h="148">
                  <a:moveTo>
                    <a:pt x="19" y="39"/>
                  </a:moveTo>
                  <a:lnTo>
                    <a:pt x="15" y="39"/>
                  </a:lnTo>
                  <a:lnTo>
                    <a:pt x="10" y="37"/>
                  </a:lnTo>
                  <a:lnTo>
                    <a:pt x="8" y="36"/>
                  </a:lnTo>
                  <a:lnTo>
                    <a:pt x="5" y="33"/>
                  </a:lnTo>
                  <a:lnTo>
                    <a:pt x="3" y="30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1"/>
                  </a:lnTo>
                  <a:lnTo>
                    <a:pt x="3" y="9"/>
                  </a:lnTo>
                  <a:lnTo>
                    <a:pt x="5" y="6"/>
                  </a:lnTo>
                  <a:lnTo>
                    <a:pt x="8" y="4"/>
                  </a:lnTo>
                  <a:lnTo>
                    <a:pt x="10" y="1"/>
                  </a:lnTo>
                  <a:lnTo>
                    <a:pt x="15" y="1"/>
                  </a:lnTo>
                  <a:lnTo>
                    <a:pt x="19" y="0"/>
                  </a:lnTo>
                  <a:lnTo>
                    <a:pt x="23" y="1"/>
                  </a:lnTo>
                  <a:lnTo>
                    <a:pt x="26" y="1"/>
                  </a:lnTo>
                  <a:lnTo>
                    <a:pt x="31" y="4"/>
                  </a:lnTo>
                  <a:lnTo>
                    <a:pt x="32" y="6"/>
                  </a:lnTo>
                  <a:lnTo>
                    <a:pt x="35" y="9"/>
                  </a:lnTo>
                  <a:lnTo>
                    <a:pt x="36" y="11"/>
                  </a:lnTo>
                  <a:lnTo>
                    <a:pt x="38" y="16"/>
                  </a:lnTo>
                  <a:lnTo>
                    <a:pt x="38" y="20"/>
                  </a:lnTo>
                  <a:lnTo>
                    <a:pt x="38" y="23"/>
                  </a:lnTo>
                  <a:lnTo>
                    <a:pt x="36" y="27"/>
                  </a:lnTo>
                  <a:lnTo>
                    <a:pt x="35" y="30"/>
                  </a:lnTo>
                  <a:lnTo>
                    <a:pt x="32" y="33"/>
                  </a:lnTo>
                  <a:lnTo>
                    <a:pt x="31" y="36"/>
                  </a:lnTo>
                  <a:lnTo>
                    <a:pt x="26" y="37"/>
                  </a:lnTo>
                  <a:lnTo>
                    <a:pt x="23" y="39"/>
                  </a:lnTo>
                  <a:lnTo>
                    <a:pt x="19" y="39"/>
                  </a:lnTo>
                  <a:close/>
                  <a:moveTo>
                    <a:pt x="2" y="46"/>
                  </a:moveTo>
                  <a:lnTo>
                    <a:pt x="2" y="46"/>
                  </a:lnTo>
                  <a:lnTo>
                    <a:pt x="36" y="46"/>
                  </a:lnTo>
                  <a:lnTo>
                    <a:pt x="36" y="148"/>
                  </a:lnTo>
                  <a:lnTo>
                    <a:pt x="2" y="148"/>
                  </a:lnTo>
                  <a:lnTo>
                    <a:pt x="2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6" name="Freeform 50">
              <a:extLst>
                <a:ext uri="{FF2B5EF4-FFF2-40B4-BE49-F238E27FC236}">
                  <a16:creationId xmlns:a16="http://schemas.microsoft.com/office/drawing/2014/main" id="{0BC003C0-7CEB-4EEE-86DF-050663C2D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23675" y="4230688"/>
              <a:ext cx="38100" cy="68263"/>
            </a:xfrm>
            <a:custGeom>
              <a:avLst/>
              <a:gdLst>
                <a:gd name="T0" fmla="*/ 50 w 73"/>
                <a:gd name="T1" fmla="*/ 47 h 129"/>
                <a:gd name="T2" fmla="*/ 50 w 73"/>
                <a:gd name="T3" fmla="*/ 90 h 129"/>
                <a:gd name="T4" fmla="*/ 50 w 73"/>
                <a:gd name="T5" fmla="*/ 97 h 129"/>
                <a:gd name="T6" fmla="*/ 53 w 73"/>
                <a:gd name="T7" fmla="*/ 102 h 129"/>
                <a:gd name="T8" fmla="*/ 56 w 73"/>
                <a:gd name="T9" fmla="*/ 104 h 129"/>
                <a:gd name="T10" fmla="*/ 62 w 73"/>
                <a:gd name="T11" fmla="*/ 106 h 129"/>
                <a:gd name="T12" fmla="*/ 66 w 73"/>
                <a:gd name="T13" fmla="*/ 106 h 129"/>
                <a:gd name="T14" fmla="*/ 73 w 73"/>
                <a:gd name="T15" fmla="*/ 104 h 129"/>
                <a:gd name="T16" fmla="*/ 73 w 73"/>
                <a:gd name="T17" fmla="*/ 124 h 129"/>
                <a:gd name="T18" fmla="*/ 60 w 73"/>
                <a:gd name="T19" fmla="*/ 127 h 129"/>
                <a:gd name="T20" fmla="*/ 49 w 73"/>
                <a:gd name="T21" fmla="*/ 129 h 129"/>
                <a:gd name="T22" fmla="*/ 42 w 73"/>
                <a:gd name="T23" fmla="*/ 127 h 129"/>
                <a:gd name="T24" fmla="*/ 36 w 73"/>
                <a:gd name="T25" fmla="*/ 126 h 129"/>
                <a:gd name="T26" fmla="*/ 30 w 73"/>
                <a:gd name="T27" fmla="*/ 124 h 129"/>
                <a:gd name="T28" fmla="*/ 24 w 73"/>
                <a:gd name="T29" fmla="*/ 120 h 129"/>
                <a:gd name="T30" fmla="*/ 21 w 73"/>
                <a:gd name="T31" fmla="*/ 116 h 129"/>
                <a:gd name="T32" fmla="*/ 17 w 73"/>
                <a:gd name="T33" fmla="*/ 110 h 129"/>
                <a:gd name="T34" fmla="*/ 16 w 73"/>
                <a:gd name="T35" fmla="*/ 103 h 129"/>
                <a:gd name="T36" fmla="*/ 16 w 73"/>
                <a:gd name="T37" fmla="*/ 94 h 129"/>
                <a:gd name="T38" fmla="*/ 16 w 73"/>
                <a:gd name="T39" fmla="*/ 47 h 129"/>
                <a:gd name="T40" fmla="*/ 0 w 73"/>
                <a:gd name="T41" fmla="*/ 47 h 129"/>
                <a:gd name="T42" fmla="*/ 0 w 73"/>
                <a:gd name="T43" fmla="*/ 24 h 129"/>
                <a:gd name="T44" fmla="*/ 16 w 73"/>
                <a:gd name="T45" fmla="*/ 24 h 129"/>
                <a:gd name="T46" fmla="*/ 16 w 73"/>
                <a:gd name="T47" fmla="*/ 0 h 129"/>
                <a:gd name="T48" fmla="*/ 50 w 73"/>
                <a:gd name="T49" fmla="*/ 0 h 129"/>
                <a:gd name="T50" fmla="*/ 50 w 73"/>
                <a:gd name="T51" fmla="*/ 24 h 129"/>
                <a:gd name="T52" fmla="*/ 73 w 73"/>
                <a:gd name="T53" fmla="*/ 24 h 129"/>
                <a:gd name="T54" fmla="*/ 73 w 73"/>
                <a:gd name="T55" fmla="*/ 47 h 129"/>
                <a:gd name="T56" fmla="*/ 50 w 73"/>
                <a:gd name="T57" fmla="*/ 4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" h="129">
                  <a:moveTo>
                    <a:pt x="50" y="47"/>
                  </a:moveTo>
                  <a:lnTo>
                    <a:pt x="50" y="90"/>
                  </a:lnTo>
                  <a:lnTo>
                    <a:pt x="50" y="97"/>
                  </a:lnTo>
                  <a:lnTo>
                    <a:pt x="53" y="102"/>
                  </a:lnTo>
                  <a:lnTo>
                    <a:pt x="56" y="104"/>
                  </a:lnTo>
                  <a:lnTo>
                    <a:pt x="62" y="106"/>
                  </a:lnTo>
                  <a:lnTo>
                    <a:pt x="66" y="106"/>
                  </a:lnTo>
                  <a:lnTo>
                    <a:pt x="73" y="104"/>
                  </a:lnTo>
                  <a:lnTo>
                    <a:pt x="73" y="124"/>
                  </a:lnTo>
                  <a:lnTo>
                    <a:pt x="60" y="127"/>
                  </a:lnTo>
                  <a:lnTo>
                    <a:pt x="49" y="129"/>
                  </a:lnTo>
                  <a:lnTo>
                    <a:pt x="42" y="127"/>
                  </a:lnTo>
                  <a:lnTo>
                    <a:pt x="36" y="126"/>
                  </a:lnTo>
                  <a:lnTo>
                    <a:pt x="30" y="124"/>
                  </a:lnTo>
                  <a:lnTo>
                    <a:pt x="24" y="120"/>
                  </a:lnTo>
                  <a:lnTo>
                    <a:pt x="21" y="116"/>
                  </a:lnTo>
                  <a:lnTo>
                    <a:pt x="17" y="110"/>
                  </a:lnTo>
                  <a:lnTo>
                    <a:pt x="16" y="103"/>
                  </a:lnTo>
                  <a:lnTo>
                    <a:pt x="16" y="94"/>
                  </a:lnTo>
                  <a:lnTo>
                    <a:pt x="16" y="47"/>
                  </a:lnTo>
                  <a:lnTo>
                    <a:pt x="0" y="47"/>
                  </a:lnTo>
                  <a:lnTo>
                    <a:pt x="0" y="24"/>
                  </a:lnTo>
                  <a:lnTo>
                    <a:pt x="16" y="24"/>
                  </a:lnTo>
                  <a:lnTo>
                    <a:pt x="16" y="0"/>
                  </a:lnTo>
                  <a:lnTo>
                    <a:pt x="50" y="0"/>
                  </a:lnTo>
                  <a:lnTo>
                    <a:pt x="50" y="24"/>
                  </a:lnTo>
                  <a:lnTo>
                    <a:pt x="73" y="24"/>
                  </a:lnTo>
                  <a:lnTo>
                    <a:pt x="73" y="47"/>
                  </a:lnTo>
                  <a:lnTo>
                    <a:pt x="50" y="47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7" name="Freeform 51">
              <a:extLst>
                <a:ext uri="{FF2B5EF4-FFF2-40B4-BE49-F238E27FC236}">
                  <a16:creationId xmlns:a16="http://schemas.microsoft.com/office/drawing/2014/main" id="{60650915-FC84-12C3-2893-EE34D34C4A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69713" y="4241800"/>
              <a:ext cx="49213" cy="57150"/>
            </a:xfrm>
            <a:custGeom>
              <a:avLst/>
              <a:gdLst>
                <a:gd name="T0" fmla="*/ 94 w 95"/>
                <a:gd name="T1" fmla="*/ 73 h 108"/>
                <a:gd name="T2" fmla="*/ 92 w 95"/>
                <a:gd name="T3" fmla="*/ 81 h 108"/>
                <a:gd name="T4" fmla="*/ 89 w 95"/>
                <a:gd name="T5" fmla="*/ 88 h 108"/>
                <a:gd name="T6" fmla="*/ 85 w 95"/>
                <a:gd name="T7" fmla="*/ 93 h 108"/>
                <a:gd name="T8" fmla="*/ 79 w 95"/>
                <a:gd name="T9" fmla="*/ 98 h 108"/>
                <a:gd name="T10" fmla="*/ 72 w 95"/>
                <a:gd name="T11" fmla="*/ 102 h 108"/>
                <a:gd name="T12" fmla="*/ 65 w 95"/>
                <a:gd name="T13" fmla="*/ 105 h 108"/>
                <a:gd name="T14" fmla="*/ 58 w 95"/>
                <a:gd name="T15" fmla="*/ 106 h 108"/>
                <a:gd name="T16" fmla="*/ 48 w 95"/>
                <a:gd name="T17" fmla="*/ 108 h 108"/>
                <a:gd name="T18" fmla="*/ 36 w 95"/>
                <a:gd name="T19" fmla="*/ 106 h 108"/>
                <a:gd name="T20" fmla="*/ 26 w 95"/>
                <a:gd name="T21" fmla="*/ 103 h 108"/>
                <a:gd name="T22" fmla="*/ 19 w 95"/>
                <a:gd name="T23" fmla="*/ 99 h 108"/>
                <a:gd name="T24" fmla="*/ 12 w 95"/>
                <a:gd name="T25" fmla="*/ 93 h 108"/>
                <a:gd name="T26" fmla="*/ 6 w 95"/>
                <a:gd name="T27" fmla="*/ 85 h 108"/>
                <a:gd name="T28" fmla="*/ 3 w 95"/>
                <a:gd name="T29" fmla="*/ 76 h 108"/>
                <a:gd name="T30" fmla="*/ 0 w 95"/>
                <a:gd name="T31" fmla="*/ 66 h 108"/>
                <a:gd name="T32" fmla="*/ 0 w 95"/>
                <a:gd name="T33" fmla="*/ 55 h 108"/>
                <a:gd name="T34" fmla="*/ 0 w 95"/>
                <a:gd name="T35" fmla="*/ 42 h 108"/>
                <a:gd name="T36" fmla="*/ 3 w 95"/>
                <a:gd name="T37" fmla="*/ 32 h 108"/>
                <a:gd name="T38" fmla="*/ 7 w 95"/>
                <a:gd name="T39" fmla="*/ 23 h 108"/>
                <a:gd name="T40" fmla="*/ 13 w 95"/>
                <a:gd name="T41" fmla="*/ 14 h 108"/>
                <a:gd name="T42" fmla="*/ 20 w 95"/>
                <a:gd name="T43" fmla="*/ 9 h 108"/>
                <a:gd name="T44" fmla="*/ 29 w 95"/>
                <a:gd name="T45" fmla="*/ 4 h 108"/>
                <a:gd name="T46" fmla="*/ 38 w 95"/>
                <a:gd name="T47" fmla="*/ 2 h 108"/>
                <a:gd name="T48" fmla="*/ 48 w 95"/>
                <a:gd name="T49" fmla="*/ 0 h 108"/>
                <a:gd name="T50" fmla="*/ 58 w 95"/>
                <a:gd name="T51" fmla="*/ 2 h 108"/>
                <a:gd name="T52" fmla="*/ 68 w 95"/>
                <a:gd name="T53" fmla="*/ 4 h 108"/>
                <a:gd name="T54" fmla="*/ 76 w 95"/>
                <a:gd name="T55" fmla="*/ 9 h 108"/>
                <a:gd name="T56" fmla="*/ 84 w 95"/>
                <a:gd name="T57" fmla="*/ 14 h 108"/>
                <a:gd name="T58" fmla="*/ 88 w 95"/>
                <a:gd name="T59" fmla="*/ 23 h 108"/>
                <a:gd name="T60" fmla="*/ 92 w 95"/>
                <a:gd name="T61" fmla="*/ 33 h 108"/>
                <a:gd name="T62" fmla="*/ 95 w 95"/>
                <a:gd name="T63" fmla="*/ 46 h 108"/>
                <a:gd name="T64" fmla="*/ 94 w 95"/>
                <a:gd name="T65" fmla="*/ 62 h 108"/>
                <a:gd name="T66" fmla="*/ 33 w 95"/>
                <a:gd name="T67" fmla="*/ 62 h 108"/>
                <a:gd name="T68" fmla="*/ 35 w 95"/>
                <a:gd name="T69" fmla="*/ 73 h 108"/>
                <a:gd name="T70" fmla="*/ 38 w 95"/>
                <a:gd name="T71" fmla="*/ 81 h 108"/>
                <a:gd name="T72" fmla="*/ 39 w 95"/>
                <a:gd name="T73" fmla="*/ 82 h 108"/>
                <a:gd name="T74" fmla="*/ 42 w 95"/>
                <a:gd name="T75" fmla="*/ 83 h 108"/>
                <a:gd name="T76" fmla="*/ 45 w 95"/>
                <a:gd name="T77" fmla="*/ 85 h 108"/>
                <a:gd name="T78" fmla="*/ 48 w 95"/>
                <a:gd name="T79" fmla="*/ 85 h 108"/>
                <a:gd name="T80" fmla="*/ 53 w 95"/>
                <a:gd name="T81" fmla="*/ 85 h 108"/>
                <a:gd name="T82" fmla="*/ 56 w 95"/>
                <a:gd name="T83" fmla="*/ 82 h 108"/>
                <a:gd name="T84" fmla="*/ 59 w 95"/>
                <a:gd name="T85" fmla="*/ 79 h 108"/>
                <a:gd name="T86" fmla="*/ 61 w 95"/>
                <a:gd name="T87" fmla="*/ 73 h 108"/>
                <a:gd name="T88" fmla="*/ 94 w 95"/>
                <a:gd name="T89" fmla="*/ 73 h 108"/>
                <a:gd name="T90" fmla="*/ 33 w 95"/>
                <a:gd name="T91" fmla="*/ 43 h 108"/>
                <a:gd name="T92" fmla="*/ 33 w 95"/>
                <a:gd name="T93" fmla="*/ 43 h 108"/>
                <a:gd name="T94" fmla="*/ 62 w 95"/>
                <a:gd name="T95" fmla="*/ 43 h 108"/>
                <a:gd name="T96" fmla="*/ 61 w 95"/>
                <a:gd name="T97" fmla="*/ 33 h 108"/>
                <a:gd name="T98" fmla="*/ 58 w 95"/>
                <a:gd name="T99" fmla="*/ 26 h 108"/>
                <a:gd name="T100" fmla="*/ 53 w 95"/>
                <a:gd name="T101" fmla="*/ 23 h 108"/>
                <a:gd name="T102" fmla="*/ 48 w 95"/>
                <a:gd name="T103" fmla="*/ 22 h 108"/>
                <a:gd name="T104" fmla="*/ 42 w 95"/>
                <a:gd name="T105" fmla="*/ 23 h 108"/>
                <a:gd name="T106" fmla="*/ 38 w 95"/>
                <a:gd name="T107" fmla="*/ 26 h 108"/>
                <a:gd name="T108" fmla="*/ 35 w 95"/>
                <a:gd name="T109" fmla="*/ 33 h 108"/>
                <a:gd name="T110" fmla="*/ 33 w 95"/>
                <a:gd name="T111" fmla="*/ 4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08">
                  <a:moveTo>
                    <a:pt x="94" y="73"/>
                  </a:moveTo>
                  <a:lnTo>
                    <a:pt x="92" y="81"/>
                  </a:lnTo>
                  <a:lnTo>
                    <a:pt x="89" y="88"/>
                  </a:lnTo>
                  <a:lnTo>
                    <a:pt x="85" y="93"/>
                  </a:lnTo>
                  <a:lnTo>
                    <a:pt x="79" y="98"/>
                  </a:lnTo>
                  <a:lnTo>
                    <a:pt x="72" y="102"/>
                  </a:lnTo>
                  <a:lnTo>
                    <a:pt x="65" y="105"/>
                  </a:lnTo>
                  <a:lnTo>
                    <a:pt x="58" y="106"/>
                  </a:lnTo>
                  <a:lnTo>
                    <a:pt x="48" y="108"/>
                  </a:lnTo>
                  <a:lnTo>
                    <a:pt x="36" y="106"/>
                  </a:lnTo>
                  <a:lnTo>
                    <a:pt x="26" y="103"/>
                  </a:lnTo>
                  <a:lnTo>
                    <a:pt x="19" y="99"/>
                  </a:lnTo>
                  <a:lnTo>
                    <a:pt x="12" y="93"/>
                  </a:lnTo>
                  <a:lnTo>
                    <a:pt x="6" y="85"/>
                  </a:lnTo>
                  <a:lnTo>
                    <a:pt x="3" y="76"/>
                  </a:lnTo>
                  <a:lnTo>
                    <a:pt x="0" y="66"/>
                  </a:lnTo>
                  <a:lnTo>
                    <a:pt x="0" y="55"/>
                  </a:lnTo>
                  <a:lnTo>
                    <a:pt x="0" y="42"/>
                  </a:lnTo>
                  <a:lnTo>
                    <a:pt x="3" y="32"/>
                  </a:lnTo>
                  <a:lnTo>
                    <a:pt x="7" y="23"/>
                  </a:lnTo>
                  <a:lnTo>
                    <a:pt x="13" y="14"/>
                  </a:lnTo>
                  <a:lnTo>
                    <a:pt x="20" y="9"/>
                  </a:lnTo>
                  <a:lnTo>
                    <a:pt x="29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6" y="9"/>
                  </a:lnTo>
                  <a:lnTo>
                    <a:pt x="84" y="14"/>
                  </a:lnTo>
                  <a:lnTo>
                    <a:pt x="88" y="23"/>
                  </a:lnTo>
                  <a:lnTo>
                    <a:pt x="92" y="33"/>
                  </a:lnTo>
                  <a:lnTo>
                    <a:pt x="95" y="46"/>
                  </a:lnTo>
                  <a:lnTo>
                    <a:pt x="94" y="62"/>
                  </a:lnTo>
                  <a:lnTo>
                    <a:pt x="33" y="62"/>
                  </a:lnTo>
                  <a:lnTo>
                    <a:pt x="35" y="73"/>
                  </a:lnTo>
                  <a:lnTo>
                    <a:pt x="38" y="81"/>
                  </a:lnTo>
                  <a:lnTo>
                    <a:pt x="39" y="82"/>
                  </a:lnTo>
                  <a:lnTo>
                    <a:pt x="42" y="83"/>
                  </a:lnTo>
                  <a:lnTo>
                    <a:pt x="45" y="85"/>
                  </a:lnTo>
                  <a:lnTo>
                    <a:pt x="48" y="85"/>
                  </a:lnTo>
                  <a:lnTo>
                    <a:pt x="53" y="85"/>
                  </a:lnTo>
                  <a:lnTo>
                    <a:pt x="56" y="82"/>
                  </a:lnTo>
                  <a:lnTo>
                    <a:pt x="59" y="79"/>
                  </a:lnTo>
                  <a:lnTo>
                    <a:pt x="61" y="73"/>
                  </a:lnTo>
                  <a:lnTo>
                    <a:pt x="94" y="73"/>
                  </a:lnTo>
                  <a:close/>
                  <a:moveTo>
                    <a:pt x="33" y="43"/>
                  </a:moveTo>
                  <a:lnTo>
                    <a:pt x="33" y="43"/>
                  </a:lnTo>
                  <a:lnTo>
                    <a:pt x="62" y="43"/>
                  </a:lnTo>
                  <a:lnTo>
                    <a:pt x="61" y="33"/>
                  </a:lnTo>
                  <a:lnTo>
                    <a:pt x="58" y="26"/>
                  </a:lnTo>
                  <a:lnTo>
                    <a:pt x="53" y="23"/>
                  </a:lnTo>
                  <a:lnTo>
                    <a:pt x="48" y="22"/>
                  </a:lnTo>
                  <a:lnTo>
                    <a:pt x="42" y="23"/>
                  </a:lnTo>
                  <a:lnTo>
                    <a:pt x="38" y="26"/>
                  </a:lnTo>
                  <a:lnTo>
                    <a:pt x="35" y="33"/>
                  </a:lnTo>
                  <a:lnTo>
                    <a:pt x="33" y="4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8" name="Rectangle 52">
              <a:extLst>
                <a:ext uri="{FF2B5EF4-FFF2-40B4-BE49-F238E27FC236}">
                  <a16:creationId xmlns:a16="http://schemas.microsoft.com/office/drawing/2014/main" id="{9EBB6F33-C6E8-8117-A10F-1868C7198E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0038" y="4221163"/>
              <a:ext cx="17463" cy="76200"/>
            </a:xfrm>
            <a:prstGeom prst="rect">
              <a:avLst/>
            </a:pr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49" name="Freeform 53">
              <a:extLst>
                <a:ext uri="{FF2B5EF4-FFF2-40B4-BE49-F238E27FC236}">
                  <a16:creationId xmlns:a16="http://schemas.microsoft.com/office/drawing/2014/main" id="{C974CA2C-91C6-05C9-CF0D-F48D6F80E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60200" y="4217988"/>
              <a:ext cx="50800" cy="80963"/>
            </a:xfrm>
            <a:custGeom>
              <a:avLst/>
              <a:gdLst>
                <a:gd name="T0" fmla="*/ 96 w 96"/>
                <a:gd name="T1" fmla="*/ 46 h 151"/>
                <a:gd name="T2" fmla="*/ 61 w 96"/>
                <a:gd name="T3" fmla="*/ 148 h 151"/>
                <a:gd name="T4" fmla="*/ 53 w 96"/>
                <a:gd name="T5" fmla="*/ 141 h 151"/>
                <a:gd name="T6" fmla="*/ 37 w 96"/>
                <a:gd name="T7" fmla="*/ 149 h 151"/>
                <a:gd name="T8" fmla="*/ 23 w 96"/>
                <a:gd name="T9" fmla="*/ 149 h 151"/>
                <a:gd name="T10" fmla="*/ 12 w 96"/>
                <a:gd name="T11" fmla="*/ 146 h 151"/>
                <a:gd name="T12" fmla="*/ 5 w 96"/>
                <a:gd name="T13" fmla="*/ 139 h 151"/>
                <a:gd name="T14" fmla="*/ 0 w 96"/>
                <a:gd name="T15" fmla="*/ 126 h 151"/>
                <a:gd name="T16" fmla="*/ 0 w 96"/>
                <a:gd name="T17" fmla="*/ 46 h 151"/>
                <a:gd name="T18" fmla="*/ 34 w 96"/>
                <a:gd name="T19" fmla="*/ 111 h 151"/>
                <a:gd name="T20" fmla="*/ 37 w 96"/>
                <a:gd name="T21" fmla="*/ 121 h 151"/>
                <a:gd name="T22" fmla="*/ 46 w 96"/>
                <a:gd name="T23" fmla="*/ 124 h 151"/>
                <a:gd name="T24" fmla="*/ 61 w 96"/>
                <a:gd name="T25" fmla="*/ 116 h 151"/>
                <a:gd name="T26" fmla="*/ 47 w 96"/>
                <a:gd name="T27" fmla="*/ 39 h 151"/>
                <a:gd name="T28" fmla="*/ 43 w 96"/>
                <a:gd name="T29" fmla="*/ 39 h 151"/>
                <a:gd name="T30" fmla="*/ 33 w 96"/>
                <a:gd name="T31" fmla="*/ 36 h 151"/>
                <a:gd name="T32" fmla="*/ 25 w 96"/>
                <a:gd name="T33" fmla="*/ 32 h 151"/>
                <a:gd name="T34" fmla="*/ 21 w 96"/>
                <a:gd name="T35" fmla="*/ 24 h 151"/>
                <a:gd name="T36" fmla="*/ 21 w 96"/>
                <a:gd name="T37" fmla="*/ 16 h 151"/>
                <a:gd name="T38" fmla="*/ 25 w 96"/>
                <a:gd name="T39" fmla="*/ 9 h 151"/>
                <a:gd name="T40" fmla="*/ 33 w 96"/>
                <a:gd name="T41" fmla="*/ 3 h 151"/>
                <a:gd name="T42" fmla="*/ 43 w 96"/>
                <a:gd name="T43" fmla="*/ 0 h 151"/>
                <a:gd name="T44" fmla="*/ 53 w 96"/>
                <a:gd name="T45" fmla="*/ 0 h 151"/>
                <a:gd name="T46" fmla="*/ 63 w 96"/>
                <a:gd name="T47" fmla="*/ 3 h 151"/>
                <a:gd name="T48" fmla="*/ 70 w 96"/>
                <a:gd name="T49" fmla="*/ 9 h 151"/>
                <a:gd name="T50" fmla="*/ 74 w 96"/>
                <a:gd name="T51" fmla="*/ 16 h 151"/>
                <a:gd name="T52" fmla="*/ 74 w 96"/>
                <a:gd name="T53" fmla="*/ 24 h 151"/>
                <a:gd name="T54" fmla="*/ 70 w 96"/>
                <a:gd name="T55" fmla="*/ 32 h 151"/>
                <a:gd name="T56" fmla="*/ 63 w 96"/>
                <a:gd name="T57" fmla="*/ 36 h 151"/>
                <a:gd name="T58" fmla="*/ 53 w 96"/>
                <a:gd name="T59" fmla="*/ 39 h 151"/>
                <a:gd name="T60" fmla="*/ 47 w 96"/>
                <a:gd name="T61" fmla="*/ 13 h 151"/>
                <a:gd name="T62" fmla="*/ 44 w 96"/>
                <a:gd name="T63" fmla="*/ 13 h 151"/>
                <a:gd name="T64" fmla="*/ 40 w 96"/>
                <a:gd name="T65" fmla="*/ 17 h 151"/>
                <a:gd name="T66" fmla="*/ 40 w 96"/>
                <a:gd name="T67" fmla="*/ 23 h 151"/>
                <a:gd name="T68" fmla="*/ 44 w 96"/>
                <a:gd name="T69" fmla="*/ 26 h 151"/>
                <a:gd name="T70" fmla="*/ 51 w 96"/>
                <a:gd name="T71" fmla="*/ 26 h 151"/>
                <a:gd name="T72" fmla="*/ 56 w 96"/>
                <a:gd name="T73" fmla="*/ 23 h 151"/>
                <a:gd name="T74" fmla="*/ 56 w 96"/>
                <a:gd name="T75" fmla="*/ 17 h 151"/>
                <a:gd name="T76" fmla="*/ 51 w 96"/>
                <a:gd name="T77" fmla="*/ 1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151">
                  <a:moveTo>
                    <a:pt x="61" y="46"/>
                  </a:moveTo>
                  <a:lnTo>
                    <a:pt x="96" y="46"/>
                  </a:lnTo>
                  <a:lnTo>
                    <a:pt x="96" y="148"/>
                  </a:lnTo>
                  <a:lnTo>
                    <a:pt x="61" y="148"/>
                  </a:lnTo>
                  <a:lnTo>
                    <a:pt x="61" y="134"/>
                  </a:lnTo>
                  <a:lnTo>
                    <a:pt x="53" y="141"/>
                  </a:lnTo>
                  <a:lnTo>
                    <a:pt x="46" y="146"/>
                  </a:lnTo>
                  <a:lnTo>
                    <a:pt x="37" y="149"/>
                  </a:lnTo>
                  <a:lnTo>
                    <a:pt x="27" y="151"/>
                  </a:lnTo>
                  <a:lnTo>
                    <a:pt x="23" y="149"/>
                  </a:lnTo>
                  <a:lnTo>
                    <a:pt x="17" y="149"/>
                  </a:lnTo>
                  <a:lnTo>
                    <a:pt x="12" y="146"/>
                  </a:lnTo>
                  <a:lnTo>
                    <a:pt x="8" y="144"/>
                  </a:lnTo>
                  <a:lnTo>
                    <a:pt x="5" y="139"/>
                  </a:lnTo>
                  <a:lnTo>
                    <a:pt x="2" y="134"/>
                  </a:lnTo>
                  <a:lnTo>
                    <a:pt x="0" y="126"/>
                  </a:lnTo>
                  <a:lnTo>
                    <a:pt x="0" y="116"/>
                  </a:lnTo>
                  <a:lnTo>
                    <a:pt x="0" y="46"/>
                  </a:lnTo>
                  <a:lnTo>
                    <a:pt x="34" y="46"/>
                  </a:lnTo>
                  <a:lnTo>
                    <a:pt x="34" y="111"/>
                  </a:lnTo>
                  <a:lnTo>
                    <a:pt x="36" y="116"/>
                  </a:lnTo>
                  <a:lnTo>
                    <a:pt x="37" y="121"/>
                  </a:lnTo>
                  <a:lnTo>
                    <a:pt x="41" y="122"/>
                  </a:lnTo>
                  <a:lnTo>
                    <a:pt x="46" y="124"/>
                  </a:lnTo>
                  <a:lnTo>
                    <a:pt x="54" y="122"/>
                  </a:lnTo>
                  <a:lnTo>
                    <a:pt x="61" y="116"/>
                  </a:lnTo>
                  <a:lnTo>
                    <a:pt x="61" y="46"/>
                  </a:lnTo>
                  <a:close/>
                  <a:moveTo>
                    <a:pt x="47" y="39"/>
                  </a:moveTo>
                  <a:lnTo>
                    <a:pt x="47" y="39"/>
                  </a:lnTo>
                  <a:lnTo>
                    <a:pt x="43" y="39"/>
                  </a:lnTo>
                  <a:lnTo>
                    <a:pt x="37" y="37"/>
                  </a:lnTo>
                  <a:lnTo>
                    <a:pt x="33" y="36"/>
                  </a:lnTo>
                  <a:lnTo>
                    <a:pt x="28" y="34"/>
                  </a:lnTo>
                  <a:lnTo>
                    <a:pt x="25" y="32"/>
                  </a:lnTo>
                  <a:lnTo>
                    <a:pt x="23" y="27"/>
                  </a:lnTo>
                  <a:lnTo>
                    <a:pt x="21" y="24"/>
                  </a:lnTo>
                  <a:lnTo>
                    <a:pt x="21" y="20"/>
                  </a:lnTo>
                  <a:lnTo>
                    <a:pt x="21" y="16"/>
                  </a:lnTo>
                  <a:lnTo>
                    <a:pt x="23" y="11"/>
                  </a:lnTo>
                  <a:lnTo>
                    <a:pt x="25" y="9"/>
                  </a:lnTo>
                  <a:lnTo>
                    <a:pt x="28" y="6"/>
                  </a:lnTo>
                  <a:lnTo>
                    <a:pt x="33" y="3"/>
                  </a:lnTo>
                  <a:lnTo>
                    <a:pt x="37" y="1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3" y="0"/>
                  </a:lnTo>
                  <a:lnTo>
                    <a:pt x="59" y="1"/>
                  </a:lnTo>
                  <a:lnTo>
                    <a:pt x="63" y="3"/>
                  </a:lnTo>
                  <a:lnTo>
                    <a:pt x="67" y="6"/>
                  </a:lnTo>
                  <a:lnTo>
                    <a:pt x="70" y="9"/>
                  </a:lnTo>
                  <a:lnTo>
                    <a:pt x="73" y="11"/>
                  </a:lnTo>
                  <a:lnTo>
                    <a:pt x="74" y="16"/>
                  </a:lnTo>
                  <a:lnTo>
                    <a:pt x="74" y="20"/>
                  </a:lnTo>
                  <a:lnTo>
                    <a:pt x="74" y="24"/>
                  </a:lnTo>
                  <a:lnTo>
                    <a:pt x="73" y="27"/>
                  </a:lnTo>
                  <a:lnTo>
                    <a:pt x="70" y="32"/>
                  </a:lnTo>
                  <a:lnTo>
                    <a:pt x="67" y="34"/>
                  </a:lnTo>
                  <a:lnTo>
                    <a:pt x="63" y="36"/>
                  </a:lnTo>
                  <a:lnTo>
                    <a:pt x="59" y="37"/>
                  </a:lnTo>
                  <a:lnTo>
                    <a:pt x="53" y="39"/>
                  </a:lnTo>
                  <a:lnTo>
                    <a:pt x="47" y="39"/>
                  </a:lnTo>
                  <a:close/>
                  <a:moveTo>
                    <a:pt x="47" y="13"/>
                  </a:moveTo>
                  <a:lnTo>
                    <a:pt x="47" y="13"/>
                  </a:lnTo>
                  <a:lnTo>
                    <a:pt x="44" y="13"/>
                  </a:lnTo>
                  <a:lnTo>
                    <a:pt x="41" y="14"/>
                  </a:lnTo>
                  <a:lnTo>
                    <a:pt x="40" y="17"/>
                  </a:lnTo>
                  <a:lnTo>
                    <a:pt x="40" y="20"/>
                  </a:lnTo>
                  <a:lnTo>
                    <a:pt x="40" y="23"/>
                  </a:lnTo>
                  <a:lnTo>
                    <a:pt x="41" y="24"/>
                  </a:lnTo>
                  <a:lnTo>
                    <a:pt x="44" y="26"/>
                  </a:lnTo>
                  <a:lnTo>
                    <a:pt x="47" y="26"/>
                  </a:lnTo>
                  <a:lnTo>
                    <a:pt x="51" y="26"/>
                  </a:lnTo>
                  <a:lnTo>
                    <a:pt x="53" y="24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6" y="17"/>
                  </a:lnTo>
                  <a:lnTo>
                    <a:pt x="53" y="14"/>
                  </a:lnTo>
                  <a:lnTo>
                    <a:pt x="51" y="13"/>
                  </a:lnTo>
                  <a:lnTo>
                    <a:pt x="47" y="13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0" name="Freeform 54">
              <a:extLst>
                <a:ext uri="{FF2B5EF4-FFF2-40B4-BE49-F238E27FC236}">
                  <a16:creationId xmlns:a16="http://schemas.microsoft.com/office/drawing/2014/main" id="{8CDB7E16-8AD9-1369-F505-4EA05551F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0" y="4011613"/>
              <a:ext cx="292100" cy="292100"/>
            </a:xfrm>
            <a:custGeom>
              <a:avLst/>
              <a:gdLst>
                <a:gd name="T0" fmla="*/ 0 w 552"/>
                <a:gd name="T1" fmla="*/ 260 h 553"/>
                <a:gd name="T2" fmla="*/ 6 w 552"/>
                <a:gd name="T3" fmla="*/ 214 h 553"/>
                <a:gd name="T4" fmla="*/ 17 w 552"/>
                <a:gd name="T5" fmla="*/ 171 h 553"/>
                <a:gd name="T6" fmla="*/ 35 w 552"/>
                <a:gd name="T7" fmla="*/ 134 h 553"/>
                <a:gd name="T8" fmla="*/ 65 w 552"/>
                <a:gd name="T9" fmla="*/ 90 h 553"/>
                <a:gd name="T10" fmla="*/ 125 w 552"/>
                <a:gd name="T11" fmla="*/ 40 h 553"/>
                <a:gd name="T12" fmla="*/ 200 w 552"/>
                <a:gd name="T13" fmla="*/ 10 h 553"/>
                <a:gd name="T14" fmla="*/ 285 w 552"/>
                <a:gd name="T15" fmla="*/ 0 h 553"/>
                <a:gd name="T16" fmla="*/ 357 w 552"/>
                <a:gd name="T17" fmla="*/ 7 h 553"/>
                <a:gd name="T18" fmla="*/ 423 w 552"/>
                <a:gd name="T19" fmla="*/ 27 h 553"/>
                <a:gd name="T20" fmla="*/ 480 w 552"/>
                <a:gd name="T21" fmla="*/ 63 h 553"/>
                <a:gd name="T22" fmla="*/ 521 w 552"/>
                <a:gd name="T23" fmla="*/ 118 h 553"/>
                <a:gd name="T24" fmla="*/ 546 w 552"/>
                <a:gd name="T25" fmla="*/ 191 h 553"/>
                <a:gd name="T26" fmla="*/ 360 w 552"/>
                <a:gd name="T27" fmla="*/ 207 h 553"/>
                <a:gd name="T28" fmla="*/ 341 w 552"/>
                <a:gd name="T29" fmla="*/ 171 h 553"/>
                <a:gd name="T30" fmla="*/ 327 w 552"/>
                <a:gd name="T31" fmla="*/ 159 h 553"/>
                <a:gd name="T32" fmla="*/ 289 w 552"/>
                <a:gd name="T33" fmla="*/ 152 h 553"/>
                <a:gd name="T34" fmla="*/ 259 w 552"/>
                <a:gd name="T35" fmla="*/ 157 h 553"/>
                <a:gd name="T36" fmla="*/ 236 w 552"/>
                <a:gd name="T37" fmla="*/ 169 h 553"/>
                <a:gd name="T38" fmla="*/ 219 w 552"/>
                <a:gd name="T39" fmla="*/ 190 h 553"/>
                <a:gd name="T40" fmla="*/ 207 w 552"/>
                <a:gd name="T41" fmla="*/ 220 h 553"/>
                <a:gd name="T42" fmla="*/ 202 w 552"/>
                <a:gd name="T43" fmla="*/ 258 h 553"/>
                <a:gd name="T44" fmla="*/ 202 w 552"/>
                <a:gd name="T45" fmla="*/ 296 h 553"/>
                <a:gd name="T46" fmla="*/ 206 w 552"/>
                <a:gd name="T47" fmla="*/ 336 h 553"/>
                <a:gd name="T48" fmla="*/ 217 w 552"/>
                <a:gd name="T49" fmla="*/ 368 h 553"/>
                <a:gd name="T50" fmla="*/ 236 w 552"/>
                <a:gd name="T51" fmla="*/ 391 h 553"/>
                <a:gd name="T52" fmla="*/ 261 w 552"/>
                <a:gd name="T53" fmla="*/ 405 h 553"/>
                <a:gd name="T54" fmla="*/ 292 w 552"/>
                <a:gd name="T55" fmla="*/ 409 h 553"/>
                <a:gd name="T56" fmla="*/ 330 w 552"/>
                <a:gd name="T57" fmla="*/ 401 h 553"/>
                <a:gd name="T58" fmla="*/ 348 w 552"/>
                <a:gd name="T59" fmla="*/ 389 h 553"/>
                <a:gd name="T60" fmla="*/ 361 w 552"/>
                <a:gd name="T61" fmla="*/ 370 h 553"/>
                <a:gd name="T62" fmla="*/ 373 w 552"/>
                <a:gd name="T63" fmla="*/ 330 h 553"/>
                <a:gd name="T64" fmla="*/ 546 w 552"/>
                <a:gd name="T65" fmla="*/ 378 h 553"/>
                <a:gd name="T66" fmla="*/ 521 w 552"/>
                <a:gd name="T67" fmla="*/ 441 h 553"/>
                <a:gd name="T68" fmla="*/ 480 w 552"/>
                <a:gd name="T69" fmla="*/ 491 h 553"/>
                <a:gd name="T70" fmla="*/ 420 w 552"/>
                <a:gd name="T71" fmla="*/ 528 h 553"/>
                <a:gd name="T72" fmla="*/ 341 w 552"/>
                <a:gd name="T73" fmla="*/ 549 h 553"/>
                <a:gd name="T74" fmla="*/ 251 w 552"/>
                <a:gd name="T75" fmla="*/ 551 h 553"/>
                <a:gd name="T76" fmla="*/ 170 w 552"/>
                <a:gd name="T77" fmla="*/ 536 h 553"/>
                <a:gd name="T78" fmla="*/ 101 w 552"/>
                <a:gd name="T79" fmla="*/ 501 h 553"/>
                <a:gd name="T80" fmla="*/ 48 w 552"/>
                <a:gd name="T81" fmla="*/ 448 h 553"/>
                <a:gd name="T82" fmla="*/ 27 w 552"/>
                <a:gd name="T83" fmla="*/ 414 h 553"/>
                <a:gd name="T84" fmla="*/ 13 w 552"/>
                <a:gd name="T85" fmla="*/ 376 h 553"/>
                <a:gd name="T86" fmla="*/ 3 w 552"/>
                <a:gd name="T87" fmla="*/ 332 h 553"/>
                <a:gd name="T88" fmla="*/ 0 w 552"/>
                <a:gd name="T89" fmla="*/ 284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2" h="553">
                  <a:moveTo>
                    <a:pt x="0" y="284"/>
                  </a:moveTo>
                  <a:lnTo>
                    <a:pt x="0" y="277"/>
                  </a:lnTo>
                  <a:lnTo>
                    <a:pt x="0" y="260"/>
                  </a:lnTo>
                  <a:lnTo>
                    <a:pt x="1" y="244"/>
                  </a:lnTo>
                  <a:lnTo>
                    <a:pt x="3" y="228"/>
                  </a:lnTo>
                  <a:lnTo>
                    <a:pt x="6" y="214"/>
                  </a:lnTo>
                  <a:lnTo>
                    <a:pt x="9" y="198"/>
                  </a:lnTo>
                  <a:lnTo>
                    <a:pt x="13" y="185"/>
                  </a:lnTo>
                  <a:lnTo>
                    <a:pt x="17" y="171"/>
                  </a:lnTo>
                  <a:lnTo>
                    <a:pt x="22" y="158"/>
                  </a:lnTo>
                  <a:lnTo>
                    <a:pt x="27" y="145"/>
                  </a:lnTo>
                  <a:lnTo>
                    <a:pt x="35" y="134"/>
                  </a:lnTo>
                  <a:lnTo>
                    <a:pt x="40" y="122"/>
                  </a:lnTo>
                  <a:lnTo>
                    <a:pt x="49" y="111"/>
                  </a:lnTo>
                  <a:lnTo>
                    <a:pt x="65" y="90"/>
                  </a:lnTo>
                  <a:lnTo>
                    <a:pt x="84" y="72"/>
                  </a:lnTo>
                  <a:lnTo>
                    <a:pt x="104" y="55"/>
                  </a:lnTo>
                  <a:lnTo>
                    <a:pt x="125" y="40"/>
                  </a:lnTo>
                  <a:lnTo>
                    <a:pt x="148" y="29"/>
                  </a:lnTo>
                  <a:lnTo>
                    <a:pt x="174" y="19"/>
                  </a:lnTo>
                  <a:lnTo>
                    <a:pt x="200" y="10"/>
                  </a:lnTo>
                  <a:lnTo>
                    <a:pt x="228" y="6"/>
                  </a:lnTo>
                  <a:lnTo>
                    <a:pt x="255" y="1"/>
                  </a:lnTo>
                  <a:lnTo>
                    <a:pt x="285" y="0"/>
                  </a:lnTo>
                  <a:lnTo>
                    <a:pt x="310" y="1"/>
                  </a:lnTo>
                  <a:lnTo>
                    <a:pt x="334" y="3"/>
                  </a:lnTo>
                  <a:lnTo>
                    <a:pt x="357" y="7"/>
                  </a:lnTo>
                  <a:lnTo>
                    <a:pt x="380" y="11"/>
                  </a:lnTo>
                  <a:lnTo>
                    <a:pt x="402" y="19"/>
                  </a:lnTo>
                  <a:lnTo>
                    <a:pt x="423" y="27"/>
                  </a:lnTo>
                  <a:lnTo>
                    <a:pt x="444" y="37"/>
                  </a:lnTo>
                  <a:lnTo>
                    <a:pt x="462" y="49"/>
                  </a:lnTo>
                  <a:lnTo>
                    <a:pt x="480" y="63"/>
                  </a:lnTo>
                  <a:lnTo>
                    <a:pt x="495" y="79"/>
                  </a:lnTo>
                  <a:lnTo>
                    <a:pt x="510" y="98"/>
                  </a:lnTo>
                  <a:lnTo>
                    <a:pt x="521" y="118"/>
                  </a:lnTo>
                  <a:lnTo>
                    <a:pt x="531" y="139"/>
                  </a:lnTo>
                  <a:lnTo>
                    <a:pt x="540" y="165"/>
                  </a:lnTo>
                  <a:lnTo>
                    <a:pt x="546" y="191"/>
                  </a:lnTo>
                  <a:lnTo>
                    <a:pt x="549" y="221"/>
                  </a:lnTo>
                  <a:lnTo>
                    <a:pt x="361" y="221"/>
                  </a:lnTo>
                  <a:lnTo>
                    <a:pt x="360" y="207"/>
                  </a:lnTo>
                  <a:lnTo>
                    <a:pt x="356" y="192"/>
                  </a:lnTo>
                  <a:lnTo>
                    <a:pt x="350" y="181"/>
                  </a:lnTo>
                  <a:lnTo>
                    <a:pt x="341" y="171"/>
                  </a:lnTo>
                  <a:lnTo>
                    <a:pt x="337" y="167"/>
                  </a:lnTo>
                  <a:lnTo>
                    <a:pt x="333" y="162"/>
                  </a:lnTo>
                  <a:lnTo>
                    <a:pt x="327" y="159"/>
                  </a:lnTo>
                  <a:lnTo>
                    <a:pt x="321" y="157"/>
                  </a:lnTo>
                  <a:lnTo>
                    <a:pt x="307" y="154"/>
                  </a:lnTo>
                  <a:lnTo>
                    <a:pt x="289" y="152"/>
                  </a:lnTo>
                  <a:lnTo>
                    <a:pt x="279" y="152"/>
                  </a:lnTo>
                  <a:lnTo>
                    <a:pt x="269" y="154"/>
                  </a:lnTo>
                  <a:lnTo>
                    <a:pt x="259" y="157"/>
                  </a:lnTo>
                  <a:lnTo>
                    <a:pt x="251" y="159"/>
                  </a:lnTo>
                  <a:lnTo>
                    <a:pt x="243" y="164"/>
                  </a:lnTo>
                  <a:lnTo>
                    <a:pt x="236" y="169"/>
                  </a:lnTo>
                  <a:lnTo>
                    <a:pt x="229" y="175"/>
                  </a:lnTo>
                  <a:lnTo>
                    <a:pt x="223" y="182"/>
                  </a:lnTo>
                  <a:lnTo>
                    <a:pt x="219" y="190"/>
                  </a:lnTo>
                  <a:lnTo>
                    <a:pt x="213" y="200"/>
                  </a:lnTo>
                  <a:lnTo>
                    <a:pt x="210" y="210"/>
                  </a:lnTo>
                  <a:lnTo>
                    <a:pt x="207" y="220"/>
                  </a:lnTo>
                  <a:lnTo>
                    <a:pt x="204" y="231"/>
                  </a:lnTo>
                  <a:lnTo>
                    <a:pt x="203" y="244"/>
                  </a:lnTo>
                  <a:lnTo>
                    <a:pt x="202" y="258"/>
                  </a:lnTo>
                  <a:lnTo>
                    <a:pt x="202" y="273"/>
                  </a:lnTo>
                  <a:lnTo>
                    <a:pt x="202" y="280"/>
                  </a:lnTo>
                  <a:lnTo>
                    <a:pt x="202" y="296"/>
                  </a:lnTo>
                  <a:lnTo>
                    <a:pt x="203" y="310"/>
                  </a:lnTo>
                  <a:lnTo>
                    <a:pt x="204" y="325"/>
                  </a:lnTo>
                  <a:lnTo>
                    <a:pt x="206" y="336"/>
                  </a:lnTo>
                  <a:lnTo>
                    <a:pt x="210" y="347"/>
                  </a:lnTo>
                  <a:lnTo>
                    <a:pt x="213" y="359"/>
                  </a:lnTo>
                  <a:lnTo>
                    <a:pt x="217" y="368"/>
                  </a:lnTo>
                  <a:lnTo>
                    <a:pt x="223" y="376"/>
                  </a:lnTo>
                  <a:lnTo>
                    <a:pt x="229" y="385"/>
                  </a:lnTo>
                  <a:lnTo>
                    <a:pt x="236" y="391"/>
                  </a:lnTo>
                  <a:lnTo>
                    <a:pt x="243" y="396"/>
                  </a:lnTo>
                  <a:lnTo>
                    <a:pt x="252" y="401"/>
                  </a:lnTo>
                  <a:lnTo>
                    <a:pt x="261" y="405"/>
                  </a:lnTo>
                  <a:lnTo>
                    <a:pt x="271" y="406"/>
                  </a:lnTo>
                  <a:lnTo>
                    <a:pt x="281" y="408"/>
                  </a:lnTo>
                  <a:lnTo>
                    <a:pt x="292" y="409"/>
                  </a:lnTo>
                  <a:lnTo>
                    <a:pt x="310" y="408"/>
                  </a:lnTo>
                  <a:lnTo>
                    <a:pt x="324" y="403"/>
                  </a:lnTo>
                  <a:lnTo>
                    <a:pt x="330" y="401"/>
                  </a:lnTo>
                  <a:lnTo>
                    <a:pt x="337" y="398"/>
                  </a:lnTo>
                  <a:lnTo>
                    <a:pt x="343" y="393"/>
                  </a:lnTo>
                  <a:lnTo>
                    <a:pt x="348" y="389"/>
                  </a:lnTo>
                  <a:lnTo>
                    <a:pt x="353" y="383"/>
                  </a:lnTo>
                  <a:lnTo>
                    <a:pt x="357" y="378"/>
                  </a:lnTo>
                  <a:lnTo>
                    <a:pt x="361" y="370"/>
                  </a:lnTo>
                  <a:lnTo>
                    <a:pt x="364" y="363"/>
                  </a:lnTo>
                  <a:lnTo>
                    <a:pt x="370" y="347"/>
                  </a:lnTo>
                  <a:lnTo>
                    <a:pt x="373" y="330"/>
                  </a:lnTo>
                  <a:lnTo>
                    <a:pt x="552" y="330"/>
                  </a:lnTo>
                  <a:lnTo>
                    <a:pt x="549" y="355"/>
                  </a:lnTo>
                  <a:lnTo>
                    <a:pt x="546" y="378"/>
                  </a:lnTo>
                  <a:lnTo>
                    <a:pt x="540" y="401"/>
                  </a:lnTo>
                  <a:lnTo>
                    <a:pt x="531" y="422"/>
                  </a:lnTo>
                  <a:lnTo>
                    <a:pt x="521" y="441"/>
                  </a:lnTo>
                  <a:lnTo>
                    <a:pt x="510" y="459"/>
                  </a:lnTo>
                  <a:lnTo>
                    <a:pt x="495" y="477"/>
                  </a:lnTo>
                  <a:lnTo>
                    <a:pt x="480" y="491"/>
                  </a:lnTo>
                  <a:lnTo>
                    <a:pt x="462" y="505"/>
                  </a:lnTo>
                  <a:lnTo>
                    <a:pt x="442" y="517"/>
                  </a:lnTo>
                  <a:lnTo>
                    <a:pt x="420" y="528"/>
                  </a:lnTo>
                  <a:lnTo>
                    <a:pt x="396" y="537"/>
                  </a:lnTo>
                  <a:lnTo>
                    <a:pt x="370" y="543"/>
                  </a:lnTo>
                  <a:lnTo>
                    <a:pt x="341" y="549"/>
                  </a:lnTo>
                  <a:lnTo>
                    <a:pt x="312" y="551"/>
                  </a:lnTo>
                  <a:lnTo>
                    <a:pt x="279" y="553"/>
                  </a:lnTo>
                  <a:lnTo>
                    <a:pt x="251" y="551"/>
                  </a:lnTo>
                  <a:lnTo>
                    <a:pt x="222" y="549"/>
                  </a:lnTo>
                  <a:lnTo>
                    <a:pt x="196" y="543"/>
                  </a:lnTo>
                  <a:lnTo>
                    <a:pt x="170" y="536"/>
                  </a:lnTo>
                  <a:lnTo>
                    <a:pt x="145" y="526"/>
                  </a:lnTo>
                  <a:lnTo>
                    <a:pt x="122" y="514"/>
                  </a:lnTo>
                  <a:lnTo>
                    <a:pt x="101" y="501"/>
                  </a:lnTo>
                  <a:lnTo>
                    <a:pt x="81" y="485"/>
                  </a:lnTo>
                  <a:lnTo>
                    <a:pt x="63" y="468"/>
                  </a:lnTo>
                  <a:lnTo>
                    <a:pt x="48" y="448"/>
                  </a:lnTo>
                  <a:lnTo>
                    <a:pt x="40" y="437"/>
                  </a:lnTo>
                  <a:lnTo>
                    <a:pt x="33" y="425"/>
                  </a:lnTo>
                  <a:lnTo>
                    <a:pt x="27" y="414"/>
                  </a:lnTo>
                  <a:lnTo>
                    <a:pt x="22" y="402"/>
                  </a:lnTo>
                  <a:lnTo>
                    <a:pt x="17" y="389"/>
                  </a:lnTo>
                  <a:lnTo>
                    <a:pt x="13" y="376"/>
                  </a:lnTo>
                  <a:lnTo>
                    <a:pt x="9" y="362"/>
                  </a:lnTo>
                  <a:lnTo>
                    <a:pt x="6" y="347"/>
                  </a:lnTo>
                  <a:lnTo>
                    <a:pt x="3" y="332"/>
                  </a:lnTo>
                  <a:lnTo>
                    <a:pt x="1" y="317"/>
                  </a:lnTo>
                  <a:lnTo>
                    <a:pt x="0" y="302"/>
                  </a:lnTo>
                  <a:lnTo>
                    <a:pt x="0" y="284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1" name="Freeform 55">
              <a:extLst>
                <a:ext uri="{FF2B5EF4-FFF2-40B4-BE49-F238E27FC236}">
                  <a16:creationId xmlns:a16="http://schemas.microsoft.com/office/drawing/2014/main" id="{D36C0BC8-E1B4-A312-F155-C25BA823DF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2913" y="3894138"/>
              <a:ext cx="287338" cy="403225"/>
            </a:xfrm>
            <a:custGeom>
              <a:avLst/>
              <a:gdLst>
                <a:gd name="T0" fmla="*/ 197 w 541"/>
                <a:gd name="T1" fmla="*/ 0 h 761"/>
                <a:gd name="T2" fmla="*/ 197 w 541"/>
                <a:gd name="T3" fmla="*/ 435 h 761"/>
                <a:gd name="T4" fmla="*/ 325 w 541"/>
                <a:gd name="T5" fmla="*/ 235 h 761"/>
                <a:gd name="T6" fmla="*/ 528 w 541"/>
                <a:gd name="T7" fmla="*/ 235 h 761"/>
                <a:gd name="T8" fmla="*/ 367 w 541"/>
                <a:gd name="T9" fmla="*/ 471 h 761"/>
                <a:gd name="T10" fmla="*/ 541 w 541"/>
                <a:gd name="T11" fmla="*/ 761 h 761"/>
                <a:gd name="T12" fmla="*/ 322 w 541"/>
                <a:gd name="T13" fmla="*/ 761 h 761"/>
                <a:gd name="T14" fmla="*/ 197 w 541"/>
                <a:gd name="T15" fmla="*/ 541 h 761"/>
                <a:gd name="T16" fmla="*/ 197 w 541"/>
                <a:gd name="T17" fmla="*/ 761 h 761"/>
                <a:gd name="T18" fmla="*/ 0 w 541"/>
                <a:gd name="T19" fmla="*/ 761 h 761"/>
                <a:gd name="T20" fmla="*/ 0 w 541"/>
                <a:gd name="T21" fmla="*/ 0 h 761"/>
                <a:gd name="T22" fmla="*/ 197 w 541"/>
                <a:gd name="T2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1" h="761">
                  <a:moveTo>
                    <a:pt x="197" y="0"/>
                  </a:moveTo>
                  <a:lnTo>
                    <a:pt x="197" y="435"/>
                  </a:lnTo>
                  <a:lnTo>
                    <a:pt x="325" y="235"/>
                  </a:lnTo>
                  <a:lnTo>
                    <a:pt x="528" y="235"/>
                  </a:lnTo>
                  <a:lnTo>
                    <a:pt x="367" y="471"/>
                  </a:lnTo>
                  <a:lnTo>
                    <a:pt x="541" y="761"/>
                  </a:lnTo>
                  <a:lnTo>
                    <a:pt x="322" y="761"/>
                  </a:lnTo>
                  <a:lnTo>
                    <a:pt x="197" y="541"/>
                  </a:lnTo>
                  <a:lnTo>
                    <a:pt x="197" y="761"/>
                  </a:lnTo>
                  <a:lnTo>
                    <a:pt x="0" y="761"/>
                  </a:lnTo>
                  <a:lnTo>
                    <a:pt x="0" y="0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2" name="Freeform 56">
              <a:extLst>
                <a:ext uri="{FF2B5EF4-FFF2-40B4-BE49-F238E27FC236}">
                  <a16:creationId xmlns:a16="http://schemas.microsoft.com/office/drawing/2014/main" id="{2BAE5DA5-17E6-4859-8A5C-3CCCA0217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02950" y="4011613"/>
              <a:ext cx="307975" cy="377825"/>
            </a:xfrm>
            <a:custGeom>
              <a:avLst/>
              <a:gdLst>
                <a:gd name="T0" fmla="*/ 199 w 580"/>
                <a:gd name="T1" fmla="*/ 90 h 714"/>
                <a:gd name="T2" fmla="*/ 233 w 580"/>
                <a:gd name="T3" fmla="*/ 49 h 714"/>
                <a:gd name="T4" fmla="*/ 261 w 580"/>
                <a:gd name="T5" fmla="*/ 27 h 714"/>
                <a:gd name="T6" fmla="*/ 294 w 580"/>
                <a:gd name="T7" fmla="*/ 11 h 714"/>
                <a:gd name="T8" fmla="*/ 331 w 580"/>
                <a:gd name="T9" fmla="*/ 3 h 714"/>
                <a:gd name="T10" fmla="*/ 382 w 580"/>
                <a:gd name="T11" fmla="*/ 1 h 714"/>
                <a:gd name="T12" fmla="*/ 445 w 580"/>
                <a:gd name="T13" fmla="*/ 17 h 714"/>
                <a:gd name="T14" fmla="*/ 500 w 580"/>
                <a:gd name="T15" fmla="*/ 52 h 714"/>
                <a:gd name="T16" fmla="*/ 541 w 580"/>
                <a:gd name="T17" fmla="*/ 106 h 714"/>
                <a:gd name="T18" fmla="*/ 570 w 580"/>
                <a:gd name="T19" fmla="*/ 179 h 714"/>
                <a:gd name="T20" fmla="*/ 580 w 580"/>
                <a:gd name="T21" fmla="*/ 273 h 714"/>
                <a:gd name="T22" fmla="*/ 576 w 580"/>
                <a:gd name="T23" fmla="*/ 346 h 714"/>
                <a:gd name="T24" fmla="*/ 553 w 580"/>
                <a:gd name="T25" fmla="*/ 425 h 714"/>
                <a:gd name="T26" fmla="*/ 514 w 580"/>
                <a:gd name="T27" fmla="*/ 485 h 714"/>
                <a:gd name="T28" fmla="*/ 464 w 580"/>
                <a:gd name="T29" fmla="*/ 527 h 714"/>
                <a:gd name="T30" fmla="*/ 403 w 580"/>
                <a:gd name="T31" fmla="*/ 549 h 714"/>
                <a:gd name="T32" fmla="*/ 344 w 580"/>
                <a:gd name="T33" fmla="*/ 551 h 714"/>
                <a:gd name="T34" fmla="*/ 305 w 580"/>
                <a:gd name="T35" fmla="*/ 546 h 714"/>
                <a:gd name="T36" fmla="*/ 271 w 580"/>
                <a:gd name="T37" fmla="*/ 533 h 714"/>
                <a:gd name="T38" fmla="*/ 240 w 580"/>
                <a:gd name="T39" fmla="*/ 514 h 714"/>
                <a:gd name="T40" fmla="*/ 216 w 580"/>
                <a:gd name="T41" fmla="*/ 491 h 714"/>
                <a:gd name="T42" fmla="*/ 199 w 580"/>
                <a:gd name="T43" fmla="*/ 464 h 714"/>
                <a:gd name="T44" fmla="*/ 0 w 580"/>
                <a:gd name="T45" fmla="*/ 14 h 714"/>
                <a:gd name="T46" fmla="*/ 379 w 580"/>
                <a:gd name="T47" fmla="*/ 271 h 714"/>
                <a:gd name="T48" fmla="*/ 376 w 580"/>
                <a:gd name="T49" fmla="*/ 228 h 714"/>
                <a:gd name="T50" fmla="*/ 364 w 580"/>
                <a:gd name="T51" fmla="*/ 195 h 714"/>
                <a:gd name="T52" fmla="*/ 348 w 580"/>
                <a:gd name="T53" fmla="*/ 171 h 714"/>
                <a:gd name="T54" fmla="*/ 325 w 580"/>
                <a:gd name="T55" fmla="*/ 155 h 714"/>
                <a:gd name="T56" fmla="*/ 297 w 580"/>
                <a:gd name="T57" fmla="*/ 148 h 714"/>
                <a:gd name="T58" fmla="*/ 265 w 580"/>
                <a:gd name="T59" fmla="*/ 149 h 714"/>
                <a:gd name="T60" fmla="*/ 238 w 580"/>
                <a:gd name="T61" fmla="*/ 159 h 714"/>
                <a:gd name="T62" fmla="*/ 217 w 580"/>
                <a:gd name="T63" fmla="*/ 179 h 714"/>
                <a:gd name="T64" fmla="*/ 203 w 580"/>
                <a:gd name="T65" fmla="*/ 207 h 714"/>
                <a:gd name="T66" fmla="*/ 196 w 580"/>
                <a:gd name="T67" fmla="*/ 243 h 714"/>
                <a:gd name="T68" fmla="*/ 194 w 580"/>
                <a:gd name="T69" fmla="*/ 280 h 714"/>
                <a:gd name="T70" fmla="*/ 197 w 580"/>
                <a:gd name="T71" fmla="*/ 320 h 714"/>
                <a:gd name="T72" fmla="*/ 207 w 580"/>
                <a:gd name="T73" fmla="*/ 353 h 714"/>
                <a:gd name="T74" fmla="*/ 223 w 580"/>
                <a:gd name="T75" fmla="*/ 378 h 714"/>
                <a:gd name="T76" fmla="*/ 246 w 580"/>
                <a:gd name="T77" fmla="*/ 393 h 714"/>
                <a:gd name="T78" fmla="*/ 275 w 580"/>
                <a:gd name="T79" fmla="*/ 402 h 714"/>
                <a:gd name="T80" fmla="*/ 307 w 580"/>
                <a:gd name="T81" fmla="*/ 399 h 714"/>
                <a:gd name="T82" fmla="*/ 334 w 580"/>
                <a:gd name="T83" fmla="*/ 389 h 714"/>
                <a:gd name="T84" fmla="*/ 354 w 580"/>
                <a:gd name="T85" fmla="*/ 370 h 714"/>
                <a:gd name="T86" fmla="*/ 370 w 580"/>
                <a:gd name="T87" fmla="*/ 343 h 714"/>
                <a:gd name="T88" fmla="*/ 377 w 580"/>
                <a:gd name="T89" fmla="*/ 307 h 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80" h="714">
                  <a:moveTo>
                    <a:pt x="0" y="14"/>
                  </a:moveTo>
                  <a:lnTo>
                    <a:pt x="199" y="14"/>
                  </a:lnTo>
                  <a:lnTo>
                    <a:pt x="199" y="90"/>
                  </a:lnTo>
                  <a:lnTo>
                    <a:pt x="210" y="73"/>
                  </a:lnTo>
                  <a:lnTo>
                    <a:pt x="225" y="56"/>
                  </a:lnTo>
                  <a:lnTo>
                    <a:pt x="233" y="49"/>
                  </a:lnTo>
                  <a:lnTo>
                    <a:pt x="242" y="40"/>
                  </a:lnTo>
                  <a:lnTo>
                    <a:pt x="251" y="33"/>
                  </a:lnTo>
                  <a:lnTo>
                    <a:pt x="261" y="27"/>
                  </a:lnTo>
                  <a:lnTo>
                    <a:pt x="271" y="22"/>
                  </a:lnTo>
                  <a:lnTo>
                    <a:pt x="282" y="16"/>
                  </a:lnTo>
                  <a:lnTo>
                    <a:pt x="294" y="11"/>
                  </a:lnTo>
                  <a:lnTo>
                    <a:pt x="305" y="7"/>
                  </a:lnTo>
                  <a:lnTo>
                    <a:pt x="318" y="4"/>
                  </a:lnTo>
                  <a:lnTo>
                    <a:pt x="331" y="3"/>
                  </a:lnTo>
                  <a:lnTo>
                    <a:pt x="346" y="1"/>
                  </a:lnTo>
                  <a:lnTo>
                    <a:pt x="360" y="0"/>
                  </a:lnTo>
                  <a:lnTo>
                    <a:pt x="382" y="1"/>
                  </a:lnTo>
                  <a:lnTo>
                    <a:pt x="403" y="4"/>
                  </a:lnTo>
                  <a:lnTo>
                    <a:pt x="425" y="10"/>
                  </a:lnTo>
                  <a:lnTo>
                    <a:pt x="445" y="17"/>
                  </a:lnTo>
                  <a:lnTo>
                    <a:pt x="464" y="27"/>
                  </a:lnTo>
                  <a:lnTo>
                    <a:pt x="482" y="39"/>
                  </a:lnTo>
                  <a:lnTo>
                    <a:pt x="500" y="52"/>
                  </a:lnTo>
                  <a:lnTo>
                    <a:pt x="515" y="67"/>
                  </a:lnTo>
                  <a:lnTo>
                    <a:pt x="528" y="86"/>
                  </a:lnTo>
                  <a:lnTo>
                    <a:pt x="541" y="106"/>
                  </a:lnTo>
                  <a:lnTo>
                    <a:pt x="553" y="129"/>
                  </a:lnTo>
                  <a:lnTo>
                    <a:pt x="563" y="154"/>
                  </a:lnTo>
                  <a:lnTo>
                    <a:pt x="570" y="179"/>
                  </a:lnTo>
                  <a:lnTo>
                    <a:pt x="576" y="210"/>
                  </a:lnTo>
                  <a:lnTo>
                    <a:pt x="579" y="240"/>
                  </a:lnTo>
                  <a:lnTo>
                    <a:pt x="580" y="273"/>
                  </a:lnTo>
                  <a:lnTo>
                    <a:pt x="580" y="281"/>
                  </a:lnTo>
                  <a:lnTo>
                    <a:pt x="579" y="314"/>
                  </a:lnTo>
                  <a:lnTo>
                    <a:pt x="576" y="346"/>
                  </a:lnTo>
                  <a:lnTo>
                    <a:pt x="570" y="375"/>
                  </a:lnTo>
                  <a:lnTo>
                    <a:pt x="563" y="401"/>
                  </a:lnTo>
                  <a:lnTo>
                    <a:pt x="553" y="425"/>
                  </a:lnTo>
                  <a:lnTo>
                    <a:pt x="541" y="448"/>
                  </a:lnTo>
                  <a:lnTo>
                    <a:pt x="528" y="468"/>
                  </a:lnTo>
                  <a:lnTo>
                    <a:pt x="514" y="485"/>
                  </a:lnTo>
                  <a:lnTo>
                    <a:pt x="498" y="501"/>
                  </a:lnTo>
                  <a:lnTo>
                    <a:pt x="481" y="516"/>
                  </a:lnTo>
                  <a:lnTo>
                    <a:pt x="464" y="527"/>
                  </a:lnTo>
                  <a:lnTo>
                    <a:pt x="443" y="536"/>
                  </a:lnTo>
                  <a:lnTo>
                    <a:pt x="423" y="543"/>
                  </a:lnTo>
                  <a:lnTo>
                    <a:pt x="403" y="549"/>
                  </a:lnTo>
                  <a:lnTo>
                    <a:pt x="382" y="551"/>
                  </a:lnTo>
                  <a:lnTo>
                    <a:pt x="359" y="553"/>
                  </a:lnTo>
                  <a:lnTo>
                    <a:pt x="344" y="551"/>
                  </a:lnTo>
                  <a:lnTo>
                    <a:pt x="331" y="550"/>
                  </a:lnTo>
                  <a:lnTo>
                    <a:pt x="317" y="549"/>
                  </a:lnTo>
                  <a:lnTo>
                    <a:pt x="305" y="546"/>
                  </a:lnTo>
                  <a:lnTo>
                    <a:pt x="292" y="543"/>
                  </a:lnTo>
                  <a:lnTo>
                    <a:pt x="281" y="538"/>
                  </a:lnTo>
                  <a:lnTo>
                    <a:pt x="271" y="533"/>
                  </a:lnTo>
                  <a:lnTo>
                    <a:pt x="259" y="527"/>
                  </a:lnTo>
                  <a:lnTo>
                    <a:pt x="249" y="521"/>
                  </a:lnTo>
                  <a:lnTo>
                    <a:pt x="240" y="514"/>
                  </a:lnTo>
                  <a:lnTo>
                    <a:pt x="232" y="507"/>
                  </a:lnTo>
                  <a:lnTo>
                    <a:pt x="225" y="500"/>
                  </a:lnTo>
                  <a:lnTo>
                    <a:pt x="216" y="491"/>
                  </a:lnTo>
                  <a:lnTo>
                    <a:pt x="210" y="482"/>
                  </a:lnTo>
                  <a:lnTo>
                    <a:pt x="204" y="474"/>
                  </a:lnTo>
                  <a:lnTo>
                    <a:pt x="199" y="464"/>
                  </a:lnTo>
                  <a:lnTo>
                    <a:pt x="199" y="714"/>
                  </a:lnTo>
                  <a:lnTo>
                    <a:pt x="0" y="714"/>
                  </a:lnTo>
                  <a:lnTo>
                    <a:pt x="0" y="14"/>
                  </a:lnTo>
                  <a:close/>
                  <a:moveTo>
                    <a:pt x="379" y="280"/>
                  </a:moveTo>
                  <a:lnTo>
                    <a:pt x="379" y="280"/>
                  </a:lnTo>
                  <a:lnTo>
                    <a:pt x="379" y="271"/>
                  </a:lnTo>
                  <a:lnTo>
                    <a:pt x="379" y="256"/>
                  </a:lnTo>
                  <a:lnTo>
                    <a:pt x="377" y="241"/>
                  </a:lnTo>
                  <a:lnTo>
                    <a:pt x="376" y="228"/>
                  </a:lnTo>
                  <a:lnTo>
                    <a:pt x="373" y="217"/>
                  </a:lnTo>
                  <a:lnTo>
                    <a:pt x="369" y="205"/>
                  </a:lnTo>
                  <a:lnTo>
                    <a:pt x="364" y="195"/>
                  </a:lnTo>
                  <a:lnTo>
                    <a:pt x="360" y="185"/>
                  </a:lnTo>
                  <a:lnTo>
                    <a:pt x="354" y="178"/>
                  </a:lnTo>
                  <a:lnTo>
                    <a:pt x="348" y="171"/>
                  </a:lnTo>
                  <a:lnTo>
                    <a:pt x="341" y="164"/>
                  </a:lnTo>
                  <a:lnTo>
                    <a:pt x="333" y="159"/>
                  </a:lnTo>
                  <a:lnTo>
                    <a:pt x="325" y="155"/>
                  </a:lnTo>
                  <a:lnTo>
                    <a:pt x="315" y="151"/>
                  </a:lnTo>
                  <a:lnTo>
                    <a:pt x="307" y="149"/>
                  </a:lnTo>
                  <a:lnTo>
                    <a:pt x="297" y="148"/>
                  </a:lnTo>
                  <a:lnTo>
                    <a:pt x="285" y="146"/>
                  </a:lnTo>
                  <a:lnTo>
                    <a:pt x="275" y="148"/>
                  </a:lnTo>
                  <a:lnTo>
                    <a:pt x="265" y="149"/>
                  </a:lnTo>
                  <a:lnTo>
                    <a:pt x="255" y="152"/>
                  </a:lnTo>
                  <a:lnTo>
                    <a:pt x="246" y="155"/>
                  </a:lnTo>
                  <a:lnTo>
                    <a:pt x="238" y="159"/>
                  </a:lnTo>
                  <a:lnTo>
                    <a:pt x="230" y="165"/>
                  </a:lnTo>
                  <a:lnTo>
                    <a:pt x="223" y="172"/>
                  </a:lnTo>
                  <a:lnTo>
                    <a:pt x="217" y="179"/>
                  </a:lnTo>
                  <a:lnTo>
                    <a:pt x="212" y="188"/>
                  </a:lnTo>
                  <a:lnTo>
                    <a:pt x="207" y="197"/>
                  </a:lnTo>
                  <a:lnTo>
                    <a:pt x="203" y="207"/>
                  </a:lnTo>
                  <a:lnTo>
                    <a:pt x="200" y="218"/>
                  </a:lnTo>
                  <a:lnTo>
                    <a:pt x="197" y="230"/>
                  </a:lnTo>
                  <a:lnTo>
                    <a:pt x="196" y="243"/>
                  </a:lnTo>
                  <a:lnTo>
                    <a:pt x="194" y="257"/>
                  </a:lnTo>
                  <a:lnTo>
                    <a:pt x="194" y="271"/>
                  </a:lnTo>
                  <a:lnTo>
                    <a:pt x="194" y="280"/>
                  </a:lnTo>
                  <a:lnTo>
                    <a:pt x="194" y="294"/>
                  </a:lnTo>
                  <a:lnTo>
                    <a:pt x="196" y="309"/>
                  </a:lnTo>
                  <a:lnTo>
                    <a:pt x="197" y="320"/>
                  </a:lnTo>
                  <a:lnTo>
                    <a:pt x="200" y="333"/>
                  </a:lnTo>
                  <a:lnTo>
                    <a:pt x="203" y="343"/>
                  </a:lnTo>
                  <a:lnTo>
                    <a:pt x="207" y="353"/>
                  </a:lnTo>
                  <a:lnTo>
                    <a:pt x="212" y="363"/>
                  </a:lnTo>
                  <a:lnTo>
                    <a:pt x="217" y="370"/>
                  </a:lnTo>
                  <a:lnTo>
                    <a:pt x="223" y="378"/>
                  </a:lnTo>
                  <a:lnTo>
                    <a:pt x="230" y="385"/>
                  </a:lnTo>
                  <a:lnTo>
                    <a:pt x="238" y="389"/>
                  </a:lnTo>
                  <a:lnTo>
                    <a:pt x="246" y="393"/>
                  </a:lnTo>
                  <a:lnTo>
                    <a:pt x="255" y="398"/>
                  </a:lnTo>
                  <a:lnTo>
                    <a:pt x="265" y="401"/>
                  </a:lnTo>
                  <a:lnTo>
                    <a:pt x="275" y="402"/>
                  </a:lnTo>
                  <a:lnTo>
                    <a:pt x="287" y="402"/>
                  </a:lnTo>
                  <a:lnTo>
                    <a:pt x="297" y="402"/>
                  </a:lnTo>
                  <a:lnTo>
                    <a:pt x="307" y="399"/>
                  </a:lnTo>
                  <a:lnTo>
                    <a:pt x="317" y="398"/>
                  </a:lnTo>
                  <a:lnTo>
                    <a:pt x="325" y="393"/>
                  </a:lnTo>
                  <a:lnTo>
                    <a:pt x="334" y="389"/>
                  </a:lnTo>
                  <a:lnTo>
                    <a:pt x="341" y="385"/>
                  </a:lnTo>
                  <a:lnTo>
                    <a:pt x="348" y="378"/>
                  </a:lnTo>
                  <a:lnTo>
                    <a:pt x="354" y="370"/>
                  </a:lnTo>
                  <a:lnTo>
                    <a:pt x="360" y="362"/>
                  </a:lnTo>
                  <a:lnTo>
                    <a:pt x="366" y="353"/>
                  </a:lnTo>
                  <a:lnTo>
                    <a:pt x="370" y="343"/>
                  </a:lnTo>
                  <a:lnTo>
                    <a:pt x="373" y="333"/>
                  </a:lnTo>
                  <a:lnTo>
                    <a:pt x="376" y="320"/>
                  </a:lnTo>
                  <a:lnTo>
                    <a:pt x="377" y="307"/>
                  </a:lnTo>
                  <a:lnTo>
                    <a:pt x="379" y="294"/>
                  </a:lnTo>
                  <a:lnTo>
                    <a:pt x="379" y="280"/>
                  </a:lnTo>
                  <a:close/>
                </a:path>
              </a:pathLst>
            </a:custGeom>
            <a:solidFill>
              <a:srgbClr val="F9BA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3" name="Freeform 57">
              <a:extLst>
                <a:ext uri="{FF2B5EF4-FFF2-40B4-BE49-F238E27FC236}">
                  <a16:creationId xmlns:a16="http://schemas.microsoft.com/office/drawing/2014/main" id="{6FBDB2DD-9E51-2B7E-8B58-6B7AE3CDD3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0663" y="3894138"/>
              <a:ext cx="114300" cy="57150"/>
            </a:xfrm>
            <a:custGeom>
              <a:avLst/>
              <a:gdLst>
                <a:gd name="T0" fmla="*/ 108 w 216"/>
                <a:gd name="T1" fmla="*/ 46 h 108"/>
                <a:gd name="T2" fmla="*/ 98 w 216"/>
                <a:gd name="T3" fmla="*/ 44 h 108"/>
                <a:gd name="T4" fmla="*/ 89 w 216"/>
                <a:gd name="T5" fmla="*/ 41 h 108"/>
                <a:gd name="T6" fmla="*/ 82 w 216"/>
                <a:gd name="T7" fmla="*/ 37 h 108"/>
                <a:gd name="T8" fmla="*/ 75 w 216"/>
                <a:gd name="T9" fmla="*/ 33 h 108"/>
                <a:gd name="T10" fmla="*/ 69 w 216"/>
                <a:gd name="T11" fmla="*/ 26 h 108"/>
                <a:gd name="T12" fmla="*/ 65 w 216"/>
                <a:gd name="T13" fmla="*/ 17 h 108"/>
                <a:gd name="T14" fmla="*/ 62 w 216"/>
                <a:gd name="T15" fmla="*/ 8 h 108"/>
                <a:gd name="T16" fmla="*/ 62 w 216"/>
                <a:gd name="T17" fmla="*/ 0 h 108"/>
                <a:gd name="T18" fmla="*/ 0 w 216"/>
                <a:gd name="T19" fmla="*/ 0 h 108"/>
                <a:gd name="T20" fmla="*/ 0 w 216"/>
                <a:gd name="T21" fmla="*/ 11 h 108"/>
                <a:gd name="T22" fmla="*/ 2 w 216"/>
                <a:gd name="T23" fmla="*/ 21 h 108"/>
                <a:gd name="T24" fmla="*/ 4 w 216"/>
                <a:gd name="T25" fmla="*/ 31 h 108"/>
                <a:gd name="T26" fmla="*/ 7 w 216"/>
                <a:gd name="T27" fmla="*/ 41 h 108"/>
                <a:gd name="T28" fmla="*/ 13 w 216"/>
                <a:gd name="T29" fmla="*/ 52 h 108"/>
                <a:gd name="T30" fmla="*/ 17 w 216"/>
                <a:gd name="T31" fmla="*/ 60 h 108"/>
                <a:gd name="T32" fmla="*/ 25 w 216"/>
                <a:gd name="T33" fmla="*/ 69 h 108"/>
                <a:gd name="T34" fmla="*/ 32 w 216"/>
                <a:gd name="T35" fmla="*/ 76 h 108"/>
                <a:gd name="T36" fmla="*/ 39 w 216"/>
                <a:gd name="T37" fmla="*/ 83 h 108"/>
                <a:gd name="T38" fmla="*/ 48 w 216"/>
                <a:gd name="T39" fmla="*/ 89 h 108"/>
                <a:gd name="T40" fmla="*/ 56 w 216"/>
                <a:gd name="T41" fmla="*/ 95 h 108"/>
                <a:gd name="T42" fmla="*/ 65 w 216"/>
                <a:gd name="T43" fmla="*/ 99 h 108"/>
                <a:gd name="T44" fmla="*/ 75 w 216"/>
                <a:gd name="T45" fmla="*/ 103 h 108"/>
                <a:gd name="T46" fmla="*/ 87 w 216"/>
                <a:gd name="T47" fmla="*/ 106 h 108"/>
                <a:gd name="T48" fmla="*/ 97 w 216"/>
                <a:gd name="T49" fmla="*/ 108 h 108"/>
                <a:gd name="T50" fmla="*/ 108 w 216"/>
                <a:gd name="T51" fmla="*/ 108 h 108"/>
                <a:gd name="T52" fmla="*/ 118 w 216"/>
                <a:gd name="T53" fmla="*/ 108 h 108"/>
                <a:gd name="T54" fmla="*/ 130 w 216"/>
                <a:gd name="T55" fmla="*/ 106 h 108"/>
                <a:gd name="T56" fmla="*/ 140 w 216"/>
                <a:gd name="T57" fmla="*/ 103 h 108"/>
                <a:gd name="T58" fmla="*/ 150 w 216"/>
                <a:gd name="T59" fmla="*/ 99 h 108"/>
                <a:gd name="T60" fmla="*/ 160 w 216"/>
                <a:gd name="T61" fmla="*/ 95 h 108"/>
                <a:gd name="T62" fmla="*/ 169 w 216"/>
                <a:gd name="T63" fmla="*/ 89 h 108"/>
                <a:gd name="T64" fmla="*/ 176 w 216"/>
                <a:gd name="T65" fmla="*/ 83 h 108"/>
                <a:gd name="T66" fmla="*/ 184 w 216"/>
                <a:gd name="T67" fmla="*/ 76 h 108"/>
                <a:gd name="T68" fmla="*/ 192 w 216"/>
                <a:gd name="T69" fmla="*/ 69 h 108"/>
                <a:gd name="T70" fmla="*/ 197 w 216"/>
                <a:gd name="T71" fmla="*/ 60 h 108"/>
                <a:gd name="T72" fmla="*/ 203 w 216"/>
                <a:gd name="T73" fmla="*/ 52 h 108"/>
                <a:gd name="T74" fmla="*/ 207 w 216"/>
                <a:gd name="T75" fmla="*/ 41 h 108"/>
                <a:gd name="T76" fmla="*/ 212 w 216"/>
                <a:gd name="T77" fmla="*/ 31 h 108"/>
                <a:gd name="T78" fmla="*/ 213 w 216"/>
                <a:gd name="T79" fmla="*/ 21 h 108"/>
                <a:gd name="T80" fmla="*/ 215 w 216"/>
                <a:gd name="T81" fmla="*/ 11 h 108"/>
                <a:gd name="T82" fmla="*/ 216 w 216"/>
                <a:gd name="T83" fmla="*/ 0 h 108"/>
                <a:gd name="T84" fmla="*/ 154 w 216"/>
                <a:gd name="T85" fmla="*/ 0 h 108"/>
                <a:gd name="T86" fmla="*/ 153 w 216"/>
                <a:gd name="T87" fmla="*/ 8 h 108"/>
                <a:gd name="T88" fmla="*/ 150 w 216"/>
                <a:gd name="T89" fmla="*/ 17 h 108"/>
                <a:gd name="T90" fmla="*/ 146 w 216"/>
                <a:gd name="T91" fmla="*/ 26 h 108"/>
                <a:gd name="T92" fmla="*/ 140 w 216"/>
                <a:gd name="T93" fmla="*/ 33 h 108"/>
                <a:gd name="T94" fmla="*/ 134 w 216"/>
                <a:gd name="T95" fmla="*/ 37 h 108"/>
                <a:gd name="T96" fmla="*/ 125 w 216"/>
                <a:gd name="T97" fmla="*/ 41 h 108"/>
                <a:gd name="T98" fmla="*/ 117 w 216"/>
                <a:gd name="T99" fmla="*/ 44 h 108"/>
                <a:gd name="T100" fmla="*/ 108 w 216"/>
                <a:gd name="T101" fmla="*/ 4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6" h="108">
                  <a:moveTo>
                    <a:pt x="108" y="46"/>
                  </a:moveTo>
                  <a:lnTo>
                    <a:pt x="98" y="44"/>
                  </a:lnTo>
                  <a:lnTo>
                    <a:pt x="89" y="41"/>
                  </a:lnTo>
                  <a:lnTo>
                    <a:pt x="82" y="37"/>
                  </a:lnTo>
                  <a:lnTo>
                    <a:pt x="75" y="33"/>
                  </a:lnTo>
                  <a:lnTo>
                    <a:pt x="69" y="26"/>
                  </a:lnTo>
                  <a:lnTo>
                    <a:pt x="65" y="17"/>
                  </a:lnTo>
                  <a:lnTo>
                    <a:pt x="62" y="8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2" y="21"/>
                  </a:lnTo>
                  <a:lnTo>
                    <a:pt x="4" y="31"/>
                  </a:lnTo>
                  <a:lnTo>
                    <a:pt x="7" y="41"/>
                  </a:lnTo>
                  <a:lnTo>
                    <a:pt x="13" y="52"/>
                  </a:lnTo>
                  <a:lnTo>
                    <a:pt x="17" y="60"/>
                  </a:lnTo>
                  <a:lnTo>
                    <a:pt x="25" y="69"/>
                  </a:lnTo>
                  <a:lnTo>
                    <a:pt x="32" y="76"/>
                  </a:lnTo>
                  <a:lnTo>
                    <a:pt x="39" y="83"/>
                  </a:lnTo>
                  <a:lnTo>
                    <a:pt x="48" y="89"/>
                  </a:lnTo>
                  <a:lnTo>
                    <a:pt x="56" y="95"/>
                  </a:lnTo>
                  <a:lnTo>
                    <a:pt x="65" y="99"/>
                  </a:lnTo>
                  <a:lnTo>
                    <a:pt x="75" y="103"/>
                  </a:lnTo>
                  <a:lnTo>
                    <a:pt x="87" y="106"/>
                  </a:lnTo>
                  <a:lnTo>
                    <a:pt x="97" y="108"/>
                  </a:lnTo>
                  <a:lnTo>
                    <a:pt x="108" y="108"/>
                  </a:lnTo>
                  <a:lnTo>
                    <a:pt x="118" y="108"/>
                  </a:lnTo>
                  <a:lnTo>
                    <a:pt x="130" y="106"/>
                  </a:lnTo>
                  <a:lnTo>
                    <a:pt x="140" y="103"/>
                  </a:lnTo>
                  <a:lnTo>
                    <a:pt x="150" y="99"/>
                  </a:lnTo>
                  <a:lnTo>
                    <a:pt x="160" y="95"/>
                  </a:lnTo>
                  <a:lnTo>
                    <a:pt x="169" y="89"/>
                  </a:lnTo>
                  <a:lnTo>
                    <a:pt x="176" y="83"/>
                  </a:lnTo>
                  <a:lnTo>
                    <a:pt x="184" y="76"/>
                  </a:lnTo>
                  <a:lnTo>
                    <a:pt x="192" y="69"/>
                  </a:lnTo>
                  <a:lnTo>
                    <a:pt x="197" y="60"/>
                  </a:lnTo>
                  <a:lnTo>
                    <a:pt x="203" y="52"/>
                  </a:lnTo>
                  <a:lnTo>
                    <a:pt x="207" y="41"/>
                  </a:lnTo>
                  <a:lnTo>
                    <a:pt x="212" y="31"/>
                  </a:lnTo>
                  <a:lnTo>
                    <a:pt x="213" y="21"/>
                  </a:lnTo>
                  <a:lnTo>
                    <a:pt x="215" y="11"/>
                  </a:lnTo>
                  <a:lnTo>
                    <a:pt x="216" y="0"/>
                  </a:lnTo>
                  <a:lnTo>
                    <a:pt x="154" y="0"/>
                  </a:lnTo>
                  <a:lnTo>
                    <a:pt x="153" y="8"/>
                  </a:lnTo>
                  <a:lnTo>
                    <a:pt x="150" y="17"/>
                  </a:lnTo>
                  <a:lnTo>
                    <a:pt x="146" y="26"/>
                  </a:lnTo>
                  <a:lnTo>
                    <a:pt x="140" y="33"/>
                  </a:lnTo>
                  <a:lnTo>
                    <a:pt x="134" y="37"/>
                  </a:lnTo>
                  <a:lnTo>
                    <a:pt x="125" y="41"/>
                  </a:lnTo>
                  <a:lnTo>
                    <a:pt x="117" y="44"/>
                  </a:lnTo>
                  <a:lnTo>
                    <a:pt x="108" y="46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4" name="Freeform 58">
              <a:extLst>
                <a:ext uri="{FF2B5EF4-FFF2-40B4-BE49-F238E27FC236}">
                  <a16:creationId xmlns:a16="http://schemas.microsoft.com/office/drawing/2014/main" id="{A58CF3DA-C774-7D81-AB5B-3C2D0A09D4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0975" y="3894138"/>
              <a:ext cx="193675" cy="96838"/>
            </a:xfrm>
            <a:custGeom>
              <a:avLst/>
              <a:gdLst>
                <a:gd name="T0" fmla="*/ 305 w 368"/>
                <a:gd name="T1" fmla="*/ 13 h 184"/>
                <a:gd name="T2" fmla="*/ 301 w 368"/>
                <a:gd name="T3" fmla="*/ 36 h 184"/>
                <a:gd name="T4" fmla="*/ 291 w 368"/>
                <a:gd name="T5" fmla="*/ 57 h 184"/>
                <a:gd name="T6" fmla="*/ 278 w 368"/>
                <a:gd name="T7" fmla="*/ 77 h 184"/>
                <a:gd name="T8" fmla="*/ 262 w 368"/>
                <a:gd name="T9" fmla="*/ 93 h 184"/>
                <a:gd name="T10" fmla="*/ 242 w 368"/>
                <a:gd name="T11" fmla="*/ 106 h 184"/>
                <a:gd name="T12" fmla="*/ 220 w 368"/>
                <a:gd name="T13" fmla="*/ 116 h 184"/>
                <a:gd name="T14" fmla="*/ 196 w 368"/>
                <a:gd name="T15" fmla="*/ 120 h 184"/>
                <a:gd name="T16" fmla="*/ 171 w 368"/>
                <a:gd name="T17" fmla="*/ 120 h 184"/>
                <a:gd name="T18" fmla="*/ 148 w 368"/>
                <a:gd name="T19" fmla="*/ 116 h 184"/>
                <a:gd name="T20" fmla="*/ 125 w 368"/>
                <a:gd name="T21" fmla="*/ 106 h 184"/>
                <a:gd name="T22" fmla="*/ 106 w 368"/>
                <a:gd name="T23" fmla="*/ 93 h 184"/>
                <a:gd name="T24" fmla="*/ 89 w 368"/>
                <a:gd name="T25" fmla="*/ 77 h 184"/>
                <a:gd name="T26" fmla="*/ 76 w 368"/>
                <a:gd name="T27" fmla="*/ 57 h 184"/>
                <a:gd name="T28" fmla="*/ 67 w 368"/>
                <a:gd name="T29" fmla="*/ 36 h 184"/>
                <a:gd name="T30" fmla="*/ 62 w 368"/>
                <a:gd name="T31" fmla="*/ 13 h 184"/>
                <a:gd name="T32" fmla="*/ 0 w 368"/>
                <a:gd name="T33" fmla="*/ 0 h 184"/>
                <a:gd name="T34" fmla="*/ 3 w 368"/>
                <a:gd name="T35" fmla="*/ 37 h 184"/>
                <a:gd name="T36" fmla="*/ 14 w 368"/>
                <a:gd name="T37" fmla="*/ 72 h 184"/>
                <a:gd name="T38" fmla="*/ 31 w 368"/>
                <a:gd name="T39" fmla="*/ 102 h 184"/>
                <a:gd name="T40" fmla="*/ 53 w 368"/>
                <a:gd name="T41" fmla="*/ 129 h 184"/>
                <a:gd name="T42" fmla="*/ 80 w 368"/>
                <a:gd name="T43" fmla="*/ 152 h 184"/>
                <a:gd name="T44" fmla="*/ 112 w 368"/>
                <a:gd name="T45" fmla="*/ 169 h 184"/>
                <a:gd name="T46" fmla="*/ 147 w 368"/>
                <a:gd name="T47" fmla="*/ 179 h 184"/>
                <a:gd name="T48" fmla="*/ 184 w 368"/>
                <a:gd name="T49" fmla="*/ 184 h 184"/>
                <a:gd name="T50" fmla="*/ 220 w 368"/>
                <a:gd name="T51" fmla="*/ 179 h 184"/>
                <a:gd name="T52" fmla="*/ 256 w 368"/>
                <a:gd name="T53" fmla="*/ 169 h 184"/>
                <a:gd name="T54" fmla="*/ 286 w 368"/>
                <a:gd name="T55" fmla="*/ 152 h 184"/>
                <a:gd name="T56" fmla="*/ 314 w 368"/>
                <a:gd name="T57" fmla="*/ 129 h 184"/>
                <a:gd name="T58" fmla="*/ 337 w 368"/>
                <a:gd name="T59" fmla="*/ 102 h 184"/>
                <a:gd name="T60" fmla="*/ 354 w 368"/>
                <a:gd name="T61" fmla="*/ 72 h 184"/>
                <a:gd name="T62" fmla="*/ 364 w 368"/>
                <a:gd name="T63" fmla="*/ 37 h 184"/>
                <a:gd name="T64" fmla="*/ 368 w 368"/>
                <a:gd name="T65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8" h="184">
                  <a:moveTo>
                    <a:pt x="305" y="0"/>
                  </a:moveTo>
                  <a:lnTo>
                    <a:pt x="305" y="13"/>
                  </a:lnTo>
                  <a:lnTo>
                    <a:pt x="304" y="24"/>
                  </a:lnTo>
                  <a:lnTo>
                    <a:pt x="301" y="36"/>
                  </a:lnTo>
                  <a:lnTo>
                    <a:pt x="296" y="47"/>
                  </a:lnTo>
                  <a:lnTo>
                    <a:pt x="291" y="57"/>
                  </a:lnTo>
                  <a:lnTo>
                    <a:pt x="285" y="67"/>
                  </a:lnTo>
                  <a:lnTo>
                    <a:pt x="278" y="77"/>
                  </a:lnTo>
                  <a:lnTo>
                    <a:pt x="271" y="86"/>
                  </a:lnTo>
                  <a:lnTo>
                    <a:pt x="262" y="93"/>
                  </a:lnTo>
                  <a:lnTo>
                    <a:pt x="252" y="100"/>
                  </a:lnTo>
                  <a:lnTo>
                    <a:pt x="242" y="106"/>
                  </a:lnTo>
                  <a:lnTo>
                    <a:pt x="232" y="112"/>
                  </a:lnTo>
                  <a:lnTo>
                    <a:pt x="220" y="116"/>
                  </a:lnTo>
                  <a:lnTo>
                    <a:pt x="209" y="119"/>
                  </a:lnTo>
                  <a:lnTo>
                    <a:pt x="196" y="120"/>
                  </a:lnTo>
                  <a:lnTo>
                    <a:pt x="184" y="122"/>
                  </a:lnTo>
                  <a:lnTo>
                    <a:pt x="171" y="120"/>
                  </a:lnTo>
                  <a:lnTo>
                    <a:pt x="160" y="119"/>
                  </a:lnTo>
                  <a:lnTo>
                    <a:pt x="148" y="116"/>
                  </a:lnTo>
                  <a:lnTo>
                    <a:pt x="137" y="112"/>
                  </a:lnTo>
                  <a:lnTo>
                    <a:pt x="125" y="106"/>
                  </a:lnTo>
                  <a:lnTo>
                    <a:pt x="115" y="100"/>
                  </a:lnTo>
                  <a:lnTo>
                    <a:pt x="106" y="93"/>
                  </a:lnTo>
                  <a:lnTo>
                    <a:pt x="98" y="86"/>
                  </a:lnTo>
                  <a:lnTo>
                    <a:pt x="89" y="77"/>
                  </a:lnTo>
                  <a:lnTo>
                    <a:pt x="82" y="67"/>
                  </a:lnTo>
                  <a:lnTo>
                    <a:pt x="76" y="57"/>
                  </a:lnTo>
                  <a:lnTo>
                    <a:pt x="72" y="47"/>
                  </a:lnTo>
                  <a:lnTo>
                    <a:pt x="67" y="36"/>
                  </a:lnTo>
                  <a:lnTo>
                    <a:pt x="65" y="24"/>
                  </a:lnTo>
                  <a:lnTo>
                    <a:pt x="62" y="13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3" y="37"/>
                  </a:lnTo>
                  <a:lnTo>
                    <a:pt x="7" y="54"/>
                  </a:lnTo>
                  <a:lnTo>
                    <a:pt x="14" y="72"/>
                  </a:lnTo>
                  <a:lnTo>
                    <a:pt x="21" y="87"/>
                  </a:lnTo>
                  <a:lnTo>
                    <a:pt x="31" y="102"/>
                  </a:lnTo>
                  <a:lnTo>
                    <a:pt x="42" y="116"/>
                  </a:lnTo>
                  <a:lnTo>
                    <a:pt x="53" y="129"/>
                  </a:lnTo>
                  <a:lnTo>
                    <a:pt x="66" y="142"/>
                  </a:lnTo>
                  <a:lnTo>
                    <a:pt x="80" y="152"/>
                  </a:lnTo>
                  <a:lnTo>
                    <a:pt x="96" y="161"/>
                  </a:lnTo>
                  <a:lnTo>
                    <a:pt x="112" y="169"/>
                  </a:lnTo>
                  <a:lnTo>
                    <a:pt x="129" y="175"/>
                  </a:lnTo>
                  <a:lnTo>
                    <a:pt x="147" y="179"/>
                  </a:lnTo>
                  <a:lnTo>
                    <a:pt x="165" y="182"/>
                  </a:lnTo>
                  <a:lnTo>
                    <a:pt x="184" y="184"/>
                  </a:lnTo>
                  <a:lnTo>
                    <a:pt x="203" y="182"/>
                  </a:lnTo>
                  <a:lnTo>
                    <a:pt x="220" y="179"/>
                  </a:lnTo>
                  <a:lnTo>
                    <a:pt x="239" y="175"/>
                  </a:lnTo>
                  <a:lnTo>
                    <a:pt x="256" y="169"/>
                  </a:lnTo>
                  <a:lnTo>
                    <a:pt x="272" y="161"/>
                  </a:lnTo>
                  <a:lnTo>
                    <a:pt x="286" y="152"/>
                  </a:lnTo>
                  <a:lnTo>
                    <a:pt x="301" y="142"/>
                  </a:lnTo>
                  <a:lnTo>
                    <a:pt x="314" y="129"/>
                  </a:lnTo>
                  <a:lnTo>
                    <a:pt x="325" y="116"/>
                  </a:lnTo>
                  <a:lnTo>
                    <a:pt x="337" y="102"/>
                  </a:lnTo>
                  <a:lnTo>
                    <a:pt x="345" y="87"/>
                  </a:lnTo>
                  <a:lnTo>
                    <a:pt x="354" y="72"/>
                  </a:lnTo>
                  <a:lnTo>
                    <a:pt x="360" y="54"/>
                  </a:lnTo>
                  <a:lnTo>
                    <a:pt x="364" y="37"/>
                  </a:lnTo>
                  <a:lnTo>
                    <a:pt x="367" y="19"/>
                  </a:lnTo>
                  <a:lnTo>
                    <a:pt x="368" y="0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005B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sp>
        <p:nvSpPr>
          <p:cNvPr id="1055" name="Freeform 59">
            <a:extLst>
              <a:ext uri="{FF2B5EF4-FFF2-40B4-BE49-F238E27FC236}">
                <a16:creationId xmlns:a16="http://schemas.microsoft.com/office/drawing/2014/main" id="{2DFFDBD3-7F36-8A8D-3478-2BFDFDDD2516}"/>
              </a:ext>
            </a:extLst>
          </p:cNvPr>
          <p:cNvSpPr>
            <a:spLocks noEditPoints="1"/>
          </p:cNvSpPr>
          <p:nvPr/>
        </p:nvSpPr>
        <p:spPr bwMode="auto">
          <a:xfrm>
            <a:off x="671513" y="6011863"/>
            <a:ext cx="2755900" cy="222250"/>
          </a:xfrm>
          <a:custGeom>
            <a:avLst/>
            <a:gdLst>
              <a:gd name="T0" fmla="*/ 4971 w 5206"/>
              <a:gd name="T1" fmla="*/ 260 h 418"/>
              <a:gd name="T2" fmla="*/ 4831 w 5206"/>
              <a:gd name="T3" fmla="*/ 213 h 418"/>
              <a:gd name="T4" fmla="*/ 4970 w 5206"/>
              <a:gd name="T5" fmla="*/ 164 h 418"/>
              <a:gd name="T6" fmla="*/ 4797 w 5206"/>
              <a:gd name="T7" fmla="*/ 177 h 418"/>
              <a:gd name="T8" fmla="*/ 4751 w 5206"/>
              <a:gd name="T9" fmla="*/ 326 h 418"/>
              <a:gd name="T10" fmla="*/ 4710 w 5206"/>
              <a:gd name="T11" fmla="*/ 305 h 418"/>
              <a:gd name="T12" fmla="*/ 4520 w 5206"/>
              <a:gd name="T13" fmla="*/ 285 h 418"/>
              <a:gd name="T14" fmla="*/ 4536 w 5206"/>
              <a:gd name="T15" fmla="*/ 329 h 418"/>
              <a:gd name="T16" fmla="*/ 4245 w 5206"/>
              <a:gd name="T17" fmla="*/ 269 h 418"/>
              <a:gd name="T18" fmla="*/ 4293 w 5206"/>
              <a:gd name="T19" fmla="*/ 134 h 418"/>
              <a:gd name="T20" fmla="*/ 4366 w 5206"/>
              <a:gd name="T21" fmla="*/ 257 h 418"/>
              <a:gd name="T22" fmla="*/ 4404 w 5206"/>
              <a:gd name="T23" fmla="*/ 269 h 418"/>
              <a:gd name="T24" fmla="*/ 4277 w 5206"/>
              <a:gd name="T25" fmla="*/ 98 h 418"/>
              <a:gd name="T26" fmla="*/ 4226 w 5206"/>
              <a:gd name="T27" fmla="*/ 303 h 418"/>
              <a:gd name="T28" fmla="*/ 3956 w 5206"/>
              <a:gd name="T29" fmla="*/ 229 h 418"/>
              <a:gd name="T30" fmla="*/ 4071 w 5206"/>
              <a:gd name="T31" fmla="*/ 143 h 418"/>
              <a:gd name="T32" fmla="*/ 4064 w 5206"/>
              <a:gd name="T33" fmla="*/ 286 h 418"/>
              <a:gd name="T34" fmla="*/ 3987 w 5206"/>
              <a:gd name="T35" fmla="*/ 318 h 418"/>
              <a:gd name="T36" fmla="*/ 4144 w 5206"/>
              <a:gd name="T37" fmla="*/ 177 h 418"/>
              <a:gd name="T38" fmla="*/ 3758 w 5206"/>
              <a:gd name="T39" fmla="*/ 102 h 418"/>
              <a:gd name="T40" fmla="*/ 3724 w 5206"/>
              <a:gd name="T41" fmla="*/ 15 h 418"/>
              <a:gd name="T42" fmla="*/ 3616 w 5206"/>
              <a:gd name="T43" fmla="*/ 180 h 418"/>
              <a:gd name="T44" fmla="*/ 3386 w 5206"/>
              <a:gd name="T45" fmla="*/ 289 h 418"/>
              <a:gd name="T46" fmla="*/ 3365 w 5206"/>
              <a:gd name="T47" fmla="*/ 147 h 418"/>
              <a:gd name="T48" fmla="*/ 3488 w 5206"/>
              <a:gd name="T49" fmla="*/ 222 h 418"/>
              <a:gd name="T50" fmla="*/ 3347 w 5206"/>
              <a:gd name="T51" fmla="*/ 121 h 418"/>
              <a:gd name="T52" fmla="*/ 3494 w 5206"/>
              <a:gd name="T53" fmla="*/ 296 h 418"/>
              <a:gd name="T54" fmla="*/ 3426 w 5206"/>
              <a:gd name="T55" fmla="*/ 97 h 418"/>
              <a:gd name="T56" fmla="*/ 3220 w 5206"/>
              <a:gd name="T57" fmla="*/ 115 h 418"/>
              <a:gd name="T58" fmla="*/ 3102 w 5206"/>
              <a:gd name="T59" fmla="*/ 206 h 418"/>
              <a:gd name="T60" fmla="*/ 3135 w 5206"/>
              <a:gd name="T61" fmla="*/ 288 h 418"/>
              <a:gd name="T62" fmla="*/ 3243 w 5206"/>
              <a:gd name="T63" fmla="*/ 285 h 418"/>
              <a:gd name="T64" fmla="*/ 2949 w 5206"/>
              <a:gd name="T65" fmla="*/ 97 h 418"/>
              <a:gd name="T66" fmla="*/ 2941 w 5206"/>
              <a:gd name="T67" fmla="*/ 133 h 418"/>
              <a:gd name="T68" fmla="*/ 2984 w 5206"/>
              <a:gd name="T69" fmla="*/ 102 h 418"/>
              <a:gd name="T70" fmla="*/ 2683 w 5206"/>
              <a:gd name="T71" fmla="*/ 133 h 418"/>
              <a:gd name="T72" fmla="*/ 2658 w 5206"/>
              <a:gd name="T73" fmla="*/ 98 h 418"/>
              <a:gd name="T74" fmla="*/ 2608 w 5206"/>
              <a:gd name="T75" fmla="*/ 303 h 418"/>
              <a:gd name="T76" fmla="*/ 2697 w 5206"/>
              <a:gd name="T77" fmla="*/ 292 h 418"/>
              <a:gd name="T78" fmla="*/ 2462 w 5206"/>
              <a:gd name="T79" fmla="*/ 417 h 418"/>
              <a:gd name="T80" fmla="*/ 2523 w 5206"/>
              <a:gd name="T81" fmla="*/ 51 h 418"/>
              <a:gd name="T82" fmla="*/ 2483 w 5206"/>
              <a:gd name="T83" fmla="*/ 54 h 418"/>
              <a:gd name="T84" fmla="*/ 2318 w 5206"/>
              <a:gd name="T85" fmla="*/ 133 h 418"/>
              <a:gd name="T86" fmla="*/ 2294 w 5206"/>
              <a:gd name="T87" fmla="*/ 98 h 418"/>
              <a:gd name="T88" fmla="*/ 2244 w 5206"/>
              <a:gd name="T89" fmla="*/ 303 h 418"/>
              <a:gd name="T90" fmla="*/ 2333 w 5206"/>
              <a:gd name="T91" fmla="*/ 292 h 418"/>
              <a:gd name="T92" fmla="*/ 1910 w 5206"/>
              <a:gd name="T93" fmla="*/ 279 h 418"/>
              <a:gd name="T94" fmla="*/ 1930 w 5206"/>
              <a:gd name="T95" fmla="*/ 137 h 418"/>
              <a:gd name="T96" fmla="*/ 2026 w 5206"/>
              <a:gd name="T97" fmla="*/ 245 h 418"/>
              <a:gd name="T98" fmla="*/ 2045 w 5206"/>
              <a:gd name="T99" fmla="*/ 288 h 418"/>
              <a:gd name="T100" fmla="*/ 1954 w 5206"/>
              <a:gd name="T101" fmla="*/ 97 h 418"/>
              <a:gd name="T102" fmla="*/ 1863 w 5206"/>
              <a:gd name="T103" fmla="*/ 288 h 418"/>
              <a:gd name="T104" fmla="*/ 1469 w 5206"/>
              <a:gd name="T105" fmla="*/ 292 h 418"/>
              <a:gd name="T106" fmla="*/ 1404 w 5206"/>
              <a:gd name="T107" fmla="*/ 168 h 418"/>
              <a:gd name="T108" fmla="*/ 1545 w 5206"/>
              <a:gd name="T109" fmla="*/ 189 h 418"/>
              <a:gd name="T110" fmla="*/ 1541 w 5206"/>
              <a:gd name="T111" fmla="*/ 130 h 418"/>
              <a:gd name="T112" fmla="*/ 1352 w 5206"/>
              <a:gd name="T113" fmla="*/ 213 h 418"/>
              <a:gd name="T114" fmla="*/ 1541 w 5206"/>
              <a:gd name="T115" fmla="*/ 295 h 418"/>
              <a:gd name="T116" fmla="*/ 1161 w 5206"/>
              <a:gd name="T117" fmla="*/ 166 h 418"/>
              <a:gd name="T118" fmla="*/ 1300 w 5206"/>
              <a:gd name="T119" fmla="*/ 141 h 418"/>
              <a:gd name="T120" fmla="*/ 1057 w 5206"/>
              <a:gd name="T121" fmla="*/ 289 h 418"/>
              <a:gd name="T122" fmla="*/ 966 w 5206"/>
              <a:gd name="T123" fmla="*/ 102 h 418"/>
              <a:gd name="T124" fmla="*/ 412 w 5206"/>
              <a:gd name="T125" fmla="*/ 324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206" h="418">
                <a:moveTo>
                  <a:pt x="5088" y="286"/>
                </a:moveTo>
                <a:lnTo>
                  <a:pt x="5201" y="128"/>
                </a:lnTo>
                <a:lnTo>
                  <a:pt x="5201" y="102"/>
                </a:lnTo>
                <a:lnTo>
                  <a:pt x="5040" y="102"/>
                </a:lnTo>
                <a:lnTo>
                  <a:pt x="5040" y="138"/>
                </a:lnTo>
                <a:lnTo>
                  <a:pt x="5148" y="138"/>
                </a:lnTo>
                <a:lnTo>
                  <a:pt x="5034" y="298"/>
                </a:lnTo>
                <a:lnTo>
                  <a:pt x="5034" y="324"/>
                </a:lnTo>
                <a:lnTo>
                  <a:pt x="5206" y="324"/>
                </a:lnTo>
                <a:lnTo>
                  <a:pt x="5206" y="286"/>
                </a:lnTo>
                <a:lnTo>
                  <a:pt x="5088" y="286"/>
                </a:lnTo>
                <a:close/>
                <a:moveTo>
                  <a:pt x="4909" y="329"/>
                </a:moveTo>
                <a:lnTo>
                  <a:pt x="4909" y="329"/>
                </a:lnTo>
                <a:lnTo>
                  <a:pt x="4925" y="328"/>
                </a:lnTo>
                <a:lnTo>
                  <a:pt x="4941" y="325"/>
                </a:lnTo>
                <a:lnTo>
                  <a:pt x="4955" y="321"/>
                </a:lnTo>
                <a:lnTo>
                  <a:pt x="4968" y="313"/>
                </a:lnTo>
                <a:lnTo>
                  <a:pt x="4981" y="305"/>
                </a:lnTo>
                <a:lnTo>
                  <a:pt x="4993" y="295"/>
                </a:lnTo>
                <a:lnTo>
                  <a:pt x="5001" y="285"/>
                </a:lnTo>
                <a:lnTo>
                  <a:pt x="5010" y="272"/>
                </a:lnTo>
                <a:lnTo>
                  <a:pt x="4977" y="253"/>
                </a:lnTo>
                <a:lnTo>
                  <a:pt x="4971" y="260"/>
                </a:lnTo>
                <a:lnTo>
                  <a:pt x="4965" y="269"/>
                </a:lnTo>
                <a:lnTo>
                  <a:pt x="4958" y="275"/>
                </a:lnTo>
                <a:lnTo>
                  <a:pt x="4949" y="280"/>
                </a:lnTo>
                <a:lnTo>
                  <a:pt x="4941" y="285"/>
                </a:lnTo>
                <a:lnTo>
                  <a:pt x="4931" y="289"/>
                </a:lnTo>
                <a:lnTo>
                  <a:pt x="4921" y="290"/>
                </a:lnTo>
                <a:lnTo>
                  <a:pt x="4909" y="290"/>
                </a:lnTo>
                <a:lnTo>
                  <a:pt x="4900" y="290"/>
                </a:lnTo>
                <a:lnTo>
                  <a:pt x="4893" y="289"/>
                </a:lnTo>
                <a:lnTo>
                  <a:pt x="4886" y="288"/>
                </a:lnTo>
                <a:lnTo>
                  <a:pt x="4879" y="285"/>
                </a:lnTo>
                <a:lnTo>
                  <a:pt x="4872" y="282"/>
                </a:lnTo>
                <a:lnTo>
                  <a:pt x="4864" y="278"/>
                </a:lnTo>
                <a:lnTo>
                  <a:pt x="4859" y="273"/>
                </a:lnTo>
                <a:lnTo>
                  <a:pt x="4853" y="269"/>
                </a:lnTo>
                <a:lnTo>
                  <a:pt x="4849" y="263"/>
                </a:lnTo>
                <a:lnTo>
                  <a:pt x="4844" y="257"/>
                </a:lnTo>
                <a:lnTo>
                  <a:pt x="4840" y="250"/>
                </a:lnTo>
                <a:lnTo>
                  <a:pt x="4837" y="243"/>
                </a:lnTo>
                <a:lnTo>
                  <a:pt x="4834" y="236"/>
                </a:lnTo>
                <a:lnTo>
                  <a:pt x="4833" y="229"/>
                </a:lnTo>
                <a:lnTo>
                  <a:pt x="4831" y="222"/>
                </a:lnTo>
                <a:lnTo>
                  <a:pt x="4831" y="213"/>
                </a:lnTo>
                <a:lnTo>
                  <a:pt x="4831" y="204"/>
                </a:lnTo>
                <a:lnTo>
                  <a:pt x="4833" y="197"/>
                </a:lnTo>
                <a:lnTo>
                  <a:pt x="4834" y="189"/>
                </a:lnTo>
                <a:lnTo>
                  <a:pt x="4837" y="181"/>
                </a:lnTo>
                <a:lnTo>
                  <a:pt x="4840" y="174"/>
                </a:lnTo>
                <a:lnTo>
                  <a:pt x="4844" y="168"/>
                </a:lnTo>
                <a:lnTo>
                  <a:pt x="4849" y="163"/>
                </a:lnTo>
                <a:lnTo>
                  <a:pt x="4853" y="157"/>
                </a:lnTo>
                <a:lnTo>
                  <a:pt x="4859" y="151"/>
                </a:lnTo>
                <a:lnTo>
                  <a:pt x="4864" y="147"/>
                </a:lnTo>
                <a:lnTo>
                  <a:pt x="4872" y="143"/>
                </a:lnTo>
                <a:lnTo>
                  <a:pt x="4879" y="140"/>
                </a:lnTo>
                <a:lnTo>
                  <a:pt x="4886" y="137"/>
                </a:lnTo>
                <a:lnTo>
                  <a:pt x="4893" y="135"/>
                </a:lnTo>
                <a:lnTo>
                  <a:pt x="4900" y="134"/>
                </a:lnTo>
                <a:lnTo>
                  <a:pt x="4909" y="134"/>
                </a:lnTo>
                <a:lnTo>
                  <a:pt x="4921" y="134"/>
                </a:lnTo>
                <a:lnTo>
                  <a:pt x="4931" y="137"/>
                </a:lnTo>
                <a:lnTo>
                  <a:pt x="4941" y="140"/>
                </a:lnTo>
                <a:lnTo>
                  <a:pt x="4949" y="144"/>
                </a:lnTo>
                <a:lnTo>
                  <a:pt x="4957" y="150"/>
                </a:lnTo>
                <a:lnTo>
                  <a:pt x="4964" y="157"/>
                </a:lnTo>
                <a:lnTo>
                  <a:pt x="4970" y="164"/>
                </a:lnTo>
                <a:lnTo>
                  <a:pt x="4975" y="173"/>
                </a:lnTo>
                <a:lnTo>
                  <a:pt x="5007" y="154"/>
                </a:lnTo>
                <a:lnTo>
                  <a:pt x="5000" y="141"/>
                </a:lnTo>
                <a:lnTo>
                  <a:pt x="4991" y="130"/>
                </a:lnTo>
                <a:lnTo>
                  <a:pt x="4981" y="121"/>
                </a:lnTo>
                <a:lnTo>
                  <a:pt x="4968" y="112"/>
                </a:lnTo>
                <a:lnTo>
                  <a:pt x="4955" y="105"/>
                </a:lnTo>
                <a:lnTo>
                  <a:pt x="4941" y="101"/>
                </a:lnTo>
                <a:lnTo>
                  <a:pt x="4925" y="97"/>
                </a:lnTo>
                <a:lnTo>
                  <a:pt x="4909" y="97"/>
                </a:lnTo>
                <a:lnTo>
                  <a:pt x="4898" y="97"/>
                </a:lnTo>
                <a:lnTo>
                  <a:pt x="4885" y="98"/>
                </a:lnTo>
                <a:lnTo>
                  <a:pt x="4873" y="101"/>
                </a:lnTo>
                <a:lnTo>
                  <a:pt x="4863" y="105"/>
                </a:lnTo>
                <a:lnTo>
                  <a:pt x="4853" y="110"/>
                </a:lnTo>
                <a:lnTo>
                  <a:pt x="4843" y="115"/>
                </a:lnTo>
                <a:lnTo>
                  <a:pt x="4834" y="122"/>
                </a:lnTo>
                <a:lnTo>
                  <a:pt x="4826" y="130"/>
                </a:lnTo>
                <a:lnTo>
                  <a:pt x="4818" y="138"/>
                </a:lnTo>
                <a:lnTo>
                  <a:pt x="4811" y="147"/>
                </a:lnTo>
                <a:lnTo>
                  <a:pt x="4805" y="157"/>
                </a:lnTo>
                <a:lnTo>
                  <a:pt x="4801" y="167"/>
                </a:lnTo>
                <a:lnTo>
                  <a:pt x="4797" y="177"/>
                </a:lnTo>
                <a:lnTo>
                  <a:pt x="4795" y="189"/>
                </a:lnTo>
                <a:lnTo>
                  <a:pt x="4792" y="200"/>
                </a:lnTo>
                <a:lnTo>
                  <a:pt x="4792" y="213"/>
                </a:lnTo>
                <a:lnTo>
                  <a:pt x="4792" y="224"/>
                </a:lnTo>
                <a:lnTo>
                  <a:pt x="4795" y="236"/>
                </a:lnTo>
                <a:lnTo>
                  <a:pt x="4797" y="247"/>
                </a:lnTo>
                <a:lnTo>
                  <a:pt x="4801" y="259"/>
                </a:lnTo>
                <a:lnTo>
                  <a:pt x="4805" y="269"/>
                </a:lnTo>
                <a:lnTo>
                  <a:pt x="4811" y="279"/>
                </a:lnTo>
                <a:lnTo>
                  <a:pt x="4818" y="288"/>
                </a:lnTo>
                <a:lnTo>
                  <a:pt x="4826" y="296"/>
                </a:lnTo>
                <a:lnTo>
                  <a:pt x="4834" y="303"/>
                </a:lnTo>
                <a:lnTo>
                  <a:pt x="4843" y="309"/>
                </a:lnTo>
                <a:lnTo>
                  <a:pt x="4853" y="315"/>
                </a:lnTo>
                <a:lnTo>
                  <a:pt x="4863" y="321"/>
                </a:lnTo>
                <a:lnTo>
                  <a:pt x="4873" y="324"/>
                </a:lnTo>
                <a:lnTo>
                  <a:pt x="4885" y="326"/>
                </a:lnTo>
                <a:lnTo>
                  <a:pt x="4898" y="329"/>
                </a:lnTo>
                <a:lnTo>
                  <a:pt x="4909" y="329"/>
                </a:lnTo>
                <a:close/>
                <a:moveTo>
                  <a:pt x="4739" y="328"/>
                </a:moveTo>
                <a:lnTo>
                  <a:pt x="4739" y="328"/>
                </a:lnTo>
                <a:lnTo>
                  <a:pt x="4745" y="328"/>
                </a:lnTo>
                <a:lnTo>
                  <a:pt x="4751" y="326"/>
                </a:lnTo>
                <a:lnTo>
                  <a:pt x="4755" y="324"/>
                </a:lnTo>
                <a:lnTo>
                  <a:pt x="4759" y="321"/>
                </a:lnTo>
                <a:lnTo>
                  <a:pt x="4764" y="316"/>
                </a:lnTo>
                <a:lnTo>
                  <a:pt x="4765" y="311"/>
                </a:lnTo>
                <a:lnTo>
                  <a:pt x="4768" y="305"/>
                </a:lnTo>
                <a:lnTo>
                  <a:pt x="4768" y="299"/>
                </a:lnTo>
                <a:lnTo>
                  <a:pt x="4768" y="293"/>
                </a:lnTo>
                <a:lnTo>
                  <a:pt x="4765" y="289"/>
                </a:lnTo>
                <a:lnTo>
                  <a:pt x="4764" y="283"/>
                </a:lnTo>
                <a:lnTo>
                  <a:pt x="4759" y="279"/>
                </a:lnTo>
                <a:lnTo>
                  <a:pt x="4755" y="276"/>
                </a:lnTo>
                <a:lnTo>
                  <a:pt x="4751" y="273"/>
                </a:lnTo>
                <a:lnTo>
                  <a:pt x="4745" y="272"/>
                </a:lnTo>
                <a:lnTo>
                  <a:pt x="4739" y="270"/>
                </a:lnTo>
                <a:lnTo>
                  <a:pt x="4733" y="272"/>
                </a:lnTo>
                <a:lnTo>
                  <a:pt x="4728" y="273"/>
                </a:lnTo>
                <a:lnTo>
                  <a:pt x="4723" y="276"/>
                </a:lnTo>
                <a:lnTo>
                  <a:pt x="4719" y="279"/>
                </a:lnTo>
                <a:lnTo>
                  <a:pt x="4715" y="283"/>
                </a:lnTo>
                <a:lnTo>
                  <a:pt x="4712" y="289"/>
                </a:lnTo>
                <a:lnTo>
                  <a:pt x="4710" y="293"/>
                </a:lnTo>
                <a:lnTo>
                  <a:pt x="4710" y="299"/>
                </a:lnTo>
                <a:lnTo>
                  <a:pt x="4710" y="305"/>
                </a:lnTo>
                <a:lnTo>
                  <a:pt x="4712" y="311"/>
                </a:lnTo>
                <a:lnTo>
                  <a:pt x="4715" y="316"/>
                </a:lnTo>
                <a:lnTo>
                  <a:pt x="4719" y="321"/>
                </a:lnTo>
                <a:lnTo>
                  <a:pt x="4723" y="324"/>
                </a:lnTo>
                <a:lnTo>
                  <a:pt x="4728" y="326"/>
                </a:lnTo>
                <a:lnTo>
                  <a:pt x="4733" y="328"/>
                </a:lnTo>
                <a:lnTo>
                  <a:pt x="4739" y="328"/>
                </a:lnTo>
                <a:close/>
                <a:moveTo>
                  <a:pt x="4617" y="102"/>
                </a:moveTo>
                <a:lnTo>
                  <a:pt x="4617" y="102"/>
                </a:lnTo>
                <a:lnTo>
                  <a:pt x="4617" y="219"/>
                </a:lnTo>
                <a:lnTo>
                  <a:pt x="4615" y="237"/>
                </a:lnTo>
                <a:lnTo>
                  <a:pt x="4612" y="253"/>
                </a:lnTo>
                <a:lnTo>
                  <a:pt x="4610" y="259"/>
                </a:lnTo>
                <a:lnTo>
                  <a:pt x="4607" y="266"/>
                </a:lnTo>
                <a:lnTo>
                  <a:pt x="4602" y="270"/>
                </a:lnTo>
                <a:lnTo>
                  <a:pt x="4598" y="276"/>
                </a:lnTo>
                <a:lnTo>
                  <a:pt x="4589" y="283"/>
                </a:lnTo>
                <a:lnTo>
                  <a:pt x="4578" y="289"/>
                </a:lnTo>
                <a:lnTo>
                  <a:pt x="4566" y="292"/>
                </a:lnTo>
                <a:lnTo>
                  <a:pt x="4553" y="292"/>
                </a:lnTo>
                <a:lnTo>
                  <a:pt x="4540" y="292"/>
                </a:lnTo>
                <a:lnTo>
                  <a:pt x="4530" y="289"/>
                </a:lnTo>
                <a:lnTo>
                  <a:pt x="4520" y="285"/>
                </a:lnTo>
                <a:lnTo>
                  <a:pt x="4513" y="278"/>
                </a:lnTo>
                <a:lnTo>
                  <a:pt x="4506" y="270"/>
                </a:lnTo>
                <a:lnTo>
                  <a:pt x="4502" y="260"/>
                </a:lnTo>
                <a:lnTo>
                  <a:pt x="4499" y="249"/>
                </a:lnTo>
                <a:lnTo>
                  <a:pt x="4497" y="236"/>
                </a:lnTo>
                <a:lnTo>
                  <a:pt x="4497" y="102"/>
                </a:lnTo>
                <a:lnTo>
                  <a:pt x="4458" y="102"/>
                </a:lnTo>
                <a:lnTo>
                  <a:pt x="4458" y="237"/>
                </a:lnTo>
                <a:lnTo>
                  <a:pt x="4460" y="249"/>
                </a:lnTo>
                <a:lnTo>
                  <a:pt x="4461" y="259"/>
                </a:lnTo>
                <a:lnTo>
                  <a:pt x="4463" y="267"/>
                </a:lnTo>
                <a:lnTo>
                  <a:pt x="4466" y="276"/>
                </a:lnTo>
                <a:lnTo>
                  <a:pt x="4468" y="285"/>
                </a:lnTo>
                <a:lnTo>
                  <a:pt x="4473" y="292"/>
                </a:lnTo>
                <a:lnTo>
                  <a:pt x="4477" y="299"/>
                </a:lnTo>
                <a:lnTo>
                  <a:pt x="4483" y="305"/>
                </a:lnTo>
                <a:lnTo>
                  <a:pt x="4489" y="311"/>
                </a:lnTo>
                <a:lnTo>
                  <a:pt x="4494" y="315"/>
                </a:lnTo>
                <a:lnTo>
                  <a:pt x="4502" y="319"/>
                </a:lnTo>
                <a:lnTo>
                  <a:pt x="4510" y="324"/>
                </a:lnTo>
                <a:lnTo>
                  <a:pt x="4517" y="326"/>
                </a:lnTo>
                <a:lnTo>
                  <a:pt x="4526" y="328"/>
                </a:lnTo>
                <a:lnTo>
                  <a:pt x="4536" y="329"/>
                </a:lnTo>
                <a:lnTo>
                  <a:pt x="4545" y="329"/>
                </a:lnTo>
                <a:lnTo>
                  <a:pt x="4556" y="329"/>
                </a:lnTo>
                <a:lnTo>
                  <a:pt x="4568" y="326"/>
                </a:lnTo>
                <a:lnTo>
                  <a:pt x="4578" y="325"/>
                </a:lnTo>
                <a:lnTo>
                  <a:pt x="4586" y="321"/>
                </a:lnTo>
                <a:lnTo>
                  <a:pt x="4595" y="315"/>
                </a:lnTo>
                <a:lnTo>
                  <a:pt x="4604" y="309"/>
                </a:lnTo>
                <a:lnTo>
                  <a:pt x="4611" y="301"/>
                </a:lnTo>
                <a:lnTo>
                  <a:pt x="4617" y="292"/>
                </a:lnTo>
                <a:lnTo>
                  <a:pt x="4617" y="324"/>
                </a:lnTo>
                <a:lnTo>
                  <a:pt x="4656" y="324"/>
                </a:lnTo>
                <a:lnTo>
                  <a:pt x="4656" y="102"/>
                </a:lnTo>
                <a:lnTo>
                  <a:pt x="4617" y="102"/>
                </a:lnTo>
                <a:close/>
                <a:moveTo>
                  <a:pt x="4301" y="292"/>
                </a:moveTo>
                <a:lnTo>
                  <a:pt x="4301" y="292"/>
                </a:lnTo>
                <a:lnTo>
                  <a:pt x="4293" y="290"/>
                </a:lnTo>
                <a:lnTo>
                  <a:pt x="4284" y="290"/>
                </a:lnTo>
                <a:lnTo>
                  <a:pt x="4277" y="288"/>
                </a:lnTo>
                <a:lnTo>
                  <a:pt x="4270" y="286"/>
                </a:lnTo>
                <a:lnTo>
                  <a:pt x="4262" y="282"/>
                </a:lnTo>
                <a:lnTo>
                  <a:pt x="4257" y="279"/>
                </a:lnTo>
                <a:lnTo>
                  <a:pt x="4251" y="273"/>
                </a:lnTo>
                <a:lnTo>
                  <a:pt x="4245" y="269"/>
                </a:lnTo>
                <a:lnTo>
                  <a:pt x="4239" y="263"/>
                </a:lnTo>
                <a:lnTo>
                  <a:pt x="4235" y="257"/>
                </a:lnTo>
                <a:lnTo>
                  <a:pt x="4232" y="250"/>
                </a:lnTo>
                <a:lnTo>
                  <a:pt x="4228" y="245"/>
                </a:lnTo>
                <a:lnTo>
                  <a:pt x="4226" y="236"/>
                </a:lnTo>
                <a:lnTo>
                  <a:pt x="4224" y="229"/>
                </a:lnTo>
                <a:lnTo>
                  <a:pt x="4222" y="222"/>
                </a:lnTo>
                <a:lnTo>
                  <a:pt x="4222" y="213"/>
                </a:lnTo>
                <a:lnTo>
                  <a:pt x="4222" y="204"/>
                </a:lnTo>
                <a:lnTo>
                  <a:pt x="4224" y="197"/>
                </a:lnTo>
                <a:lnTo>
                  <a:pt x="4226" y="189"/>
                </a:lnTo>
                <a:lnTo>
                  <a:pt x="4228" y="181"/>
                </a:lnTo>
                <a:lnTo>
                  <a:pt x="4232" y="174"/>
                </a:lnTo>
                <a:lnTo>
                  <a:pt x="4235" y="168"/>
                </a:lnTo>
                <a:lnTo>
                  <a:pt x="4239" y="163"/>
                </a:lnTo>
                <a:lnTo>
                  <a:pt x="4245" y="157"/>
                </a:lnTo>
                <a:lnTo>
                  <a:pt x="4251" y="151"/>
                </a:lnTo>
                <a:lnTo>
                  <a:pt x="4257" y="147"/>
                </a:lnTo>
                <a:lnTo>
                  <a:pt x="4262" y="143"/>
                </a:lnTo>
                <a:lnTo>
                  <a:pt x="4270" y="140"/>
                </a:lnTo>
                <a:lnTo>
                  <a:pt x="4277" y="137"/>
                </a:lnTo>
                <a:lnTo>
                  <a:pt x="4284" y="135"/>
                </a:lnTo>
                <a:lnTo>
                  <a:pt x="4293" y="134"/>
                </a:lnTo>
                <a:lnTo>
                  <a:pt x="4301" y="134"/>
                </a:lnTo>
                <a:lnTo>
                  <a:pt x="4309" y="134"/>
                </a:lnTo>
                <a:lnTo>
                  <a:pt x="4317" y="135"/>
                </a:lnTo>
                <a:lnTo>
                  <a:pt x="4324" y="137"/>
                </a:lnTo>
                <a:lnTo>
                  <a:pt x="4332" y="140"/>
                </a:lnTo>
                <a:lnTo>
                  <a:pt x="4339" y="143"/>
                </a:lnTo>
                <a:lnTo>
                  <a:pt x="4345" y="147"/>
                </a:lnTo>
                <a:lnTo>
                  <a:pt x="4352" y="151"/>
                </a:lnTo>
                <a:lnTo>
                  <a:pt x="4356" y="157"/>
                </a:lnTo>
                <a:lnTo>
                  <a:pt x="4362" y="163"/>
                </a:lnTo>
                <a:lnTo>
                  <a:pt x="4366" y="168"/>
                </a:lnTo>
                <a:lnTo>
                  <a:pt x="4370" y="174"/>
                </a:lnTo>
                <a:lnTo>
                  <a:pt x="4373" y="181"/>
                </a:lnTo>
                <a:lnTo>
                  <a:pt x="4376" y="189"/>
                </a:lnTo>
                <a:lnTo>
                  <a:pt x="4378" y="197"/>
                </a:lnTo>
                <a:lnTo>
                  <a:pt x="4379" y="204"/>
                </a:lnTo>
                <a:lnTo>
                  <a:pt x="4379" y="213"/>
                </a:lnTo>
                <a:lnTo>
                  <a:pt x="4379" y="222"/>
                </a:lnTo>
                <a:lnTo>
                  <a:pt x="4378" y="229"/>
                </a:lnTo>
                <a:lnTo>
                  <a:pt x="4376" y="236"/>
                </a:lnTo>
                <a:lnTo>
                  <a:pt x="4373" y="245"/>
                </a:lnTo>
                <a:lnTo>
                  <a:pt x="4370" y="250"/>
                </a:lnTo>
                <a:lnTo>
                  <a:pt x="4366" y="257"/>
                </a:lnTo>
                <a:lnTo>
                  <a:pt x="4362" y="263"/>
                </a:lnTo>
                <a:lnTo>
                  <a:pt x="4356" y="269"/>
                </a:lnTo>
                <a:lnTo>
                  <a:pt x="4352" y="273"/>
                </a:lnTo>
                <a:lnTo>
                  <a:pt x="4345" y="279"/>
                </a:lnTo>
                <a:lnTo>
                  <a:pt x="4339" y="282"/>
                </a:lnTo>
                <a:lnTo>
                  <a:pt x="4332" y="286"/>
                </a:lnTo>
                <a:lnTo>
                  <a:pt x="4324" y="288"/>
                </a:lnTo>
                <a:lnTo>
                  <a:pt x="4317" y="290"/>
                </a:lnTo>
                <a:lnTo>
                  <a:pt x="4309" y="290"/>
                </a:lnTo>
                <a:lnTo>
                  <a:pt x="4301" y="292"/>
                </a:lnTo>
                <a:close/>
                <a:moveTo>
                  <a:pt x="4301" y="329"/>
                </a:moveTo>
                <a:lnTo>
                  <a:pt x="4301" y="329"/>
                </a:lnTo>
                <a:lnTo>
                  <a:pt x="4313" y="329"/>
                </a:lnTo>
                <a:lnTo>
                  <a:pt x="4324" y="326"/>
                </a:lnTo>
                <a:lnTo>
                  <a:pt x="4336" y="324"/>
                </a:lnTo>
                <a:lnTo>
                  <a:pt x="4346" y="321"/>
                </a:lnTo>
                <a:lnTo>
                  <a:pt x="4356" y="315"/>
                </a:lnTo>
                <a:lnTo>
                  <a:pt x="4366" y="309"/>
                </a:lnTo>
                <a:lnTo>
                  <a:pt x="4375" y="303"/>
                </a:lnTo>
                <a:lnTo>
                  <a:pt x="4383" y="296"/>
                </a:lnTo>
                <a:lnTo>
                  <a:pt x="4391" y="288"/>
                </a:lnTo>
                <a:lnTo>
                  <a:pt x="4398" y="279"/>
                </a:lnTo>
                <a:lnTo>
                  <a:pt x="4404" y="269"/>
                </a:lnTo>
                <a:lnTo>
                  <a:pt x="4409" y="259"/>
                </a:lnTo>
                <a:lnTo>
                  <a:pt x="4412" y="247"/>
                </a:lnTo>
                <a:lnTo>
                  <a:pt x="4415" y="236"/>
                </a:lnTo>
                <a:lnTo>
                  <a:pt x="4418" y="224"/>
                </a:lnTo>
                <a:lnTo>
                  <a:pt x="4418" y="213"/>
                </a:lnTo>
                <a:lnTo>
                  <a:pt x="4418" y="200"/>
                </a:lnTo>
                <a:lnTo>
                  <a:pt x="4415" y="189"/>
                </a:lnTo>
                <a:lnTo>
                  <a:pt x="4412" y="177"/>
                </a:lnTo>
                <a:lnTo>
                  <a:pt x="4409" y="167"/>
                </a:lnTo>
                <a:lnTo>
                  <a:pt x="4404" y="157"/>
                </a:lnTo>
                <a:lnTo>
                  <a:pt x="4398" y="147"/>
                </a:lnTo>
                <a:lnTo>
                  <a:pt x="4391" y="138"/>
                </a:lnTo>
                <a:lnTo>
                  <a:pt x="4383" y="130"/>
                </a:lnTo>
                <a:lnTo>
                  <a:pt x="4375" y="122"/>
                </a:lnTo>
                <a:lnTo>
                  <a:pt x="4366" y="115"/>
                </a:lnTo>
                <a:lnTo>
                  <a:pt x="4356" y="110"/>
                </a:lnTo>
                <a:lnTo>
                  <a:pt x="4346" y="105"/>
                </a:lnTo>
                <a:lnTo>
                  <a:pt x="4336" y="101"/>
                </a:lnTo>
                <a:lnTo>
                  <a:pt x="4324" y="98"/>
                </a:lnTo>
                <a:lnTo>
                  <a:pt x="4313" y="97"/>
                </a:lnTo>
                <a:lnTo>
                  <a:pt x="4301" y="97"/>
                </a:lnTo>
                <a:lnTo>
                  <a:pt x="4288" y="97"/>
                </a:lnTo>
                <a:lnTo>
                  <a:pt x="4277" y="98"/>
                </a:lnTo>
                <a:lnTo>
                  <a:pt x="4265" y="101"/>
                </a:lnTo>
                <a:lnTo>
                  <a:pt x="4255" y="105"/>
                </a:lnTo>
                <a:lnTo>
                  <a:pt x="4245" y="110"/>
                </a:lnTo>
                <a:lnTo>
                  <a:pt x="4235" y="115"/>
                </a:lnTo>
                <a:lnTo>
                  <a:pt x="4226" y="122"/>
                </a:lnTo>
                <a:lnTo>
                  <a:pt x="4218" y="130"/>
                </a:lnTo>
                <a:lnTo>
                  <a:pt x="4211" y="138"/>
                </a:lnTo>
                <a:lnTo>
                  <a:pt x="4203" y="147"/>
                </a:lnTo>
                <a:lnTo>
                  <a:pt x="4198" y="157"/>
                </a:lnTo>
                <a:lnTo>
                  <a:pt x="4193" y="167"/>
                </a:lnTo>
                <a:lnTo>
                  <a:pt x="4189" y="177"/>
                </a:lnTo>
                <a:lnTo>
                  <a:pt x="4186" y="189"/>
                </a:lnTo>
                <a:lnTo>
                  <a:pt x="4185" y="200"/>
                </a:lnTo>
                <a:lnTo>
                  <a:pt x="4183" y="213"/>
                </a:lnTo>
                <a:lnTo>
                  <a:pt x="4185" y="224"/>
                </a:lnTo>
                <a:lnTo>
                  <a:pt x="4186" y="236"/>
                </a:lnTo>
                <a:lnTo>
                  <a:pt x="4189" y="247"/>
                </a:lnTo>
                <a:lnTo>
                  <a:pt x="4193" y="259"/>
                </a:lnTo>
                <a:lnTo>
                  <a:pt x="4198" y="269"/>
                </a:lnTo>
                <a:lnTo>
                  <a:pt x="4203" y="279"/>
                </a:lnTo>
                <a:lnTo>
                  <a:pt x="4211" y="288"/>
                </a:lnTo>
                <a:lnTo>
                  <a:pt x="4218" y="296"/>
                </a:lnTo>
                <a:lnTo>
                  <a:pt x="4226" y="303"/>
                </a:lnTo>
                <a:lnTo>
                  <a:pt x="4235" y="309"/>
                </a:lnTo>
                <a:lnTo>
                  <a:pt x="4245" y="315"/>
                </a:lnTo>
                <a:lnTo>
                  <a:pt x="4255" y="321"/>
                </a:lnTo>
                <a:lnTo>
                  <a:pt x="4265" y="324"/>
                </a:lnTo>
                <a:lnTo>
                  <a:pt x="4277" y="326"/>
                </a:lnTo>
                <a:lnTo>
                  <a:pt x="4288" y="329"/>
                </a:lnTo>
                <a:lnTo>
                  <a:pt x="4301" y="329"/>
                </a:lnTo>
                <a:close/>
                <a:moveTo>
                  <a:pt x="4032" y="292"/>
                </a:moveTo>
                <a:lnTo>
                  <a:pt x="4032" y="292"/>
                </a:lnTo>
                <a:lnTo>
                  <a:pt x="4025" y="292"/>
                </a:lnTo>
                <a:lnTo>
                  <a:pt x="4016" y="290"/>
                </a:lnTo>
                <a:lnTo>
                  <a:pt x="4009" y="289"/>
                </a:lnTo>
                <a:lnTo>
                  <a:pt x="4002" y="286"/>
                </a:lnTo>
                <a:lnTo>
                  <a:pt x="3995" y="283"/>
                </a:lnTo>
                <a:lnTo>
                  <a:pt x="3987" y="279"/>
                </a:lnTo>
                <a:lnTo>
                  <a:pt x="3982" y="275"/>
                </a:lnTo>
                <a:lnTo>
                  <a:pt x="3976" y="269"/>
                </a:lnTo>
                <a:lnTo>
                  <a:pt x="3972" y="263"/>
                </a:lnTo>
                <a:lnTo>
                  <a:pt x="3967" y="257"/>
                </a:lnTo>
                <a:lnTo>
                  <a:pt x="3963" y="252"/>
                </a:lnTo>
                <a:lnTo>
                  <a:pt x="3960" y="245"/>
                </a:lnTo>
                <a:lnTo>
                  <a:pt x="3957" y="237"/>
                </a:lnTo>
                <a:lnTo>
                  <a:pt x="3956" y="229"/>
                </a:lnTo>
                <a:lnTo>
                  <a:pt x="3954" y="222"/>
                </a:lnTo>
                <a:lnTo>
                  <a:pt x="3953" y="213"/>
                </a:lnTo>
                <a:lnTo>
                  <a:pt x="3954" y="204"/>
                </a:lnTo>
                <a:lnTo>
                  <a:pt x="3956" y="196"/>
                </a:lnTo>
                <a:lnTo>
                  <a:pt x="3957" y="189"/>
                </a:lnTo>
                <a:lnTo>
                  <a:pt x="3960" y="181"/>
                </a:lnTo>
                <a:lnTo>
                  <a:pt x="3963" y="174"/>
                </a:lnTo>
                <a:lnTo>
                  <a:pt x="3967" y="168"/>
                </a:lnTo>
                <a:lnTo>
                  <a:pt x="3972" y="161"/>
                </a:lnTo>
                <a:lnTo>
                  <a:pt x="3976" y="155"/>
                </a:lnTo>
                <a:lnTo>
                  <a:pt x="3982" y="151"/>
                </a:lnTo>
                <a:lnTo>
                  <a:pt x="3987" y="147"/>
                </a:lnTo>
                <a:lnTo>
                  <a:pt x="3995" y="143"/>
                </a:lnTo>
                <a:lnTo>
                  <a:pt x="4002" y="140"/>
                </a:lnTo>
                <a:lnTo>
                  <a:pt x="4009" y="137"/>
                </a:lnTo>
                <a:lnTo>
                  <a:pt x="4016" y="135"/>
                </a:lnTo>
                <a:lnTo>
                  <a:pt x="4025" y="134"/>
                </a:lnTo>
                <a:lnTo>
                  <a:pt x="4032" y="134"/>
                </a:lnTo>
                <a:lnTo>
                  <a:pt x="4041" y="134"/>
                </a:lnTo>
                <a:lnTo>
                  <a:pt x="4049" y="135"/>
                </a:lnTo>
                <a:lnTo>
                  <a:pt x="4057" y="137"/>
                </a:lnTo>
                <a:lnTo>
                  <a:pt x="4064" y="140"/>
                </a:lnTo>
                <a:lnTo>
                  <a:pt x="4071" y="143"/>
                </a:lnTo>
                <a:lnTo>
                  <a:pt x="4077" y="147"/>
                </a:lnTo>
                <a:lnTo>
                  <a:pt x="4082" y="151"/>
                </a:lnTo>
                <a:lnTo>
                  <a:pt x="4088" y="155"/>
                </a:lnTo>
                <a:lnTo>
                  <a:pt x="4094" y="161"/>
                </a:lnTo>
                <a:lnTo>
                  <a:pt x="4098" y="168"/>
                </a:lnTo>
                <a:lnTo>
                  <a:pt x="4103" y="174"/>
                </a:lnTo>
                <a:lnTo>
                  <a:pt x="4106" y="181"/>
                </a:lnTo>
                <a:lnTo>
                  <a:pt x="4108" y="189"/>
                </a:lnTo>
                <a:lnTo>
                  <a:pt x="4110" y="196"/>
                </a:lnTo>
                <a:lnTo>
                  <a:pt x="4111" y="204"/>
                </a:lnTo>
                <a:lnTo>
                  <a:pt x="4111" y="213"/>
                </a:lnTo>
                <a:lnTo>
                  <a:pt x="4111" y="222"/>
                </a:lnTo>
                <a:lnTo>
                  <a:pt x="4110" y="229"/>
                </a:lnTo>
                <a:lnTo>
                  <a:pt x="4108" y="237"/>
                </a:lnTo>
                <a:lnTo>
                  <a:pt x="4106" y="245"/>
                </a:lnTo>
                <a:lnTo>
                  <a:pt x="4103" y="252"/>
                </a:lnTo>
                <a:lnTo>
                  <a:pt x="4098" y="257"/>
                </a:lnTo>
                <a:lnTo>
                  <a:pt x="4094" y="263"/>
                </a:lnTo>
                <a:lnTo>
                  <a:pt x="4088" y="269"/>
                </a:lnTo>
                <a:lnTo>
                  <a:pt x="4082" y="275"/>
                </a:lnTo>
                <a:lnTo>
                  <a:pt x="4077" y="279"/>
                </a:lnTo>
                <a:lnTo>
                  <a:pt x="4071" y="283"/>
                </a:lnTo>
                <a:lnTo>
                  <a:pt x="4064" y="286"/>
                </a:lnTo>
                <a:lnTo>
                  <a:pt x="4057" y="289"/>
                </a:lnTo>
                <a:lnTo>
                  <a:pt x="4049" y="290"/>
                </a:lnTo>
                <a:lnTo>
                  <a:pt x="4041" y="292"/>
                </a:lnTo>
                <a:lnTo>
                  <a:pt x="4032" y="292"/>
                </a:lnTo>
                <a:close/>
                <a:moveTo>
                  <a:pt x="4038" y="97"/>
                </a:moveTo>
                <a:lnTo>
                  <a:pt x="4038" y="97"/>
                </a:lnTo>
                <a:lnTo>
                  <a:pt x="4023" y="97"/>
                </a:lnTo>
                <a:lnTo>
                  <a:pt x="4010" y="99"/>
                </a:lnTo>
                <a:lnTo>
                  <a:pt x="3999" y="102"/>
                </a:lnTo>
                <a:lnTo>
                  <a:pt x="3987" y="108"/>
                </a:lnTo>
                <a:lnTo>
                  <a:pt x="3977" y="114"/>
                </a:lnTo>
                <a:lnTo>
                  <a:pt x="3969" y="121"/>
                </a:lnTo>
                <a:lnTo>
                  <a:pt x="3960" y="130"/>
                </a:lnTo>
                <a:lnTo>
                  <a:pt x="3953" y="140"/>
                </a:lnTo>
                <a:lnTo>
                  <a:pt x="3953" y="13"/>
                </a:lnTo>
                <a:lnTo>
                  <a:pt x="3915" y="13"/>
                </a:lnTo>
                <a:lnTo>
                  <a:pt x="3915" y="324"/>
                </a:lnTo>
                <a:lnTo>
                  <a:pt x="3953" y="324"/>
                </a:lnTo>
                <a:lnTo>
                  <a:pt x="3953" y="285"/>
                </a:lnTo>
                <a:lnTo>
                  <a:pt x="3960" y="295"/>
                </a:lnTo>
                <a:lnTo>
                  <a:pt x="3969" y="303"/>
                </a:lnTo>
                <a:lnTo>
                  <a:pt x="3977" y="311"/>
                </a:lnTo>
                <a:lnTo>
                  <a:pt x="3987" y="318"/>
                </a:lnTo>
                <a:lnTo>
                  <a:pt x="3999" y="322"/>
                </a:lnTo>
                <a:lnTo>
                  <a:pt x="4010" y="326"/>
                </a:lnTo>
                <a:lnTo>
                  <a:pt x="4023" y="328"/>
                </a:lnTo>
                <a:lnTo>
                  <a:pt x="4038" y="329"/>
                </a:lnTo>
                <a:lnTo>
                  <a:pt x="4049" y="329"/>
                </a:lnTo>
                <a:lnTo>
                  <a:pt x="4059" y="326"/>
                </a:lnTo>
                <a:lnTo>
                  <a:pt x="4071" y="324"/>
                </a:lnTo>
                <a:lnTo>
                  <a:pt x="4081" y="321"/>
                </a:lnTo>
                <a:lnTo>
                  <a:pt x="4091" y="315"/>
                </a:lnTo>
                <a:lnTo>
                  <a:pt x="4100" y="309"/>
                </a:lnTo>
                <a:lnTo>
                  <a:pt x="4108" y="303"/>
                </a:lnTo>
                <a:lnTo>
                  <a:pt x="4117" y="296"/>
                </a:lnTo>
                <a:lnTo>
                  <a:pt x="4124" y="288"/>
                </a:lnTo>
                <a:lnTo>
                  <a:pt x="4131" y="279"/>
                </a:lnTo>
                <a:lnTo>
                  <a:pt x="4136" y="269"/>
                </a:lnTo>
                <a:lnTo>
                  <a:pt x="4142" y="259"/>
                </a:lnTo>
                <a:lnTo>
                  <a:pt x="4144" y="247"/>
                </a:lnTo>
                <a:lnTo>
                  <a:pt x="4147" y="236"/>
                </a:lnTo>
                <a:lnTo>
                  <a:pt x="4150" y="224"/>
                </a:lnTo>
                <a:lnTo>
                  <a:pt x="4150" y="213"/>
                </a:lnTo>
                <a:lnTo>
                  <a:pt x="4150" y="200"/>
                </a:lnTo>
                <a:lnTo>
                  <a:pt x="4147" y="189"/>
                </a:lnTo>
                <a:lnTo>
                  <a:pt x="4144" y="177"/>
                </a:lnTo>
                <a:lnTo>
                  <a:pt x="4142" y="167"/>
                </a:lnTo>
                <a:lnTo>
                  <a:pt x="4136" y="157"/>
                </a:lnTo>
                <a:lnTo>
                  <a:pt x="4131" y="147"/>
                </a:lnTo>
                <a:lnTo>
                  <a:pt x="4124" y="138"/>
                </a:lnTo>
                <a:lnTo>
                  <a:pt x="4117" y="130"/>
                </a:lnTo>
                <a:lnTo>
                  <a:pt x="4108" y="122"/>
                </a:lnTo>
                <a:lnTo>
                  <a:pt x="4100" y="115"/>
                </a:lnTo>
                <a:lnTo>
                  <a:pt x="4091" y="110"/>
                </a:lnTo>
                <a:lnTo>
                  <a:pt x="4081" y="105"/>
                </a:lnTo>
                <a:lnTo>
                  <a:pt x="4071" y="101"/>
                </a:lnTo>
                <a:lnTo>
                  <a:pt x="4059" y="98"/>
                </a:lnTo>
                <a:lnTo>
                  <a:pt x="4049" y="97"/>
                </a:lnTo>
                <a:lnTo>
                  <a:pt x="4038" y="97"/>
                </a:lnTo>
                <a:close/>
                <a:moveTo>
                  <a:pt x="3818" y="324"/>
                </a:moveTo>
                <a:lnTo>
                  <a:pt x="3818" y="324"/>
                </a:lnTo>
                <a:lnTo>
                  <a:pt x="3856" y="324"/>
                </a:lnTo>
                <a:lnTo>
                  <a:pt x="3856" y="0"/>
                </a:lnTo>
                <a:lnTo>
                  <a:pt x="3818" y="0"/>
                </a:lnTo>
                <a:lnTo>
                  <a:pt x="3818" y="324"/>
                </a:lnTo>
                <a:close/>
                <a:moveTo>
                  <a:pt x="3720" y="324"/>
                </a:moveTo>
                <a:lnTo>
                  <a:pt x="3720" y="324"/>
                </a:lnTo>
                <a:lnTo>
                  <a:pt x="3758" y="324"/>
                </a:lnTo>
                <a:lnTo>
                  <a:pt x="3758" y="102"/>
                </a:lnTo>
                <a:lnTo>
                  <a:pt x="3720" y="102"/>
                </a:lnTo>
                <a:lnTo>
                  <a:pt x="3720" y="324"/>
                </a:lnTo>
                <a:close/>
                <a:moveTo>
                  <a:pt x="3738" y="62"/>
                </a:moveTo>
                <a:lnTo>
                  <a:pt x="3738" y="62"/>
                </a:lnTo>
                <a:lnTo>
                  <a:pt x="3744" y="61"/>
                </a:lnTo>
                <a:lnTo>
                  <a:pt x="3748" y="59"/>
                </a:lnTo>
                <a:lnTo>
                  <a:pt x="3753" y="58"/>
                </a:lnTo>
                <a:lnTo>
                  <a:pt x="3757" y="54"/>
                </a:lnTo>
                <a:lnTo>
                  <a:pt x="3760" y="51"/>
                </a:lnTo>
                <a:lnTo>
                  <a:pt x="3763" y="46"/>
                </a:lnTo>
                <a:lnTo>
                  <a:pt x="3764" y="41"/>
                </a:lnTo>
                <a:lnTo>
                  <a:pt x="3764" y="36"/>
                </a:lnTo>
                <a:lnTo>
                  <a:pt x="3764" y="31"/>
                </a:lnTo>
                <a:lnTo>
                  <a:pt x="3763" y="26"/>
                </a:lnTo>
                <a:lnTo>
                  <a:pt x="3760" y="22"/>
                </a:lnTo>
                <a:lnTo>
                  <a:pt x="3757" y="18"/>
                </a:lnTo>
                <a:lnTo>
                  <a:pt x="3753" y="15"/>
                </a:lnTo>
                <a:lnTo>
                  <a:pt x="3748" y="12"/>
                </a:lnTo>
                <a:lnTo>
                  <a:pt x="3744" y="10"/>
                </a:lnTo>
                <a:lnTo>
                  <a:pt x="3738" y="9"/>
                </a:lnTo>
                <a:lnTo>
                  <a:pt x="3734" y="10"/>
                </a:lnTo>
                <a:lnTo>
                  <a:pt x="3728" y="12"/>
                </a:lnTo>
                <a:lnTo>
                  <a:pt x="3724" y="15"/>
                </a:lnTo>
                <a:lnTo>
                  <a:pt x="3720" y="18"/>
                </a:lnTo>
                <a:lnTo>
                  <a:pt x="3717" y="22"/>
                </a:lnTo>
                <a:lnTo>
                  <a:pt x="3715" y="26"/>
                </a:lnTo>
                <a:lnTo>
                  <a:pt x="3714" y="31"/>
                </a:lnTo>
                <a:lnTo>
                  <a:pt x="3712" y="36"/>
                </a:lnTo>
                <a:lnTo>
                  <a:pt x="3714" y="41"/>
                </a:lnTo>
                <a:lnTo>
                  <a:pt x="3715" y="46"/>
                </a:lnTo>
                <a:lnTo>
                  <a:pt x="3717" y="51"/>
                </a:lnTo>
                <a:lnTo>
                  <a:pt x="3720" y="54"/>
                </a:lnTo>
                <a:lnTo>
                  <a:pt x="3724" y="58"/>
                </a:lnTo>
                <a:lnTo>
                  <a:pt x="3728" y="59"/>
                </a:lnTo>
                <a:lnTo>
                  <a:pt x="3734" y="61"/>
                </a:lnTo>
                <a:lnTo>
                  <a:pt x="3738" y="62"/>
                </a:lnTo>
                <a:close/>
                <a:moveTo>
                  <a:pt x="3612" y="140"/>
                </a:moveTo>
                <a:lnTo>
                  <a:pt x="3612" y="140"/>
                </a:lnTo>
                <a:lnTo>
                  <a:pt x="3612" y="102"/>
                </a:lnTo>
                <a:lnTo>
                  <a:pt x="3574" y="102"/>
                </a:lnTo>
                <a:lnTo>
                  <a:pt x="3574" y="324"/>
                </a:lnTo>
                <a:lnTo>
                  <a:pt x="3612" y="324"/>
                </a:lnTo>
                <a:lnTo>
                  <a:pt x="3612" y="206"/>
                </a:lnTo>
                <a:lnTo>
                  <a:pt x="3613" y="197"/>
                </a:lnTo>
                <a:lnTo>
                  <a:pt x="3614" y="189"/>
                </a:lnTo>
                <a:lnTo>
                  <a:pt x="3616" y="180"/>
                </a:lnTo>
                <a:lnTo>
                  <a:pt x="3619" y="173"/>
                </a:lnTo>
                <a:lnTo>
                  <a:pt x="3622" y="167"/>
                </a:lnTo>
                <a:lnTo>
                  <a:pt x="3626" y="161"/>
                </a:lnTo>
                <a:lnTo>
                  <a:pt x="3630" y="157"/>
                </a:lnTo>
                <a:lnTo>
                  <a:pt x="3635" y="153"/>
                </a:lnTo>
                <a:lnTo>
                  <a:pt x="3645" y="145"/>
                </a:lnTo>
                <a:lnTo>
                  <a:pt x="3656" y="141"/>
                </a:lnTo>
                <a:lnTo>
                  <a:pt x="3669" y="138"/>
                </a:lnTo>
                <a:lnTo>
                  <a:pt x="3682" y="138"/>
                </a:lnTo>
                <a:lnTo>
                  <a:pt x="3682" y="98"/>
                </a:lnTo>
                <a:lnTo>
                  <a:pt x="3671" y="98"/>
                </a:lnTo>
                <a:lnTo>
                  <a:pt x="3661" y="99"/>
                </a:lnTo>
                <a:lnTo>
                  <a:pt x="3650" y="102"/>
                </a:lnTo>
                <a:lnTo>
                  <a:pt x="3642" y="107"/>
                </a:lnTo>
                <a:lnTo>
                  <a:pt x="3633" y="112"/>
                </a:lnTo>
                <a:lnTo>
                  <a:pt x="3625" y="120"/>
                </a:lnTo>
                <a:lnTo>
                  <a:pt x="3619" y="128"/>
                </a:lnTo>
                <a:lnTo>
                  <a:pt x="3612" y="140"/>
                </a:lnTo>
                <a:close/>
                <a:moveTo>
                  <a:pt x="3410" y="292"/>
                </a:moveTo>
                <a:lnTo>
                  <a:pt x="3410" y="292"/>
                </a:lnTo>
                <a:lnTo>
                  <a:pt x="3401" y="292"/>
                </a:lnTo>
                <a:lnTo>
                  <a:pt x="3394" y="290"/>
                </a:lnTo>
                <a:lnTo>
                  <a:pt x="3386" y="289"/>
                </a:lnTo>
                <a:lnTo>
                  <a:pt x="3378" y="286"/>
                </a:lnTo>
                <a:lnTo>
                  <a:pt x="3371" y="283"/>
                </a:lnTo>
                <a:lnTo>
                  <a:pt x="3365" y="279"/>
                </a:lnTo>
                <a:lnTo>
                  <a:pt x="3360" y="275"/>
                </a:lnTo>
                <a:lnTo>
                  <a:pt x="3354" y="269"/>
                </a:lnTo>
                <a:lnTo>
                  <a:pt x="3348" y="263"/>
                </a:lnTo>
                <a:lnTo>
                  <a:pt x="3344" y="257"/>
                </a:lnTo>
                <a:lnTo>
                  <a:pt x="3339" y="252"/>
                </a:lnTo>
                <a:lnTo>
                  <a:pt x="3337" y="245"/>
                </a:lnTo>
                <a:lnTo>
                  <a:pt x="3334" y="237"/>
                </a:lnTo>
                <a:lnTo>
                  <a:pt x="3332" y="229"/>
                </a:lnTo>
                <a:lnTo>
                  <a:pt x="3331" y="222"/>
                </a:lnTo>
                <a:lnTo>
                  <a:pt x="3331" y="213"/>
                </a:lnTo>
                <a:lnTo>
                  <a:pt x="3331" y="204"/>
                </a:lnTo>
                <a:lnTo>
                  <a:pt x="3332" y="196"/>
                </a:lnTo>
                <a:lnTo>
                  <a:pt x="3334" y="189"/>
                </a:lnTo>
                <a:lnTo>
                  <a:pt x="3337" y="181"/>
                </a:lnTo>
                <a:lnTo>
                  <a:pt x="3339" y="174"/>
                </a:lnTo>
                <a:lnTo>
                  <a:pt x="3344" y="168"/>
                </a:lnTo>
                <a:lnTo>
                  <a:pt x="3348" y="161"/>
                </a:lnTo>
                <a:lnTo>
                  <a:pt x="3354" y="155"/>
                </a:lnTo>
                <a:lnTo>
                  <a:pt x="3360" y="151"/>
                </a:lnTo>
                <a:lnTo>
                  <a:pt x="3365" y="147"/>
                </a:lnTo>
                <a:lnTo>
                  <a:pt x="3371" y="143"/>
                </a:lnTo>
                <a:lnTo>
                  <a:pt x="3378" y="140"/>
                </a:lnTo>
                <a:lnTo>
                  <a:pt x="3386" y="137"/>
                </a:lnTo>
                <a:lnTo>
                  <a:pt x="3394" y="135"/>
                </a:lnTo>
                <a:lnTo>
                  <a:pt x="3401" y="134"/>
                </a:lnTo>
                <a:lnTo>
                  <a:pt x="3410" y="134"/>
                </a:lnTo>
                <a:lnTo>
                  <a:pt x="3419" y="134"/>
                </a:lnTo>
                <a:lnTo>
                  <a:pt x="3426" y="135"/>
                </a:lnTo>
                <a:lnTo>
                  <a:pt x="3433" y="137"/>
                </a:lnTo>
                <a:lnTo>
                  <a:pt x="3442" y="140"/>
                </a:lnTo>
                <a:lnTo>
                  <a:pt x="3447" y="143"/>
                </a:lnTo>
                <a:lnTo>
                  <a:pt x="3455" y="147"/>
                </a:lnTo>
                <a:lnTo>
                  <a:pt x="3460" y="151"/>
                </a:lnTo>
                <a:lnTo>
                  <a:pt x="3466" y="155"/>
                </a:lnTo>
                <a:lnTo>
                  <a:pt x="3470" y="161"/>
                </a:lnTo>
                <a:lnTo>
                  <a:pt x="3475" y="168"/>
                </a:lnTo>
                <a:lnTo>
                  <a:pt x="3479" y="174"/>
                </a:lnTo>
                <a:lnTo>
                  <a:pt x="3482" y="181"/>
                </a:lnTo>
                <a:lnTo>
                  <a:pt x="3485" y="189"/>
                </a:lnTo>
                <a:lnTo>
                  <a:pt x="3488" y="196"/>
                </a:lnTo>
                <a:lnTo>
                  <a:pt x="3488" y="204"/>
                </a:lnTo>
                <a:lnTo>
                  <a:pt x="3489" y="213"/>
                </a:lnTo>
                <a:lnTo>
                  <a:pt x="3488" y="222"/>
                </a:lnTo>
                <a:lnTo>
                  <a:pt x="3488" y="229"/>
                </a:lnTo>
                <a:lnTo>
                  <a:pt x="3485" y="237"/>
                </a:lnTo>
                <a:lnTo>
                  <a:pt x="3482" y="245"/>
                </a:lnTo>
                <a:lnTo>
                  <a:pt x="3479" y="252"/>
                </a:lnTo>
                <a:lnTo>
                  <a:pt x="3475" y="257"/>
                </a:lnTo>
                <a:lnTo>
                  <a:pt x="3470" y="263"/>
                </a:lnTo>
                <a:lnTo>
                  <a:pt x="3466" y="269"/>
                </a:lnTo>
                <a:lnTo>
                  <a:pt x="3460" y="275"/>
                </a:lnTo>
                <a:lnTo>
                  <a:pt x="3455" y="279"/>
                </a:lnTo>
                <a:lnTo>
                  <a:pt x="3447" y="283"/>
                </a:lnTo>
                <a:lnTo>
                  <a:pt x="3442" y="286"/>
                </a:lnTo>
                <a:lnTo>
                  <a:pt x="3433" y="289"/>
                </a:lnTo>
                <a:lnTo>
                  <a:pt x="3426" y="290"/>
                </a:lnTo>
                <a:lnTo>
                  <a:pt x="3419" y="292"/>
                </a:lnTo>
                <a:lnTo>
                  <a:pt x="3410" y="292"/>
                </a:lnTo>
                <a:close/>
                <a:moveTo>
                  <a:pt x="3414" y="97"/>
                </a:moveTo>
                <a:lnTo>
                  <a:pt x="3414" y="97"/>
                </a:lnTo>
                <a:lnTo>
                  <a:pt x="3401" y="97"/>
                </a:lnTo>
                <a:lnTo>
                  <a:pt x="3388" y="99"/>
                </a:lnTo>
                <a:lnTo>
                  <a:pt x="3377" y="102"/>
                </a:lnTo>
                <a:lnTo>
                  <a:pt x="3365" y="108"/>
                </a:lnTo>
                <a:lnTo>
                  <a:pt x="3355" y="114"/>
                </a:lnTo>
                <a:lnTo>
                  <a:pt x="3347" y="121"/>
                </a:lnTo>
                <a:lnTo>
                  <a:pt x="3338" y="130"/>
                </a:lnTo>
                <a:lnTo>
                  <a:pt x="3331" y="140"/>
                </a:lnTo>
                <a:lnTo>
                  <a:pt x="3331" y="102"/>
                </a:lnTo>
                <a:lnTo>
                  <a:pt x="3292" y="102"/>
                </a:lnTo>
                <a:lnTo>
                  <a:pt x="3292" y="413"/>
                </a:lnTo>
                <a:lnTo>
                  <a:pt x="3331" y="413"/>
                </a:lnTo>
                <a:lnTo>
                  <a:pt x="3331" y="285"/>
                </a:lnTo>
                <a:lnTo>
                  <a:pt x="3338" y="295"/>
                </a:lnTo>
                <a:lnTo>
                  <a:pt x="3347" y="303"/>
                </a:lnTo>
                <a:lnTo>
                  <a:pt x="3355" y="311"/>
                </a:lnTo>
                <a:lnTo>
                  <a:pt x="3365" y="318"/>
                </a:lnTo>
                <a:lnTo>
                  <a:pt x="3377" y="322"/>
                </a:lnTo>
                <a:lnTo>
                  <a:pt x="3388" y="326"/>
                </a:lnTo>
                <a:lnTo>
                  <a:pt x="3401" y="328"/>
                </a:lnTo>
                <a:lnTo>
                  <a:pt x="3414" y="329"/>
                </a:lnTo>
                <a:lnTo>
                  <a:pt x="3426" y="329"/>
                </a:lnTo>
                <a:lnTo>
                  <a:pt x="3437" y="326"/>
                </a:lnTo>
                <a:lnTo>
                  <a:pt x="3449" y="324"/>
                </a:lnTo>
                <a:lnTo>
                  <a:pt x="3459" y="321"/>
                </a:lnTo>
                <a:lnTo>
                  <a:pt x="3468" y="315"/>
                </a:lnTo>
                <a:lnTo>
                  <a:pt x="3478" y="309"/>
                </a:lnTo>
                <a:lnTo>
                  <a:pt x="3486" y="303"/>
                </a:lnTo>
                <a:lnTo>
                  <a:pt x="3494" y="296"/>
                </a:lnTo>
                <a:lnTo>
                  <a:pt x="3502" y="288"/>
                </a:lnTo>
                <a:lnTo>
                  <a:pt x="3508" y="279"/>
                </a:lnTo>
                <a:lnTo>
                  <a:pt x="3514" y="269"/>
                </a:lnTo>
                <a:lnTo>
                  <a:pt x="3518" y="259"/>
                </a:lnTo>
                <a:lnTo>
                  <a:pt x="3522" y="247"/>
                </a:lnTo>
                <a:lnTo>
                  <a:pt x="3525" y="236"/>
                </a:lnTo>
                <a:lnTo>
                  <a:pt x="3527" y="224"/>
                </a:lnTo>
                <a:lnTo>
                  <a:pt x="3527" y="213"/>
                </a:lnTo>
                <a:lnTo>
                  <a:pt x="3527" y="200"/>
                </a:lnTo>
                <a:lnTo>
                  <a:pt x="3525" y="189"/>
                </a:lnTo>
                <a:lnTo>
                  <a:pt x="3522" y="177"/>
                </a:lnTo>
                <a:lnTo>
                  <a:pt x="3518" y="167"/>
                </a:lnTo>
                <a:lnTo>
                  <a:pt x="3514" y="157"/>
                </a:lnTo>
                <a:lnTo>
                  <a:pt x="3508" y="147"/>
                </a:lnTo>
                <a:lnTo>
                  <a:pt x="3502" y="138"/>
                </a:lnTo>
                <a:lnTo>
                  <a:pt x="3494" y="130"/>
                </a:lnTo>
                <a:lnTo>
                  <a:pt x="3486" y="122"/>
                </a:lnTo>
                <a:lnTo>
                  <a:pt x="3478" y="115"/>
                </a:lnTo>
                <a:lnTo>
                  <a:pt x="3468" y="110"/>
                </a:lnTo>
                <a:lnTo>
                  <a:pt x="3459" y="105"/>
                </a:lnTo>
                <a:lnTo>
                  <a:pt x="3449" y="101"/>
                </a:lnTo>
                <a:lnTo>
                  <a:pt x="3437" y="98"/>
                </a:lnTo>
                <a:lnTo>
                  <a:pt x="3426" y="97"/>
                </a:lnTo>
                <a:lnTo>
                  <a:pt x="3414" y="97"/>
                </a:lnTo>
                <a:close/>
                <a:moveTo>
                  <a:pt x="3122" y="161"/>
                </a:moveTo>
                <a:lnTo>
                  <a:pt x="3122" y="161"/>
                </a:lnTo>
                <a:lnTo>
                  <a:pt x="3123" y="154"/>
                </a:lnTo>
                <a:lnTo>
                  <a:pt x="3125" y="148"/>
                </a:lnTo>
                <a:lnTo>
                  <a:pt x="3129" y="144"/>
                </a:lnTo>
                <a:lnTo>
                  <a:pt x="3134" y="140"/>
                </a:lnTo>
                <a:lnTo>
                  <a:pt x="3141" y="137"/>
                </a:lnTo>
                <a:lnTo>
                  <a:pt x="3146" y="134"/>
                </a:lnTo>
                <a:lnTo>
                  <a:pt x="3154" y="133"/>
                </a:lnTo>
                <a:lnTo>
                  <a:pt x="3161" y="133"/>
                </a:lnTo>
                <a:lnTo>
                  <a:pt x="3168" y="133"/>
                </a:lnTo>
                <a:lnTo>
                  <a:pt x="3175" y="134"/>
                </a:lnTo>
                <a:lnTo>
                  <a:pt x="3182" y="135"/>
                </a:lnTo>
                <a:lnTo>
                  <a:pt x="3190" y="138"/>
                </a:lnTo>
                <a:lnTo>
                  <a:pt x="3195" y="143"/>
                </a:lnTo>
                <a:lnTo>
                  <a:pt x="3201" y="147"/>
                </a:lnTo>
                <a:lnTo>
                  <a:pt x="3206" y="154"/>
                </a:lnTo>
                <a:lnTo>
                  <a:pt x="3208" y="160"/>
                </a:lnTo>
                <a:lnTo>
                  <a:pt x="3242" y="143"/>
                </a:lnTo>
                <a:lnTo>
                  <a:pt x="3236" y="133"/>
                </a:lnTo>
                <a:lnTo>
                  <a:pt x="3229" y="122"/>
                </a:lnTo>
                <a:lnTo>
                  <a:pt x="3220" y="115"/>
                </a:lnTo>
                <a:lnTo>
                  <a:pt x="3210" y="108"/>
                </a:lnTo>
                <a:lnTo>
                  <a:pt x="3200" y="104"/>
                </a:lnTo>
                <a:lnTo>
                  <a:pt x="3187" y="99"/>
                </a:lnTo>
                <a:lnTo>
                  <a:pt x="3175" y="97"/>
                </a:lnTo>
                <a:lnTo>
                  <a:pt x="3161" y="97"/>
                </a:lnTo>
                <a:lnTo>
                  <a:pt x="3145" y="98"/>
                </a:lnTo>
                <a:lnTo>
                  <a:pt x="3131" y="101"/>
                </a:lnTo>
                <a:lnTo>
                  <a:pt x="3116" y="107"/>
                </a:lnTo>
                <a:lnTo>
                  <a:pt x="3105" y="114"/>
                </a:lnTo>
                <a:lnTo>
                  <a:pt x="3100" y="120"/>
                </a:lnTo>
                <a:lnTo>
                  <a:pt x="3096" y="124"/>
                </a:lnTo>
                <a:lnTo>
                  <a:pt x="3092" y="130"/>
                </a:lnTo>
                <a:lnTo>
                  <a:pt x="3089" y="135"/>
                </a:lnTo>
                <a:lnTo>
                  <a:pt x="3086" y="141"/>
                </a:lnTo>
                <a:lnTo>
                  <a:pt x="3085" y="148"/>
                </a:lnTo>
                <a:lnTo>
                  <a:pt x="3083" y="155"/>
                </a:lnTo>
                <a:lnTo>
                  <a:pt x="3083" y="163"/>
                </a:lnTo>
                <a:lnTo>
                  <a:pt x="3083" y="170"/>
                </a:lnTo>
                <a:lnTo>
                  <a:pt x="3085" y="176"/>
                </a:lnTo>
                <a:lnTo>
                  <a:pt x="3086" y="181"/>
                </a:lnTo>
                <a:lnTo>
                  <a:pt x="3087" y="187"/>
                </a:lnTo>
                <a:lnTo>
                  <a:pt x="3095" y="197"/>
                </a:lnTo>
                <a:lnTo>
                  <a:pt x="3102" y="206"/>
                </a:lnTo>
                <a:lnTo>
                  <a:pt x="3112" y="211"/>
                </a:lnTo>
                <a:lnTo>
                  <a:pt x="3122" y="217"/>
                </a:lnTo>
                <a:lnTo>
                  <a:pt x="3134" y="222"/>
                </a:lnTo>
                <a:lnTo>
                  <a:pt x="3145" y="224"/>
                </a:lnTo>
                <a:lnTo>
                  <a:pt x="3168" y="232"/>
                </a:lnTo>
                <a:lnTo>
                  <a:pt x="3188" y="239"/>
                </a:lnTo>
                <a:lnTo>
                  <a:pt x="3195" y="243"/>
                </a:lnTo>
                <a:lnTo>
                  <a:pt x="3201" y="249"/>
                </a:lnTo>
                <a:lnTo>
                  <a:pt x="3204" y="252"/>
                </a:lnTo>
                <a:lnTo>
                  <a:pt x="3206" y="255"/>
                </a:lnTo>
                <a:lnTo>
                  <a:pt x="3207" y="259"/>
                </a:lnTo>
                <a:lnTo>
                  <a:pt x="3207" y="263"/>
                </a:lnTo>
                <a:lnTo>
                  <a:pt x="3207" y="270"/>
                </a:lnTo>
                <a:lnTo>
                  <a:pt x="3204" y="276"/>
                </a:lnTo>
                <a:lnTo>
                  <a:pt x="3200" y="282"/>
                </a:lnTo>
                <a:lnTo>
                  <a:pt x="3194" y="286"/>
                </a:lnTo>
                <a:lnTo>
                  <a:pt x="3188" y="289"/>
                </a:lnTo>
                <a:lnTo>
                  <a:pt x="3180" y="292"/>
                </a:lnTo>
                <a:lnTo>
                  <a:pt x="3172" y="292"/>
                </a:lnTo>
                <a:lnTo>
                  <a:pt x="3164" y="293"/>
                </a:lnTo>
                <a:lnTo>
                  <a:pt x="3154" y="292"/>
                </a:lnTo>
                <a:lnTo>
                  <a:pt x="3144" y="290"/>
                </a:lnTo>
                <a:lnTo>
                  <a:pt x="3135" y="288"/>
                </a:lnTo>
                <a:lnTo>
                  <a:pt x="3128" y="283"/>
                </a:lnTo>
                <a:lnTo>
                  <a:pt x="3122" y="279"/>
                </a:lnTo>
                <a:lnTo>
                  <a:pt x="3116" y="273"/>
                </a:lnTo>
                <a:lnTo>
                  <a:pt x="3112" y="266"/>
                </a:lnTo>
                <a:lnTo>
                  <a:pt x="3108" y="259"/>
                </a:lnTo>
                <a:lnTo>
                  <a:pt x="3074" y="278"/>
                </a:lnTo>
                <a:lnTo>
                  <a:pt x="3080" y="289"/>
                </a:lnTo>
                <a:lnTo>
                  <a:pt x="3087" y="299"/>
                </a:lnTo>
                <a:lnTo>
                  <a:pt x="3096" y="308"/>
                </a:lnTo>
                <a:lnTo>
                  <a:pt x="3108" y="315"/>
                </a:lnTo>
                <a:lnTo>
                  <a:pt x="3119" y="321"/>
                </a:lnTo>
                <a:lnTo>
                  <a:pt x="3132" y="325"/>
                </a:lnTo>
                <a:lnTo>
                  <a:pt x="3148" y="328"/>
                </a:lnTo>
                <a:lnTo>
                  <a:pt x="3164" y="329"/>
                </a:lnTo>
                <a:lnTo>
                  <a:pt x="3181" y="328"/>
                </a:lnTo>
                <a:lnTo>
                  <a:pt x="3197" y="325"/>
                </a:lnTo>
                <a:lnTo>
                  <a:pt x="3210" y="319"/>
                </a:lnTo>
                <a:lnTo>
                  <a:pt x="3223" y="312"/>
                </a:lnTo>
                <a:lnTo>
                  <a:pt x="3229" y="306"/>
                </a:lnTo>
                <a:lnTo>
                  <a:pt x="3233" y="302"/>
                </a:lnTo>
                <a:lnTo>
                  <a:pt x="3237" y="296"/>
                </a:lnTo>
                <a:lnTo>
                  <a:pt x="3240" y="290"/>
                </a:lnTo>
                <a:lnTo>
                  <a:pt x="3243" y="285"/>
                </a:lnTo>
                <a:lnTo>
                  <a:pt x="3244" y="278"/>
                </a:lnTo>
                <a:lnTo>
                  <a:pt x="3246" y="270"/>
                </a:lnTo>
                <a:lnTo>
                  <a:pt x="3246" y="263"/>
                </a:lnTo>
                <a:lnTo>
                  <a:pt x="3246" y="256"/>
                </a:lnTo>
                <a:lnTo>
                  <a:pt x="3244" y="249"/>
                </a:lnTo>
                <a:lnTo>
                  <a:pt x="3243" y="243"/>
                </a:lnTo>
                <a:lnTo>
                  <a:pt x="3242" y="237"/>
                </a:lnTo>
                <a:lnTo>
                  <a:pt x="3234" y="227"/>
                </a:lnTo>
                <a:lnTo>
                  <a:pt x="3227" y="219"/>
                </a:lnTo>
                <a:lnTo>
                  <a:pt x="3217" y="213"/>
                </a:lnTo>
                <a:lnTo>
                  <a:pt x="3207" y="207"/>
                </a:lnTo>
                <a:lnTo>
                  <a:pt x="3195" y="203"/>
                </a:lnTo>
                <a:lnTo>
                  <a:pt x="3184" y="200"/>
                </a:lnTo>
                <a:lnTo>
                  <a:pt x="3161" y="193"/>
                </a:lnTo>
                <a:lnTo>
                  <a:pt x="3141" y="186"/>
                </a:lnTo>
                <a:lnTo>
                  <a:pt x="3134" y="181"/>
                </a:lnTo>
                <a:lnTo>
                  <a:pt x="3128" y="177"/>
                </a:lnTo>
                <a:lnTo>
                  <a:pt x="3125" y="173"/>
                </a:lnTo>
                <a:lnTo>
                  <a:pt x="3123" y="170"/>
                </a:lnTo>
                <a:lnTo>
                  <a:pt x="3122" y="166"/>
                </a:lnTo>
                <a:lnTo>
                  <a:pt x="3122" y="161"/>
                </a:lnTo>
                <a:close/>
                <a:moveTo>
                  <a:pt x="2949" y="97"/>
                </a:moveTo>
                <a:lnTo>
                  <a:pt x="2949" y="97"/>
                </a:lnTo>
                <a:lnTo>
                  <a:pt x="2938" y="97"/>
                </a:lnTo>
                <a:lnTo>
                  <a:pt x="2926" y="98"/>
                </a:lnTo>
                <a:lnTo>
                  <a:pt x="2916" y="101"/>
                </a:lnTo>
                <a:lnTo>
                  <a:pt x="2907" y="105"/>
                </a:lnTo>
                <a:lnTo>
                  <a:pt x="2899" y="111"/>
                </a:lnTo>
                <a:lnTo>
                  <a:pt x="2890" y="117"/>
                </a:lnTo>
                <a:lnTo>
                  <a:pt x="2883" y="125"/>
                </a:lnTo>
                <a:lnTo>
                  <a:pt x="2877" y="134"/>
                </a:lnTo>
                <a:lnTo>
                  <a:pt x="2877" y="102"/>
                </a:lnTo>
                <a:lnTo>
                  <a:pt x="2838" y="102"/>
                </a:lnTo>
                <a:lnTo>
                  <a:pt x="2838" y="324"/>
                </a:lnTo>
                <a:lnTo>
                  <a:pt x="2877" y="324"/>
                </a:lnTo>
                <a:lnTo>
                  <a:pt x="2877" y="206"/>
                </a:lnTo>
                <a:lnTo>
                  <a:pt x="2877" y="189"/>
                </a:lnTo>
                <a:lnTo>
                  <a:pt x="2882" y="173"/>
                </a:lnTo>
                <a:lnTo>
                  <a:pt x="2884" y="166"/>
                </a:lnTo>
                <a:lnTo>
                  <a:pt x="2887" y="160"/>
                </a:lnTo>
                <a:lnTo>
                  <a:pt x="2892" y="154"/>
                </a:lnTo>
                <a:lnTo>
                  <a:pt x="2896" y="150"/>
                </a:lnTo>
                <a:lnTo>
                  <a:pt x="2905" y="143"/>
                </a:lnTo>
                <a:lnTo>
                  <a:pt x="2916" y="137"/>
                </a:lnTo>
                <a:lnTo>
                  <a:pt x="2928" y="134"/>
                </a:lnTo>
                <a:lnTo>
                  <a:pt x="2941" y="133"/>
                </a:lnTo>
                <a:lnTo>
                  <a:pt x="2954" y="134"/>
                </a:lnTo>
                <a:lnTo>
                  <a:pt x="2964" y="137"/>
                </a:lnTo>
                <a:lnTo>
                  <a:pt x="2974" y="141"/>
                </a:lnTo>
                <a:lnTo>
                  <a:pt x="2981" y="148"/>
                </a:lnTo>
                <a:lnTo>
                  <a:pt x="2988" y="155"/>
                </a:lnTo>
                <a:lnTo>
                  <a:pt x="2992" y="166"/>
                </a:lnTo>
                <a:lnTo>
                  <a:pt x="2995" y="177"/>
                </a:lnTo>
                <a:lnTo>
                  <a:pt x="2997" y="190"/>
                </a:lnTo>
                <a:lnTo>
                  <a:pt x="2997" y="324"/>
                </a:lnTo>
                <a:lnTo>
                  <a:pt x="3034" y="324"/>
                </a:lnTo>
                <a:lnTo>
                  <a:pt x="3034" y="187"/>
                </a:lnTo>
                <a:lnTo>
                  <a:pt x="3034" y="177"/>
                </a:lnTo>
                <a:lnTo>
                  <a:pt x="3033" y="167"/>
                </a:lnTo>
                <a:lnTo>
                  <a:pt x="3031" y="158"/>
                </a:lnTo>
                <a:lnTo>
                  <a:pt x="3028" y="150"/>
                </a:lnTo>
                <a:lnTo>
                  <a:pt x="3026" y="141"/>
                </a:lnTo>
                <a:lnTo>
                  <a:pt x="3021" y="134"/>
                </a:lnTo>
                <a:lnTo>
                  <a:pt x="3017" y="127"/>
                </a:lnTo>
                <a:lnTo>
                  <a:pt x="3011" y="121"/>
                </a:lnTo>
                <a:lnTo>
                  <a:pt x="3005" y="115"/>
                </a:lnTo>
                <a:lnTo>
                  <a:pt x="2998" y="110"/>
                </a:lnTo>
                <a:lnTo>
                  <a:pt x="2991" y="105"/>
                </a:lnTo>
                <a:lnTo>
                  <a:pt x="2984" y="102"/>
                </a:lnTo>
                <a:lnTo>
                  <a:pt x="2975" y="99"/>
                </a:lnTo>
                <a:lnTo>
                  <a:pt x="2968" y="98"/>
                </a:lnTo>
                <a:lnTo>
                  <a:pt x="2958" y="97"/>
                </a:lnTo>
                <a:lnTo>
                  <a:pt x="2949" y="97"/>
                </a:lnTo>
                <a:close/>
                <a:moveTo>
                  <a:pt x="2683" y="133"/>
                </a:moveTo>
                <a:lnTo>
                  <a:pt x="2683" y="133"/>
                </a:lnTo>
                <a:lnTo>
                  <a:pt x="2696" y="134"/>
                </a:lnTo>
                <a:lnTo>
                  <a:pt x="2707" y="137"/>
                </a:lnTo>
                <a:lnTo>
                  <a:pt x="2719" y="141"/>
                </a:lnTo>
                <a:lnTo>
                  <a:pt x="2729" y="148"/>
                </a:lnTo>
                <a:lnTo>
                  <a:pt x="2738" y="157"/>
                </a:lnTo>
                <a:lnTo>
                  <a:pt x="2745" y="168"/>
                </a:lnTo>
                <a:lnTo>
                  <a:pt x="2750" y="181"/>
                </a:lnTo>
                <a:lnTo>
                  <a:pt x="2755" y="197"/>
                </a:lnTo>
                <a:lnTo>
                  <a:pt x="2606" y="197"/>
                </a:lnTo>
                <a:lnTo>
                  <a:pt x="2609" y="183"/>
                </a:lnTo>
                <a:lnTo>
                  <a:pt x="2615" y="170"/>
                </a:lnTo>
                <a:lnTo>
                  <a:pt x="2622" y="160"/>
                </a:lnTo>
                <a:lnTo>
                  <a:pt x="2631" y="150"/>
                </a:lnTo>
                <a:lnTo>
                  <a:pt x="2641" y="143"/>
                </a:lnTo>
                <a:lnTo>
                  <a:pt x="2654" y="137"/>
                </a:lnTo>
                <a:lnTo>
                  <a:pt x="2668" y="134"/>
                </a:lnTo>
                <a:lnTo>
                  <a:pt x="2683" y="133"/>
                </a:lnTo>
                <a:close/>
                <a:moveTo>
                  <a:pt x="2606" y="230"/>
                </a:moveTo>
                <a:lnTo>
                  <a:pt x="2606" y="230"/>
                </a:lnTo>
                <a:lnTo>
                  <a:pt x="2792" y="230"/>
                </a:lnTo>
                <a:lnTo>
                  <a:pt x="2794" y="222"/>
                </a:lnTo>
                <a:lnTo>
                  <a:pt x="2794" y="213"/>
                </a:lnTo>
                <a:lnTo>
                  <a:pt x="2792" y="201"/>
                </a:lnTo>
                <a:lnTo>
                  <a:pt x="2791" y="190"/>
                </a:lnTo>
                <a:lnTo>
                  <a:pt x="2789" y="180"/>
                </a:lnTo>
                <a:lnTo>
                  <a:pt x="2785" y="168"/>
                </a:lnTo>
                <a:lnTo>
                  <a:pt x="2781" y="158"/>
                </a:lnTo>
                <a:lnTo>
                  <a:pt x="2776" y="148"/>
                </a:lnTo>
                <a:lnTo>
                  <a:pt x="2771" y="140"/>
                </a:lnTo>
                <a:lnTo>
                  <a:pt x="2763" y="131"/>
                </a:lnTo>
                <a:lnTo>
                  <a:pt x="2756" y="124"/>
                </a:lnTo>
                <a:lnTo>
                  <a:pt x="2748" y="117"/>
                </a:lnTo>
                <a:lnTo>
                  <a:pt x="2738" y="111"/>
                </a:lnTo>
                <a:lnTo>
                  <a:pt x="2729" y="105"/>
                </a:lnTo>
                <a:lnTo>
                  <a:pt x="2717" y="101"/>
                </a:lnTo>
                <a:lnTo>
                  <a:pt x="2707" y="98"/>
                </a:lnTo>
                <a:lnTo>
                  <a:pt x="2696" y="97"/>
                </a:lnTo>
                <a:lnTo>
                  <a:pt x="2683" y="97"/>
                </a:lnTo>
                <a:lnTo>
                  <a:pt x="2670" y="97"/>
                </a:lnTo>
                <a:lnTo>
                  <a:pt x="2658" y="98"/>
                </a:lnTo>
                <a:lnTo>
                  <a:pt x="2647" y="101"/>
                </a:lnTo>
                <a:lnTo>
                  <a:pt x="2635" y="105"/>
                </a:lnTo>
                <a:lnTo>
                  <a:pt x="2625" y="110"/>
                </a:lnTo>
                <a:lnTo>
                  <a:pt x="2615" y="115"/>
                </a:lnTo>
                <a:lnTo>
                  <a:pt x="2606" y="122"/>
                </a:lnTo>
                <a:lnTo>
                  <a:pt x="2598" y="130"/>
                </a:lnTo>
                <a:lnTo>
                  <a:pt x="2591" y="138"/>
                </a:lnTo>
                <a:lnTo>
                  <a:pt x="2585" y="147"/>
                </a:lnTo>
                <a:lnTo>
                  <a:pt x="2579" y="157"/>
                </a:lnTo>
                <a:lnTo>
                  <a:pt x="2575" y="167"/>
                </a:lnTo>
                <a:lnTo>
                  <a:pt x="2570" y="177"/>
                </a:lnTo>
                <a:lnTo>
                  <a:pt x="2569" y="189"/>
                </a:lnTo>
                <a:lnTo>
                  <a:pt x="2566" y="200"/>
                </a:lnTo>
                <a:lnTo>
                  <a:pt x="2566" y="213"/>
                </a:lnTo>
                <a:lnTo>
                  <a:pt x="2566" y="224"/>
                </a:lnTo>
                <a:lnTo>
                  <a:pt x="2569" y="237"/>
                </a:lnTo>
                <a:lnTo>
                  <a:pt x="2570" y="249"/>
                </a:lnTo>
                <a:lnTo>
                  <a:pt x="2575" y="259"/>
                </a:lnTo>
                <a:lnTo>
                  <a:pt x="2579" y="269"/>
                </a:lnTo>
                <a:lnTo>
                  <a:pt x="2585" y="279"/>
                </a:lnTo>
                <a:lnTo>
                  <a:pt x="2592" y="288"/>
                </a:lnTo>
                <a:lnTo>
                  <a:pt x="2599" y="296"/>
                </a:lnTo>
                <a:lnTo>
                  <a:pt x="2608" y="303"/>
                </a:lnTo>
                <a:lnTo>
                  <a:pt x="2617" y="311"/>
                </a:lnTo>
                <a:lnTo>
                  <a:pt x="2627" y="316"/>
                </a:lnTo>
                <a:lnTo>
                  <a:pt x="2637" y="321"/>
                </a:lnTo>
                <a:lnTo>
                  <a:pt x="2648" y="324"/>
                </a:lnTo>
                <a:lnTo>
                  <a:pt x="2660" y="326"/>
                </a:lnTo>
                <a:lnTo>
                  <a:pt x="2673" y="329"/>
                </a:lnTo>
                <a:lnTo>
                  <a:pt x="2686" y="329"/>
                </a:lnTo>
                <a:lnTo>
                  <a:pt x="2702" y="328"/>
                </a:lnTo>
                <a:lnTo>
                  <a:pt x="2717" y="326"/>
                </a:lnTo>
                <a:lnTo>
                  <a:pt x="2730" y="322"/>
                </a:lnTo>
                <a:lnTo>
                  <a:pt x="2743" y="315"/>
                </a:lnTo>
                <a:lnTo>
                  <a:pt x="2755" y="308"/>
                </a:lnTo>
                <a:lnTo>
                  <a:pt x="2766" y="299"/>
                </a:lnTo>
                <a:lnTo>
                  <a:pt x="2775" y="290"/>
                </a:lnTo>
                <a:lnTo>
                  <a:pt x="2784" y="279"/>
                </a:lnTo>
                <a:lnTo>
                  <a:pt x="2750" y="260"/>
                </a:lnTo>
                <a:lnTo>
                  <a:pt x="2746" y="267"/>
                </a:lnTo>
                <a:lnTo>
                  <a:pt x="2740" y="273"/>
                </a:lnTo>
                <a:lnTo>
                  <a:pt x="2733" y="279"/>
                </a:lnTo>
                <a:lnTo>
                  <a:pt x="2726" y="283"/>
                </a:lnTo>
                <a:lnTo>
                  <a:pt x="2717" y="288"/>
                </a:lnTo>
                <a:lnTo>
                  <a:pt x="2707" y="290"/>
                </a:lnTo>
                <a:lnTo>
                  <a:pt x="2697" y="292"/>
                </a:lnTo>
                <a:lnTo>
                  <a:pt x="2686" y="293"/>
                </a:lnTo>
                <a:lnTo>
                  <a:pt x="2671" y="292"/>
                </a:lnTo>
                <a:lnTo>
                  <a:pt x="2657" y="289"/>
                </a:lnTo>
                <a:lnTo>
                  <a:pt x="2645" y="283"/>
                </a:lnTo>
                <a:lnTo>
                  <a:pt x="2634" y="276"/>
                </a:lnTo>
                <a:lnTo>
                  <a:pt x="2624" y="267"/>
                </a:lnTo>
                <a:lnTo>
                  <a:pt x="2615" y="257"/>
                </a:lnTo>
                <a:lnTo>
                  <a:pt x="2609" y="245"/>
                </a:lnTo>
                <a:lnTo>
                  <a:pt x="2606" y="230"/>
                </a:lnTo>
                <a:close/>
                <a:moveTo>
                  <a:pt x="2481" y="336"/>
                </a:moveTo>
                <a:lnTo>
                  <a:pt x="2481" y="336"/>
                </a:lnTo>
                <a:lnTo>
                  <a:pt x="2481" y="349"/>
                </a:lnTo>
                <a:lnTo>
                  <a:pt x="2478" y="358"/>
                </a:lnTo>
                <a:lnTo>
                  <a:pt x="2475" y="367"/>
                </a:lnTo>
                <a:lnTo>
                  <a:pt x="2470" y="372"/>
                </a:lnTo>
                <a:lnTo>
                  <a:pt x="2464" y="377"/>
                </a:lnTo>
                <a:lnTo>
                  <a:pt x="2455" y="380"/>
                </a:lnTo>
                <a:lnTo>
                  <a:pt x="2445" y="381"/>
                </a:lnTo>
                <a:lnTo>
                  <a:pt x="2434" y="381"/>
                </a:lnTo>
                <a:lnTo>
                  <a:pt x="2434" y="418"/>
                </a:lnTo>
                <a:lnTo>
                  <a:pt x="2444" y="418"/>
                </a:lnTo>
                <a:lnTo>
                  <a:pt x="2454" y="418"/>
                </a:lnTo>
                <a:lnTo>
                  <a:pt x="2462" y="417"/>
                </a:lnTo>
                <a:lnTo>
                  <a:pt x="2471" y="415"/>
                </a:lnTo>
                <a:lnTo>
                  <a:pt x="2478" y="413"/>
                </a:lnTo>
                <a:lnTo>
                  <a:pt x="2486" y="410"/>
                </a:lnTo>
                <a:lnTo>
                  <a:pt x="2493" y="405"/>
                </a:lnTo>
                <a:lnTo>
                  <a:pt x="2498" y="400"/>
                </a:lnTo>
                <a:lnTo>
                  <a:pt x="2503" y="395"/>
                </a:lnTo>
                <a:lnTo>
                  <a:pt x="2507" y="388"/>
                </a:lnTo>
                <a:lnTo>
                  <a:pt x="2511" y="382"/>
                </a:lnTo>
                <a:lnTo>
                  <a:pt x="2514" y="374"/>
                </a:lnTo>
                <a:lnTo>
                  <a:pt x="2517" y="365"/>
                </a:lnTo>
                <a:lnTo>
                  <a:pt x="2519" y="357"/>
                </a:lnTo>
                <a:lnTo>
                  <a:pt x="2520" y="346"/>
                </a:lnTo>
                <a:lnTo>
                  <a:pt x="2520" y="336"/>
                </a:lnTo>
                <a:lnTo>
                  <a:pt x="2520" y="102"/>
                </a:lnTo>
                <a:lnTo>
                  <a:pt x="2481" y="102"/>
                </a:lnTo>
                <a:lnTo>
                  <a:pt x="2481" y="336"/>
                </a:lnTo>
                <a:close/>
                <a:moveTo>
                  <a:pt x="2501" y="62"/>
                </a:moveTo>
                <a:lnTo>
                  <a:pt x="2501" y="62"/>
                </a:lnTo>
                <a:lnTo>
                  <a:pt x="2506" y="61"/>
                </a:lnTo>
                <a:lnTo>
                  <a:pt x="2511" y="59"/>
                </a:lnTo>
                <a:lnTo>
                  <a:pt x="2516" y="58"/>
                </a:lnTo>
                <a:lnTo>
                  <a:pt x="2519" y="54"/>
                </a:lnTo>
                <a:lnTo>
                  <a:pt x="2523" y="51"/>
                </a:lnTo>
                <a:lnTo>
                  <a:pt x="2524" y="46"/>
                </a:lnTo>
                <a:lnTo>
                  <a:pt x="2526" y="41"/>
                </a:lnTo>
                <a:lnTo>
                  <a:pt x="2527" y="36"/>
                </a:lnTo>
                <a:lnTo>
                  <a:pt x="2526" y="31"/>
                </a:lnTo>
                <a:lnTo>
                  <a:pt x="2524" y="26"/>
                </a:lnTo>
                <a:lnTo>
                  <a:pt x="2523" y="22"/>
                </a:lnTo>
                <a:lnTo>
                  <a:pt x="2519" y="18"/>
                </a:lnTo>
                <a:lnTo>
                  <a:pt x="2516" y="15"/>
                </a:lnTo>
                <a:lnTo>
                  <a:pt x="2511" y="12"/>
                </a:lnTo>
                <a:lnTo>
                  <a:pt x="2506" y="10"/>
                </a:lnTo>
                <a:lnTo>
                  <a:pt x="2501" y="9"/>
                </a:lnTo>
                <a:lnTo>
                  <a:pt x="2496" y="10"/>
                </a:lnTo>
                <a:lnTo>
                  <a:pt x="2491" y="12"/>
                </a:lnTo>
                <a:lnTo>
                  <a:pt x="2486" y="15"/>
                </a:lnTo>
                <a:lnTo>
                  <a:pt x="2483" y="18"/>
                </a:lnTo>
                <a:lnTo>
                  <a:pt x="2480" y="22"/>
                </a:lnTo>
                <a:lnTo>
                  <a:pt x="2477" y="26"/>
                </a:lnTo>
                <a:lnTo>
                  <a:pt x="2475" y="31"/>
                </a:lnTo>
                <a:lnTo>
                  <a:pt x="2475" y="36"/>
                </a:lnTo>
                <a:lnTo>
                  <a:pt x="2475" y="41"/>
                </a:lnTo>
                <a:lnTo>
                  <a:pt x="2477" y="46"/>
                </a:lnTo>
                <a:lnTo>
                  <a:pt x="2480" y="51"/>
                </a:lnTo>
                <a:lnTo>
                  <a:pt x="2483" y="54"/>
                </a:lnTo>
                <a:lnTo>
                  <a:pt x="2486" y="58"/>
                </a:lnTo>
                <a:lnTo>
                  <a:pt x="2491" y="59"/>
                </a:lnTo>
                <a:lnTo>
                  <a:pt x="2496" y="61"/>
                </a:lnTo>
                <a:lnTo>
                  <a:pt x="2501" y="62"/>
                </a:lnTo>
                <a:close/>
                <a:moveTo>
                  <a:pt x="2318" y="133"/>
                </a:moveTo>
                <a:lnTo>
                  <a:pt x="2318" y="133"/>
                </a:lnTo>
                <a:lnTo>
                  <a:pt x="2331" y="134"/>
                </a:lnTo>
                <a:lnTo>
                  <a:pt x="2343" y="137"/>
                </a:lnTo>
                <a:lnTo>
                  <a:pt x="2354" y="141"/>
                </a:lnTo>
                <a:lnTo>
                  <a:pt x="2365" y="148"/>
                </a:lnTo>
                <a:lnTo>
                  <a:pt x="2373" y="157"/>
                </a:lnTo>
                <a:lnTo>
                  <a:pt x="2380" y="168"/>
                </a:lnTo>
                <a:lnTo>
                  <a:pt x="2386" y="181"/>
                </a:lnTo>
                <a:lnTo>
                  <a:pt x="2390" y="197"/>
                </a:lnTo>
                <a:lnTo>
                  <a:pt x="2242" y="197"/>
                </a:lnTo>
                <a:lnTo>
                  <a:pt x="2245" y="183"/>
                </a:lnTo>
                <a:lnTo>
                  <a:pt x="2251" y="170"/>
                </a:lnTo>
                <a:lnTo>
                  <a:pt x="2258" y="160"/>
                </a:lnTo>
                <a:lnTo>
                  <a:pt x="2267" y="150"/>
                </a:lnTo>
                <a:lnTo>
                  <a:pt x="2278" y="143"/>
                </a:lnTo>
                <a:lnTo>
                  <a:pt x="2290" y="137"/>
                </a:lnTo>
                <a:lnTo>
                  <a:pt x="2304" y="134"/>
                </a:lnTo>
                <a:lnTo>
                  <a:pt x="2318" y="133"/>
                </a:lnTo>
                <a:close/>
                <a:moveTo>
                  <a:pt x="2242" y="230"/>
                </a:moveTo>
                <a:lnTo>
                  <a:pt x="2242" y="230"/>
                </a:lnTo>
                <a:lnTo>
                  <a:pt x="2428" y="230"/>
                </a:lnTo>
                <a:lnTo>
                  <a:pt x="2429" y="222"/>
                </a:lnTo>
                <a:lnTo>
                  <a:pt x="2429" y="213"/>
                </a:lnTo>
                <a:lnTo>
                  <a:pt x="2429" y="201"/>
                </a:lnTo>
                <a:lnTo>
                  <a:pt x="2428" y="190"/>
                </a:lnTo>
                <a:lnTo>
                  <a:pt x="2425" y="180"/>
                </a:lnTo>
                <a:lnTo>
                  <a:pt x="2422" y="168"/>
                </a:lnTo>
                <a:lnTo>
                  <a:pt x="2418" y="158"/>
                </a:lnTo>
                <a:lnTo>
                  <a:pt x="2412" y="148"/>
                </a:lnTo>
                <a:lnTo>
                  <a:pt x="2406" y="140"/>
                </a:lnTo>
                <a:lnTo>
                  <a:pt x="2399" y="131"/>
                </a:lnTo>
                <a:lnTo>
                  <a:pt x="2392" y="124"/>
                </a:lnTo>
                <a:lnTo>
                  <a:pt x="2383" y="117"/>
                </a:lnTo>
                <a:lnTo>
                  <a:pt x="2375" y="111"/>
                </a:lnTo>
                <a:lnTo>
                  <a:pt x="2365" y="105"/>
                </a:lnTo>
                <a:lnTo>
                  <a:pt x="2354" y="101"/>
                </a:lnTo>
                <a:lnTo>
                  <a:pt x="2343" y="98"/>
                </a:lnTo>
                <a:lnTo>
                  <a:pt x="2331" y="97"/>
                </a:lnTo>
                <a:lnTo>
                  <a:pt x="2318" y="97"/>
                </a:lnTo>
                <a:lnTo>
                  <a:pt x="2306" y="97"/>
                </a:lnTo>
                <a:lnTo>
                  <a:pt x="2294" y="98"/>
                </a:lnTo>
                <a:lnTo>
                  <a:pt x="2282" y="101"/>
                </a:lnTo>
                <a:lnTo>
                  <a:pt x="2271" y="105"/>
                </a:lnTo>
                <a:lnTo>
                  <a:pt x="2261" y="110"/>
                </a:lnTo>
                <a:lnTo>
                  <a:pt x="2251" y="115"/>
                </a:lnTo>
                <a:lnTo>
                  <a:pt x="2242" y="122"/>
                </a:lnTo>
                <a:lnTo>
                  <a:pt x="2235" y="130"/>
                </a:lnTo>
                <a:lnTo>
                  <a:pt x="2228" y="138"/>
                </a:lnTo>
                <a:lnTo>
                  <a:pt x="2221" y="147"/>
                </a:lnTo>
                <a:lnTo>
                  <a:pt x="2215" y="157"/>
                </a:lnTo>
                <a:lnTo>
                  <a:pt x="2210" y="167"/>
                </a:lnTo>
                <a:lnTo>
                  <a:pt x="2208" y="177"/>
                </a:lnTo>
                <a:lnTo>
                  <a:pt x="2205" y="189"/>
                </a:lnTo>
                <a:lnTo>
                  <a:pt x="2203" y="200"/>
                </a:lnTo>
                <a:lnTo>
                  <a:pt x="2202" y="213"/>
                </a:lnTo>
                <a:lnTo>
                  <a:pt x="2203" y="224"/>
                </a:lnTo>
                <a:lnTo>
                  <a:pt x="2205" y="237"/>
                </a:lnTo>
                <a:lnTo>
                  <a:pt x="2208" y="249"/>
                </a:lnTo>
                <a:lnTo>
                  <a:pt x="2210" y="259"/>
                </a:lnTo>
                <a:lnTo>
                  <a:pt x="2215" y="269"/>
                </a:lnTo>
                <a:lnTo>
                  <a:pt x="2221" y="279"/>
                </a:lnTo>
                <a:lnTo>
                  <a:pt x="2228" y="288"/>
                </a:lnTo>
                <a:lnTo>
                  <a:pt x="2235" y="296"/>
                </a:lnTo>
                <a:lnTo>
                  <a:pt x="2244" y="303"/>
                </a:lnTo>
                <a:lnTo>
                  <a:pt x="2252" y="311"/>
                </a:lnTo>
                <a:lnTo>
                  <a:pt x="2262" y="316"/>
                </a:lnTo>
                <a:lnTo>
                  <a:pt x="2272" y="321"/>
                </a:lnTo>
                <a:lnTo>
                  <a:pt x="2284" y="324"/>
                </a:lnTo>
                <a:lnTo>
                  <a:pt x="2295" y="326"/>
                </a:lnTo>
                <a:lnTo>
                  <a:pt x="2308" y="329"/>
                </a:lnTo>
                <a:lnTo>
                  <a:pt x="2321" y="329"/>
                </a:lnTo>
                <a:lnTo>
                  <a:pt x="2337" y="328"/>
                </a:lnTo>
                <a:lnTo>
                  <a:pt x="2353" y="326"/>
                </a:lnTo>
                <a:lnTo>
                  <a:pt x="2366" y="322"/>
                </a:lnTo>
                <a:lnTo>
                  <a:pt x="2379" y="315"/>
                </a:lnTo>
                <a:lnTo>
                  <a:pt x="2392" y="308"/>
                </a:lnTo>
                <a:lnTo>
                  <a:pt x="2402" y="299"/>
                </a:lnTo>
                <a:lnTo>
                  <a:pt x="2411" y="290"/>
                </a:lnTo>
                <a:lnTo>
                  <a:pt x="2419" y="279"/>
                </a:lnTo>
                <a:lnTo>
                  <a:pt x="2386" y="260"/>
                </a:lnTo>
                <a:lnTo>
                  <a:pt x="2382" y="267"/>
                </a:lnTo>
                <a:lnTo>
                  <a:pt x="2376" y="273"/>
                </a:lnTo>
                <a:lnTo>
                  <a:pt x="2369" y="279"/>
                </a:lnTo>
                <a:lnTo>
                  <a:pt x="2362" y="283"/>
                </a:lnTo>
                <a:lnTo>
                  <a:pt x="2353" y="288"/>
                </a:lnTo>
                <a:lnTo>
                  <a:pt x="2343" y="290"/>
                </a:lnTo>
                <a:lnTo>
                  <a:pt x="2333" y="292"/>
                </a:lnTo>
                <a:lnTo>
                  <a:pt x="2323" y="293"/>
                </a:lnTo>
                <a:lnTo>
                  <a:pt x="2307" y="292"/>
                </a:lnTo>
                <a:lnTo>
                  <a:pt x="2294" y="289"/>
                </a:lnTo>
                <a:lnTo>
                  <a:pt x="2281" y="283"/>
                </a:lnTo>
                <a:lnTo>
                  <a:pt x="2270" y="276"/>
                </a:lnTo>
                <a:lnTo>
                  <a:pt x="2259" y="267"/>
                </a:lnTo>
                <a:lnTo>
                  <a:pt x="2252" y="257"/>
                </a:lnTo>
                <a:lnTo>
                  <a:pt x="2245" y="245"/>
                </a:lnTo>
                <a:lnTo>
                  <a:pt x="2242" y="230"/>
                </a:lnTo>
                <a:close/>
                <a:moveTo>
                  <a:pt x="2117" y="324"/>
                </a:moveTo>
                <a:lnTo>
                  <a:pt x="2117" y="324"/>
                </a:lnTo>
                <a:lnTo>
                  <a:pt x="2156" y="324"/>
                </a:lnTo>
                <a:lnTo>
                  <a:pt x="2156" y="0"/>
                </a:lnTo>
                <a:lnTo>
                  <a:pt x="2117" y="0"/>
                </a:lnTo>
                <a:lnTo>
                  <a:pt x="2117" y="324"/>
                </a:lnTo>
                <a:close/>
                <a:moveTo>
                  <a:pt x="1954" y="292"/>
                </a:moveTo>
                <a:lnTo>
                  <a:pt x="1954" y="292"/>
                </a:lnTo>
                <a:lnTo>
                  <a:pt x="1946" y="290"/>
                </a:lnTo>
                <a:lnTo>
                  <a:pt x="1938" y="290"/>
                </a:lnTo>
                <a:lnTo>
                  <a:pt x="1930" y="288"/>
                </a:lnTo>
                <a:lnTo>
                  <a:pt x="1922" y="286"/>
                </a:lnTo>
                <a:lnTo>
                  <a:pt x="1917" y="282"/>
                </a:lnTo>
                <a:lnTo>
                  <a:pt x="1910" y="279"/>
                </a:lnTo>
                <a:lnTo>
                  <a:pt x="1904" y="273"/>
                </a:lnTo>
                <a:lnTo>
                  <a:pt x="1898" y="269"/>
                </a:lnTo>
                <a:lnTo>
                  <a:pt x="1894" y="263"/>
                </a:lnTo>
                <a:lnTo>
                  <a:pt x="1889" y="257"/>
                </a:lnTo>
                <a:lnTo>
                  <a:pt x="1885" y="250"/>
                </a:lnTo>
                <a:lnTo>
                  <a:pt x="1882" y="245"/>
                </a:lnTo>
                <a:lnTo>
                  <a:pt x="1879" y="236"/>
                </a:lnTo>
                <a:lnTo>
                  <a:pt x="1876" y="229"/>
                </a:lnTo>
                <a:lnTo>
                  <a:pt x="1876" y="222"/>
                </a:lnTo>
                <a:lnTo>
                  <a:pt x="1875" y="213"/>
                </a:lnTo>
                <a:lnTo>
                  <a:pt x="1876" y="204"/>
                </a:lnTo>
                <a:lnTo>
                  <a:pt x="1876" y="197"/>
                </a:lnTo>
                <a:lnTo>
                  <a:pt x="1879" y="189"/>
                </a:lnTo>
                <a:lnTo>
                  <a:pt x="1882" y="181"/>
                </a:lnTo>
                <a:lnTo>
                  <a:pt x="1885" y="174"/>
                </a:lnTo>
                <a:lnTo>
                  <a:pt x="1889" y="168"/>
                </a:lnTo>
                <a:lnTo>
                  <a:pt x="1894" y="163"/>
                </a:lnTo>
                <a:lnTo>
                  <a:pt x="1898" y="157"/>
                </a:lnTo>
                <a:lnTo>
                  <a:pt x="1904" y="151"/>
                </a:lnTo>
                <a:lnTo>
                  <a:pt x="1910" y="147"/>
                </a:lnTo>
                <a:lnTo>
                  <a:pt x="1917" y="143"/>
                </a:lnTo>
                <a:lnTo>
                  <a:pt x="1922" y="140"/>
                </a:lnTo>
                <a:lnTo>
                  <a:pt x="1930" y="137"/>
                </a:lnTo>
                <a:lnTo>
                  <a:pt x="1938" y="135"/>
                </a:lnTo>
                <a:lnTo>
                  <a:pt x="1946" y="134"/>
                </a:lnTo>
                <a:lnTo>
                  <a:pt x="1954" y="134"/>
                </a:lnTo>
                <a:lnTo>
                  <a:pt x="1961" y="134"/>
                </a:lnTo>
                <a:lnTo>
                  <a:pt x="1970" y="135"/>
                </a:lnTo>
                <a:lnTo>
                  <a:pt x="1977" y="137"/>
                </a:lnTo>
                <a:lnTo>
                  <a:pt x="1984" y="140"/>
                </a:lnTo>
                <a:lnTo>
                  <a:pt x="1992" y="143"/>
                </a:lnTo>
                <a:lnTo>
                  <a:pt x="1999" y="147"/>
                </a:lnTo>
                <a:lnTo>
                  <a:pt x="2005" y="151"/>
                </a:lnTo>
                <a:lnTo>
                  <a:pt x="2010" y="157"/>
                </a:lnTo>
                <a:lnTo>
                  <a:pt x="2015" y="163"/>
                </a:lnTo>
                <a:lnTo>
                  <a:pt x="2019" y="168"/>
                </a:lnTo>
                <a:lnTo>
                  <a:pt x="2023" y="174"/>
                </a:lnTo>
                <a:lnTo>
                  <a:pt x="2026" y="181"/>
                </a:lnTo>
                <a:lnTo>
                  <a:pt x="2029" y="189"/>
                </a:lnTo>
                <a:lnTo>
                  <a:pt x="2030" y="197"/>
                </a:lnTo>
                <a:lnTo>
                  <a:pt x="2032" y="204"/>
                </a:lnTo>
                <a:lnTo>
                  <a:pt x="2032" y="213"/>
                </a:lnTo>
                <a:lnTo>
                  <a:pt x="2032" y="222"/>
                </a:lnTo>
                <a:lnTo>
                  <a:pt x="2030" y="229"/>
                </a:lnTo>
                <a:lnTo>
                  <a:pt x="2029" y="236"/>
                </a:lnTo>
                <a:lnTo>
                  <a:pt x="2026" y="245"/>
                </a:lnTo>
                <a:lnTo>
                  <a:pt x="2023" y="250"/>
                </a:lnTo>
                <a:lnTo>
                  <a:pt x="2019" y="257"/>
                </a:lnTo>
                <a:lnTo>
                  <a:pt x="2015" y="263"/>
                </a:lnTo>
                <a:lnTo>
                  <a:pt x="2010" y="269"/>
                </a:lnTo>
                <a:lnTo>
                  <a:pt x="2005" y="273"/>
                </a:lnTo>
                <a:lnTo>
                  <a:pt x="1999" y="279"/>
                </a:lnTo>
                <a:lnTo>
                  <a:pt x="1992" y="282"/>
                </a:lnTo>
                <a:lnTo>
                  <a:pt x="1984" y="286"/>
                </a:lnTo>
                <a:lnTo>
                  <a:pt x="1977" y="288"/>
                </a:lnTo>
                <a:lnTo>
                  <a:pt x="1970" y="290"/>
                </a:lnTo>
                <a:lnTo>
                  <a:pt x="1961" y="290"/>
                </a:lnTo>
                <a:lnTo>
                  <a:pt x="1954" y="292"/>
                </a:lnTo>
                <a:close/>
                <a:moveTo>
                  <a:pt x="1954" y="329"/>
                </a:moveTo>
                <a:lnTo>
                  <a:pt x="1954" y="329"/>
                </a:lnTo>
                <a:lnTo>
                  <a:pt x="1966" y="329"/>
                </a:lnTo>
                <a:lnTo>
                  <a:pt x="1977" y="326"/>
                </a:lnTo>
                <a:lnTo>
                  <a:pt x="1989" y="324"/>
                </a:lnTo>
                <a:lnTo>
                  <a:pt x="1999" y="321"/>
                </a:lnTo>
                <a:lnTo>
                  <a:pt x="2010" y="315"/>
                </a:lnTo>
                <a:lnTo>
                  <a:pt x="2019" y="309"/>
                </a:lnTo>
                <a:lnTo>
                  <a:pt x="2029" y="303"/>
                </a:lnTo>
                <a:lnTo>
                  <a:pt x="2036" y="296"/>
                </a:lnTo>
                <a:lnTo>
                  <a:pt x="2045" y="288"/>
                </a:lnTo>
                <a:lnTo>
                  <a:pt x="2051" y="279"/>
                </a:lnTo>
                <a:lnTo>
                  <a:pt x="2056" y="269"/>
                </a:lnTo>
                <a:lnTo>
                  <a:pt x="2062" y="259"/>
                </a:lnTo>
                <a:lnTo>
                  <a:pt x="2066" y="247"/>
                </a:lnTo>
                <a:lnTo>
                  <a:pt x="2069" y="236"/>
                </a:lnTo>
                <a:lnTo>
                  <a:pt x="2071" y="224"/>
                </a:lnTo>
                <a:lnTo>
                  <a:pt x="2071" y="213"/>
                </a:lnTo>
                <a:lnTo>
                  <a:pt x="2071" y="200"/>
                </a:lnTo>
                <a:lnTo>
                  <a:pt x="2069" y="189"/>
                </a:lnTo>
                <a:lnTo>
                  <a:pt x="2066" y="177"/>
                </a:lnTo>
                <a:lnTo>
                  <a:pt x="2062" y="167"/>
                </a:lnTo>
                <a:lnTo>
                  <a:pt x="2056" y="157"/>
                </a:lnTo>
                <a:lnTo>
                  <a:pt x="2051" y="147"/>
                </a:lnTo>
                <a:lnTo>
                  <a:pt x="2045" y="138"/>
                </a:lnTo>
                <a:lnTo>
                  <a:pt x="2036" y="130"/>
                </a:lnTo>
                <a:lnTo>
                  <a:pt x="2029" y="122"/>
                </a:lnTo>
                <a:lnTo>
                  <a:pt x="2019" y="115"/>
                </a:lnTo>
                <a:lnTo>
                  <a:pt x="2010" y="110"/>
                </a:lnTo>
                <a:lnTo>
                  <a:pt x="1999" y="105"/>
                </a:lnTo>
                <a:lnTo>
                  <a:pt x="1989" y="101"/>
                </a:lnTo>
                <a:lnTo>
                  <a:pt x="1977" y="98"/>
                </a:lnTo>
                <a:lnTo>
                  <a:pt x="1966" y="97"/>
                </a:lnTo>
                <a:lnTo>
                  <a:pt x="1954" y="97"/>
                </a:lnTo>
                <a:lnTo>
                  <a:pt x="1941" y="97"/>
                </a:lnTo>
                <a:lnTo>
                  <a:pt x="1930" y="98"/>
                </a:lnTo>
                <a:lnTo>
                  <a:pt x="1920" y="101"/>
                </a:lnTo>
                <a:lnTo>
                  <a:pt x="1908" y="105"/>
                </a:lnTo>
                <a:lnTo>
                  <a:pt x="1898" y="110"/>
                </a:lnTo>
                <a:lnTo>
                  <a:pt x="1888" y="115"/>
                </a:lnTo>
                <a:lnTo>
                  <a:pt x="1879" y="122"/>
                </a:lnTo>
                <a:lnTo>
                  <a:pt x="1871" y="130"/>
                </a:lnTo>
                <a:lnTo>
                  <a:pt x="1863" y="138"/>
                </a:lnTo>
                <a:lnTo>
                  <a:pt x="1856" y="147"/>
                </a:lnTo>
                <a:lnTo>
                  <a:pt x="1850" y="157"/>
                </a:lnTo>
                <a:lnTo>
                  <a:pt x="1846" y="167"/>
                </a:lnTo>
                <a:lnTo>
                  <a:pt x="1842" y="177"/>
                </a:lnTo>
                <a:lnTo>
                  <a:pt x="1839" y="189"/>
                </a:lnTo>
                <a:lnTo>
                  <a:pt x="1838" y="200"/>
                </a:lnTo>
                <a:lnTo>
                  <a:pt x="1838" y="213"/>
                </a:lnTo>
                <a:lnTo>
                  <a:pt x="1838" y="224"/>
                </a:lnTo>
                <a:lnTo>
                  <a:pt x="1839" y="236"/>
                </a:lnTo>
                <a:lnTo>
                  <a:pt x="1842" y="247"/>
                </a:lnTo>
                <a:lnTo>
                  <a:pt x="1846" y="259"/>
                </a:lnTo>
                <a:lnTo>
                  <a:pt x="1850" y="269"/>
                </a:lnTo>
                <a:lnTo>
                  <a:pt x="1856" y="279"/>
                </a:lnTo>
                <a:lnTo>
                  <a:pt x="1863" y="288"/>
                </a:lnTo>
                <a:lnTo>
                  <a:pt x="1871" y="296"/>
                </a:lnTo>
                <a:lnTo>
                  <a:pt x="1879" y="303"/>
                </a:lnTo>
                <a:lnTo>
                  <a:pt x="1888" y="309"/>
                </a:lnTo>
                <a:lnTo>
                  <a:pt x="1898" y="315"/>
                </a:lnTo>
                <a:lnTo>
                  <a:pt x="1908" y="321"/>
                </a:lnTo>
                <a:lnTo>
                  <a:pt x="1920" y="324"/>
                </a:lnTo>
                <a:lnTo>
                  <a:pt x="1930" y="326"/>
                </a:lnTo>
                <a:lnTo>
                  <a:pt x="1941" y="329"/>
                </a:lnTo>
                <a:lnTo>
                  <a:pt x="1954" y="329"/>
                </a:lnTo>
                <a:close/>
                <a:moveTo>
                  <a:pt x="1833" y="324"/>
                </a:moveTo>
                <a:lnTo>
                  <a:pt x="1833" y="324"/>
                </a:lnTo>
                <a:lnTo>
                  <a:pt x="1724" y="209"/>
                </a:lnTo>
                <a:lnTo>
                  <a:pt x="1830" y="102"/>
                </a:lnTo>
                <a:lnTo>
                  <a:pt x="1780" y="102"/>
                </a:lnTo>
                <a:lnTo>
                  <a:pt x="1685" y="200"/>
                </a:lnTo>
                <a:lnTo>
                  <a:pt x="1685" y="13"/>
                </a:lnTo>
                <a:lnTo>
                  <a:pt x="1646" y="13"/>
                </a:lnTo>
                <a:lnTo>
                  <a:pt x="1646" y="324"/>
                </a:lnTo>
                <a:lnTo>
                  <a:pt x="1685" y="324"/>
                </a:lnTo>
                <a:lnTo>
                  <a:pt x="1685" y="219"/>
                </a:lnTo>
                <a:lnTo>
                  <a:pt x="1786" y="324"/>
                </a:lnTo>
                <a:lnTo>
                  <a:pt x="1833" y="324"/>
                </a:lnTo>
                <a:close/>
                <a:moveTo>
                  <a:pt x="1469" y="292"/>
                </a:moveTo>
                <a:lnTo>
                  <a:pt x="1469" y="292"/>
                </a:lnTo>
                <a:lnTo>
                  <a:pt x="1462" y="292"/>
                </a:lnTo>
                <a:lnTo>
                  <a:pt x="1453" y="290"/>
                </a:lnTo>
                <a:lnTo>
                  <a:pt x="1446" y="289"/>
                </a:lnTo>
                <a:lnTo>
                  <a:pt x="1439" y="286"/>
                </a:lnTo>
                <a:lnTo>
                  <a:pt x="1431" y="283"/>
                </a:lnTo>
                <a:lnTo>
                  <a:pt x="1424" y="279"/>
                </a:lnTo>
                <a:lnTo>
                  <a:pt x="1418" y="275"/>
                </a:lnTo>
                <a:lnTo>
                  <a:pt x="1413" y="269"/>
                </a:lnTo>
                <a:lnTo>
                  <a:pt x="1408" y="263"/>
                </a:lnTo>
                <a:lnTo>
                  <a:pt x="1404" y="257"/>
                </a:lnTo>
                <a:lnTo>
                  <a:pt x="1400" y="252"/>
                </a:lnTo>
                <a:lnTo>
                  <a:pt x="1397" y="245"/>
                </a:lnTo>
                <a:lnTo>
                  <a:pt x="1394" y="237"/>
                </a:lnTo>
                <a:lnTo>
                  <a:pt x="1393" y="229"/>
                </a:lnTo>
                <a:lnTo>
                  <a:pt x="1391" y="222"/>
                </a:lnTo>
                <a:lnTo>
                  <a:pt x="1391" y="213"/>
                </a:lnTo>
                <a:lnTo>
                  <a:pt x="1391" y="204"/>
                </a:lnTo>
                <a:lnTo>
                  <a:pt x="1393" y="196"/>
                </a:lnTo>
                <a:lnTo>
                  <a:pt x="1394" y="189"/>
                </a:lnTo>
                <a:lnTo>
                  <a:pt x="1397" y="181"/>
                </a:lnTo>
                <a:lnTo>
                  <a:pt x="1400" y="174"/>
                </a:lnTo>
                <a:lnTo>
                  <a:pt x="1404" y="168"/>
                </a:lnTo>
                <a:lnTo>
                  <a:pt x="1408" y="161"/>
                </a:lnTo>
                <a:lnTo>
                  <a:pt x="1413" y="155"/>
                </a:lnTo>
                <a:lnTo>
                  <a:pt x="1418" y="151"/>
                </a:lnTo>
                <a:lnTo>
                  <a:pt x="1424" y="147"/>
                </a:lnTo>
                <a:lnTo>
                  <a:pt x="1431" y="143"/>
                </a:lnTo>
                <a:lnTo>
                  <a:pt x="1439" y="140"/>
                </a:lnTo>
                <a:lnTo>
                  <a:pt x="1446" y="137"/>
                </a:lnTo>
                <a:lnTo>
                  <a:pt x="1453" y="135"/>
                </a:lnTo>
                <a:lnTo>
                  <a:pt x="1462" y="134"/>
                </a:lnTo>
                <a:lnTo>
                  <a:pt x="1469" y="134"/>
                </a:lnTo>
                <a:lnTo>
                  <a:pt x="1478" y="134"/>
                </a:lnTo>
                <a:lnTo>
                  <a:pt x="1486" y="135"/>
                </a:lnTo>
                <a:lnTo>
                  <a:pt x="1493" y="137"/>
                </a:lnTo>
                <a:lnTo>
                  <a:pt x="1501" y="140"/>
                </a:lnTo>
                <a:lnTo>
                  <a:pt x="1508" y="143"/>
                </a:lnTo>
                <a:lnTo>
                  <a:pt x="1514" y="147"/>
                </a:lnTo>
                <a:lnTo>
                  <a:pt x="1521" y="151"/>
                </a:lnTo>
                <a:lnTo>
                  <a:pt x="1525" y="155"/>
                </a:lnTo>
                <a:lnTo>
                  <a:pt x="1531" y="161"/>
                </a:lnTo>
                <a:lnTo>
                  <a:pt x="1535" y="168"/>
                </a:lnTo>
                <a:lnTo>
                  <a:pt x="1539" y="174"/>
                </a:lnTo>
                <a:lnTo>
                  <a:pt x="1542" y="181"/>
                </a:lnTo>
                <a:lnTo>
                  <a:pt x="1545" y="189"/>
                </a:lnTo>
                <a:lnTo>
                  <a:pt x="1547" y="196"/>
                </a:lnTo>
                <a:lnTo>
                  <a:pt x="1548" y="204"/>
                </a:lnTo>
                <a:lnTo>
                  <a:pt x="1548" y="213"/>
                </a:lnTo>
                <a:lnTo>
                  <a:pt x="1548" y="222"/>
                </a:lnTo>
                <a:lnTo>
                  <a:pt x="1547" y="229"/>
                </a:lnTo>
                <a:lnTo>
                  <a:pt x="1545" y="237"/>
                </a:lnTo>
                <a:lnTo>
                  <a:pt x="1542" y="245"/>
                </a:lnTo>
                <a:lnTo>
                  <a:pt x="1539" y="252"/>
                </a:lnTo>
                <a:lnTo>
                  <a:pt x="1535" y="257"/>
                </a:lnTo>
                <a:lnTo>
                  <a:pt x="1531" y="263"/>
                </a:lnTo>
                <a:lnTo>
                  <a:pt x="1525" y="269"/>
                </a:lnTo>
                <a:lnTo>
                  <a:pt x="1521" y="275"/>
                </a:lnTo>
                <a:lnTo>
                  <a:pt x="1514" y="279"/>
                </a:lnTo>
                <a:lnTo>
                  <a:pt x="1508" y="283"/>
                </a:lnTo>
                <a:lnTo>
                  <a:pt x="1501" y="286"/>
                </a:lnTo>
                <a:lnTo>
                  <a:pt x="1493" y="289"/>
                </a:lnTo>
                <a:lnTo>
                  <a:pt x="1486" y="290"/>
                </a:lnTo>
                <a:lnTo>
                  <a:pt x="1478" y="292"/>
                </a:lnTo>
                <a:lnTo>
                  <a:pt x="1469" y="292"/>
                </a:lnTo>
                <a:close/>
                <a:moveTo>
                  <a:pt x="1548" y="102"/>
                </a:moveTo>
                <a:lnTo>
                  <a:pt x="1548" y="102"/>
                </a:lnTo>
                <a:lnTo>
                  <a:pt x="1548" y="140"/>
                </a:lnTo>
                <a:lnTo>
                  <a:pt x="1541" y="130"/>
                </a:lnTo>
                <a:lnTo>
                  <a:pt x="1534" y="121"/>
                </a:lnTo>
                <a:lnTo>
                  <a:pt x="1524" y="114"/>
                </a:lnTo>
                <a:lnTo>
                  <a:pt x="1514" y="108"/>
                </a:lnTo>
                <a:lnTo>
                  <a:pt x="1503" y="102"/>
                </a:lnTo>
                <a:lnTo>
                  <a:pt x="1490" y="99"/>
                </a:lnTo>
                <a:lnTo>
                  <a:pt x="1478" y="97"/>
                </a:lnTo>
                <a:lnTo>
                  <a:pt x="1465" y="97"/>
                </a:lnTo>
                <a:lnTo>
                  <a:pt x="1453" y="97"/>
                </a:lnTo>
                <a:lnTo>
                  <a:pt x="1442" y="98"/>
                </a:lnTo>
                <a:lnTo>
                  <a:pt x="1431" y="101"/>
                </a:lnTo>
                <a:lnTo>
                  <a:pt x="1421" y="105"/>
                </a:lnTo>
                <a:lnTo>
                  <a:pt x="1411" y="110"/>
                </a:lnTo>
                <a:lnTo>
                  <a:pt x="1401" y="115"/>
                </a:lnTo>
                <a:lnTo>
                  <a:pt x="1393" y="122"/>
                </a:lnTo>
                <a:lnTo>
                  <a:pt x="1385" y="130"/>
                </a:lnTo>
                <a:lnTo>
                  <a:pt x="1378" y="138"/>
                </a:lnTo>
                <a:lnTo>
                  <a:pt x="1371" y="147"/>
                </a:lnTo>
                <a:lnTo>
                  <a:pt x="1365" y="157"/>
                </a:lnTo>
                <a:lnTo>
                  <a:pt x="1361" y="167"/>
                </a:lnTo>
                <a:lnTo>
                  <a:pt x="1357" y="177"/>
                </a:lnTo>
                <a:lnTo>
                  <a:pt x="1354" y="189"/>
                </a:lnTo>
                <a:lnTo>
                  <a:pt x="1352" y="200"/>
                </a:lnTo>
                <a:lnTo>
                  <a:pt x="1352" y="213"/>
                </a:lnTo>
                <a:lnTo>
                  <a:pt x="1352" y="224"/>
                </a:lnTo>
                <a:lnTo>
                  <a:pt x="1354" y="236"/>
                </a:lnTo>
                <a:lnTo>
                  <a:pt x="1357" y="247"/>
                </a:lnTo>
                <a:lnTo>
                  <a:pt x="1361" y="259"/>
                </a:lnTo>
                <a:lnTo>
                  <a:pt x="1365" y="269"/>
                </a:lnTo>
                <a:lnTo>
                  <a:pt x="1371" y="279"/>
                </a:lnTo>
                <a:lnTo>
                  <a:pt x="1378" y="288"/>
                </a:lnTo>
                <a:lnTo>
                  <a:pt x="1385" y="296"/>
                </a:lnTo>
                <a:lnTo>
                  <a:pt x="1393" y="303"/>
                </a:lnTo>
                <a:lnTo>
                  <a:pt x="1401" y="309"/>
                </a:lnTo>
                <a:lnTo>
                  <a:pt x="1411" y="315"/>
                </a:lnTo>
                <a:lnTo>
                  <a:pt x="1421" y="321"/>
                </a:lnTo>
                <a:lnTo>
                  <a:pt x="1431" y="324"/>
                </a:lnTo>
                <a:lnTo>
                  <a:pt x="1442" y="326"/>
                </a:lnTo>
                <a:lnTo>
                  <a:pt x="1453" y="329"/>
                </a:lnTo>
                <a:lnTo>
                  <a:pt x="1465" y="329"/>
                </a:lnTo>
                <a:lnTo>
                  <a:pt x="1478" y="328"/>
                </a:lnTo>
                <a:lnTo>
                  <a:pt x="1490" y="326"/>
                </a:lnTo>
                <a:lnTo>
                  <a:pt x="1503" y="322"/>
                </a:lnTo>
                <a:lnTo>
                  <a:pt x="1514" y="318"/>
                </a:lnTo>
                <a:lnTo>
                  <a:pt x="1524" y="311"/>
                </a:lnTo>
                <a:lnTo>
                  <a:pt x="1534" y="303"/>
                </a:lnTo>
                <a:lnTo>
                  <a:pt x="1541" y="295"/>
                </a:lnTo>
                <a:lnTo>
                  <a:pt x="1548" y="285"/>
                </a:lnTo>
                <a:lnTo>
                  <a:pt x="1548" y="324"/>
                </a:lnTo>
                <a:lnTo>
                  <a:pt x="1587" y="324"/>
                </a:lnTo>
                <a:lnTo>
                  <a:pt x="1587" y="102"/>
                </a:lnTo>
                <a:lnTo>
                  <a:pt x="1548" y="102"/>
                </a:lnTo>
                <a:close/>
                <a:moveTo>
                  <a:pt x="1224" y="97"/>
                </a:moveTo>
                <a:lnTo>
                  <a:pt x="1224" y="97"/>
                </a:lnTo>
                <a:lnTo>
                  <a:pt x="1213" y="97"/>
                </a:lnTo>
                <a:lnTo>
                  <a:pt x="1202" y="98"/>
                </a:lnTo>
                <a:lnTo>
                  <a:pt x="1192" y="101"/>
                </a:lnTo>
                <a:lnTo>
                  <a:pt x="1182" y="105"/>
                </a:lnTo>
                <a:lnTo>
                  <a:pt x="1174" y="111"/>
                </a:lnTo>
                <a:lnTo>
                  <a:pt x="1166" y="117"/>
                </a:lnTo>
                <a:lnTo>
                  <a:pt x="1159" y="125"/>
                </a:lnTo>
                <a:lnTo>
                  <a:pt x="1152" y="134"/>
                </a:lnTo>
                <a:lnTo>
                  <a:pt x="1152" y="102"/>
                </a:lnTo>
                <a:lnTo>
                  <a:pt x="1113" y="102"/>
                </a:lnTo>
                <a:lnTo>
                  <a:pt x="1113" y="324"/>
                </a:lnTo>
                <a:lnTo>
                  <a:pt x="1152" y="324"/>
                </a:lnTo>
                <a:lnTo>
                  <a:pt x="1152" y="206"/>
                </a:lnTo>
                <a:lnTo>
                  <a:pt x="1154" y="189"/>
                </a:lnTo>
                <a:lnTo>
                  <a:pt x="1158" y="173"/>
                </a:lnTo>
                <a:lnTo>
                  <a:pt x="1161" y="166"/>
                </a:lnTo>
                <a:lnTo>
                  <a:pt x="1164" y="160"/>
                </a:lnTo>
                <a:lnTo>
                  <a:pt x="1166" y="154"/>
                </a:lnTo>
                <a:lnTo>
                  <a:pt x="1171" y="150"/>
                </a:lnTo>
                <a:lnTo>
                  <a:pt x="1181" y="143"/>
                </a:lnTo>
                <a:lnTo>
                  <a:pt x="1192" y="137"/>
                </a:lnTo>
                <a:lnTo>
                  <a:pt x="1204" y="134"/>
                </a:lnTo>
                <a:lnTo>
                  <a:pt x="1217" y="133"/>
                </a:lnTo>
                <a:lnTo>
                  <a:pt x="1228" y="134"/>
                </a:lnTo>
                <a:lnTo>
                  <a:pt x="1240" y="137"/>
                </a:lnTo>
                <a:lnTo>
                  <a:pt x="1250" y="141"/>
                </a:lnTo>
                <a:lnTo>
                  <a:pt x="1257" y="148"/>
                </a:lnTo>
                <a:lnTo>
                  <a:pt x="1263" y="155"/>
                </a:lnTo>
                <a:lnTo>
                  <a:pt x="1269" y="166"/>
                </a:lnTo>
                <a:lnTo>
                  <a:pt x="1272" y="177"/>
                </a:lnTo>
                <a:lnTo>
                  <a:pt x="1272" y="190"/>
                </a:lnTo>
                <a:lnTo>
                  <a:pt x="1272" y="324"/>
                </a:lnTo>
                <a:lnTo>
                  <a:pt x="1310" y="324"/>
                </a:lnTo>
                <a:lnTo>
                  <a:pt x="1310" y="187"/>
                </a:lnTo>
                <a:lnTo>
                  <a:pt x="1310" y="177"/>
                </a:lnTo>
                <a:lnTo>
                  <a:pt x="1309" y="167"/>
                </a:lnTo>
                <a:lnTo>
                  <a:pt x="1308" y="158"/>
                </a:lnTo>
                <a:lnTo>
                  <a:pt x="1305" y="150"/>
                </a:lnTo>
                <a:lnTo>
                  <a:pt x="1300" y="141"/>
                </a:lnTo>
                <a:lnTo>
                  <a:pt x="1298" y="134"/>
                </a:lnTo>
                <a:lnTo>
                  <a:pt x="1292" y="127"/>
                </a:lnTo>
                <a:lnTo>
                  <a:pt x="1287" y="121"/>
                </a:lnTo>
                <a:lnTo>
                  <a:pt x="1282" y="115"/>
                </a:lnTo>
                <a:lnTo>
                  <a:pt x="1274" y="110"/>
                </a:lnTo>
                <a:lnTo>
                  <a:pt x="1267" y="105"/>
                </a:lnTo>
                <a:lnTo>
                  <a:pt x="1260" y="102"/>
                </a:lnTo>
                <a:lnTo>
                  <a:pt x="1251" y="99"/>
                </a:lnTo>
                <a:lnTo>
                  <a:pt x="1243" y="98"/>
                </a:lnTo>
                <a:lnTo>
                  <a:pt x="1234" y="97"/>
                </a:lnTo>
                <a:lnTo>
                  <a:pt x="1224" y="97"/>
                </a:lnTo>
                <a:close/>
                <a:moveTo>
                  <a:pt x="1030" y="328"/>
                </a:moveTo>
                <a:lnTo>
                  <a:pt x="1030" y="328"/>
                </a:lnTo>
                <a:lnTo>
                  <a:pt x="1035" y="328"/>
                </a:lnTo>
                <a:lnTo>
                  <a:pt x="1041" y="326"/>
                </a:lnTo>
                <a:lnTo>
                  <a:pt x="1047" y="324"/>
                </a:lnTo>
                <a:lnTo>
                  <a:pt x="1051" y="321"/>
                </a:lnTo>
                <a:lnTo>
                  <a:pt x="1054" y="316"/>
                </a:lnTo>
                <a:lnTo>
                  <a:pt x="1057" y="311"/>
                </a:lnTo>
                <a:lnTo>
                  <a:pt x="1058" y="305"/>
                </a:lnTo>
                <a:lnTo>
                  <a:pt x="1058" y="299"/>
                </a:lnTo>
                <a:lnTo>
                  <a:pt x="1058" y="293"/>
                </a:lnTo>
                <a:lnTo>
                  <a:pt x="1057" y="289"/>
                </a:lnTo>
                <a:lnTo>
                  <a:pt x="1054" y="283"/>
                </a:lnTo>
                <a:lnTo>
                  <a:pt x="1051" y="279"/>
                </a:lnTo>
                <a:lnTo>
                  <a:pt x="1047" y="276"/>
                </a:lnTo>
                <a:lnTo>
                  <a:pt x="1041" y="273"/>
                </a:lnTo>
                <a:lnTo>
                  <a:pt x="1035" y="272"/>
                </a:lnTo>
                <a:lnTo>
                  <a:pt x="1030" y="270"/>
                </a:lnTo>
                <a:lnTo>
                  <a:pt x="1024" y="272"/>
                </a:lnTo>
                <a:lnTo>
                  <a:pt x="1018" y="273"/>
                </a:lnTo>
                <a:lnTo>
                  <a:pt x="1014" y="276"/>
                </a:lnTo>
                <a:lnTo>
                  <a:pt x="1010" y="279"/>
                </a:lnTo>
                <a:lnTo>
                  <a:pt x="1007" y="283"/>
                </a:lnTo>
                <a:lnTo>
                  <a:pt x="1004" y="289"/>
                </a:lnTo>
                <a:lnTo>
                  <a:pt x="1002" y="293"/>
                </a:lnTo>
                <a:lnTo>
                  <a:pt x="1001" y="299"/>
                </a:lnTo>
                <a:lnTo>
                  <a:pt x="1002" y="305"/>
                </a:lnTo>
                <a:lnTo>
                  <a:pt x="1004" y="311"/>
                </a:lnTo>
                <a:lnTo>
                  <a:pt x="1007" y="316"/>
                </a:lnTo>
                <a:lnTo>
                  <a:pt x="1010" y="321"/>
                </a:lnTo>
                <a:lnTo>
                  <a:pt x="1014" y="324"/>
                </a:lnTo>
                <a:lnTo>
                  <a:pt x="1018" y="326"/>
                </a:lnTo>
                <a:lnTo>
                  <a:pt x="1024" y="328"/>
                </a:lnTo>
                <a:lnTo>
                  <a:pt x="1030" y="328"/>
                </a:lnTo>
                <a:close/>
                <a:moveTo>
                  <a:pt x="966" y="102"/>
                </a:moveTo>
                <a:lnTo>
                  <a:pt x="966" y="102"/>
                </a:lnTo>
                <a:lnTo>
                  <a:pt x="917" y="270"/>
                </a:lnTo>
                <a:lnTo>
                  <a:pt x="864" y="102"/>
                </a:lnTo>
                <a:lnTo>
                  <a:pt x="827" y="102"/>
                </a:lnTo>
                <a:lnTo>
                  <a:pt x="775" y="270"/>
                </a:lnTo>
                <a:lnTo>
                  <a:pt x="726" y="102"/>
                </a:lnTo>
                <a:lnTo>
                  <a:pt x="686" y="102"/>
                </a:lnTo>
                <a:lnTo>
                  <a:pt x="755" y="324"/>
                </a:lnTo>
                <a:lnTo>
                  <a:pt x="794" y="324"/>
                </a:lnTo>
                <a:lnTo>
                  <a:pt x="845" y="160"/>
                </a:lnTo>
                <a:lnTo>
                  <a:pt x="897" y="324"/>
                </a:lnTo>
                <a:lnTo>
                  <a:pt x="938" y="324"/>
                </a:lnTo>
                <a:lnTo>
                  <a:pt x="1007" y="102"/>
                </a:lnTo>
                <a:lnTo>
                  <a:pt x="966" y="102"/>
                </a:lnTo>
                <a:close/>
                <a:moveTo>
                  <a:pt x="624" y="102"/>
                </a:moveTo>
                <a:lnTo>
                  <a:pt x="624" y="102"/>
                </a:lnTo>
                <a:lnTo>
                  <a:pt x="575" y="270"/>
                </a:lnTo>
                <a:lnTo>
                  <a:pt x="521" y="102"/>
                </a:lnTo>
                <a:lnTo>
                  <a:pt x="485" y="102"/>
                </a:lnTo>
                <a:lnTo>
                  <a:pt x="432" y="270"/>
                </a:lnTo>
                <a:lnTo>
                  <a:pt x="383" y="102"/>
                </a:lnTo>
                <a:lnTo>
                  <a:pt x="343" y="102"/>
                </a:lnTo>
                <a:lnTo>
                  <a:pt x="412" y="324"/>
                </a:lnTo>
                <a:lnTo>
                  <a:pt x="451" y="324"/>
                </a:lnTo>
                <a:lnTo>
                  <a:pt x="504" y="160"/>
                </a:lnTo>
                <a:lnTo>
                  <a:pt x="556" y="324"/>
                </a:lnTo>
                <a:lnTo>
                  <a:pt x="595" y="324"/>
                </a:lnTo>
                <a:lnTo>
                  <a:pt x="664" y="102"/>
                </a:lnTo>
                <a:lnTo>
                  <a:pt x="624" y="102"/>
                </a:lnTo>
                <a:close/>
                <a:moveTo>
                  <a:pt x="281" y="102"/>
                </a:moveTo>
                <a:lnTo>
                  <a:pt x="281" y="102"/>
                </a:lnTo>
                <a:lnTo>
                  <a:pt x="232" y="270"/>
                </a:lnTo>
                <a:lnTo>
                  <a:pt x="180" y="102"/>
                </a:lnTo>
                <a:lnTo>
                  <a:pt x="143" y="102"/>
                </a:lnTo>
                <a:lnTo>
                  <a:pt x="89" y="270"/>
                </a:lnTo>
                <a:lnTo>
                  <a:pt x="40" y="102"/>
                </a:lnTo>
                <a:lnTo>
                  <a:pt x="0" y="102"/>
                </a:lnTo>
                <a:lnTo>
                  <a:pt x="69" y="324"/>
                </a:lnTo>
                <a:lnTo>
                  <a:pt x="110" y="324"/>
                </a:lnTo>
                <a:lnTo>
                  <a:pt x="161" y="160"/>
                </a:lnTo>
                <a:lnTo>
                  <a:pt x="213" y="324"/>
                </a:lnTo>
                <a:lnTo>
                  <a:pt x="252" y="324"/>
                </a:lnTo>
                <a:lnTo>
                  <a:pt x="321" y="102"/>
                </a:lnTo>
                <a:lnTo>
                  <a:pt x="281" y="1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grpSp>
        <p:nvGrpSpPr>
          <p:cNvPr id="1065" name="Skupina 1064">
            <a:extLst>
              <a:ext uri="{FF2B5EF4-FFF2-40B4-BE49-F238E27FC236}">
                <a16:creationId xmlns:a16="http://schemas.microsoft.com/office/drawing/2014/main" id="{28687763-0AAB-594D-5CD1-220B1AB2F886}"/>
              </a:ext>
            </a:extLst>
          </p:cNvPr>
          <p:cNvGrpSpPr/>
          <p:nvPr/>
        </p:nvGrpSpPr>
        <p:grpSpPr>
          <a:xfrm>
            <a:off x="658813" y="3203575"/>
            <a:ext cx="4930775" cy="1236663"/>
            <a:chOff x="658813" y="3203575"/>
            <a:chExt cx="4930775" cy="1236663"/>
          </a:xfrm>
        </p:grpSpPr>
        <p:sp>
          <p:nvSpPr>
            <p:cNvPr id="1056" name="Freeform 60">
              <a:extLst>
                <a:ext uri="{FF2B5EF4-FFF2-40B4-BE49-F238E27FC236}">
                  <a16:creationId xmlns:a16="http://schemas.microsoft.com/office/drawing/2014/main" id="{D92F7977-7015-6586-C4BB-CAD5DACB10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8438" y="3786188"/>
              <a:ext cx="2851150" cy="654050"/>
            </a:xfrm>
            <a:custGeom>
              <a:avLst/>
              <a:gdLst>
                <a:gd name="T0" fmla="*/ 5198 w 5390"/>
                <a:gd name="T1" fmla="*/ 1199 h 1235"/>
                <a:gd name="T2" fmla="*/ 5338 w 5390"/>
                <a:gd name="T3" fmla="*/ 1086 h 1235"/>
                <a:gd name="T4" fmla="*/ 5390 w 5390"/>
                <a:gd name="T5" fmla="*/ 905 h 1235"/>
                <a:gd name="T6" fmla="*/ 5119 w 5390"/>
                <a:gd name="T7" fmla="*/ 966 h 1235"/>
                <a:gd name="T8" fmla="*/ 4966 w 5390"/>
                <a:gd name="T9" fmla="*/ 995 h 1235"/>
                <a:gd name="T10" fmla="*/ 4884 w 5390"/>
                <a:gd name="T11" fmla="*/ 906 h 1235"/>
                <a:gd name="T12" fmla="*/ 4657 w 5390"/>
                <a:gd name="T13" fmla="*/ 1011 h 1235"/>
                <a:gd name="T14" fmla="*/ 4759 w 5390"/>
                <a:gd name="T15" fmla="*/ 1156 h 1235"/>
                <a:gd name="T16" fmla="*/ 4936 w 5390"/>
                <a:gd name="T17" fmla="*/ 1229 h 1235"/>
                <a:gd name="T18" fmla="*/ 3908 w 5390"/>
                <a:gd name="T19" fmla="*/ 971 h 1235"/>
                <a:gd name="T20" fmla="*/ 3776 w 5390"/>
                <a:gd name="T21" fmla="*/ 742 h 1235"/>
                <a:gd name="T22" fmla="*/ 3908 w 5390"/>
                <a:gd name="T23" fmla="*/ 515 h 1235"/>
                <a:gd name="T24" fmla="*/ 4176 w 5390"/>
                <a:gd name="T25" fmla="*/ 527 h 1235"/>
                <a:gd name="T26" fmla="*/ 4285 w 5390"/>
                <a:gd name="T27" fmla="*/ 771 h 1235"/>
                <a:gd name="T28" fmla="*/ 4133 w 5390"/>
                <a:gd name="T29" fmla="*/ 981 h 1235"/>
                <a:gd name="T30" fmla="*/ 4156 w 5390"/>
                <a:gd name="T31" fmla="*/ 1221 h 1235"/>
                <a:gd name="T32" fmla="*/ 4383 w 5390"/>
                <a:gd name="T33" fmla="*/ 1093 h 1235"/>
                <a:gd name="T34" fmla="*/ 4513 w 5390"/>
                <a:gd name="T35" fmla="*/ 867 h 1235"/>
                <a:gd name="T36" fmla="*/ 4506 w 5390"/>
                <a:gd name="T37" fmla="*/ 594 h 1235"/>
                <a:gd name="T38" fmla="*/ 4366 w 5390"/>
                <a:gd name="T39" fmla="*/ 376 h 1235"/>
                <a:gd name="T40" fmla="*/ 4131 w 5390"/>
                <a:gd name="T41" fmla="*/ 260 h 1235"/>
                <a:gd name="T42" fmla="*/ 3859 w 5390"/>
                <a:gd name="T43" fmla="*/ 279 h 1235"/>
                <a:gd name="T44" fmla="*/ 3647 w 5390"/>
                <a:gd name="T45" fmla="*/ 426 h 1235"/>
                <a:gd name="T46" fmla="*/ 3539 w 5390"/>
                <a:gd name="T47" fmla="*/ 666 h 1235"/>
                <a:gd name="T48" fmla="*/ 3573 w 5390"/>
                <a:gd name="T49" fmla="*/ 936 h 1235"/>
                <a:gd name="T50" fmla="*/ 3732 w 5390"/>
                <a:gd name="T51" fmla="*/ 1139 h 1235"/>
                <a:gd name="T52" fmla="*/ 3980 w 5390"/>
                <a:gd name="T53" fmla="*/ 1233 h 1235"/>
                <a:gd name="T54" fmla="*/ 3168 w 5390"/>
                <a:gd name="T55" fmla="*/ 846 h 1235"/>
                <a:gd name="T56" fmla="*/ 3217 w 5390"/>
                <a:gd name="T57" fmla="*/ 910 h 1235"/>
                <a:gd name="T58" fmla="*/ 3182 w 5390"/>
                <a:gd name="T59" fmla="*/ 986 h 1235"/>
                <a:gd name="T60" fmla="*/ 3152 w 5390"/>
                <a:gd name="T61" fmla="*/ 497 h 1235"/>
                <a:gd name="T62" fmla="*/ 3185 w 5390"/>
                <a:gd name="T63" fmla="*/ 577 h 1235"/>
                <a:gd name="T64" fmla="*/ 2985 w 5390"/>
                <a:gd name="T65" fmla="*/ 635 h 1235"/>
                <a:gd name="T66" fmla="*/ 3400 w 5390"/>
                <a:gd name="T67" fmla="*/ 658 h 1235"/>
                <a:gd name="T68" fmla="*/ 3427 w 5390"/>
                <a:gd name="T69" fmla="*/ 508 h 1235"/>
                <a:gd name="T70" fmla="*/ 3371 w 5390"/>
                <a:gd name="T71" fmla="*/ 370 h 1235"/>
                <a:gd name="T72" fmla="*/ 3116 w 5390"/>
                <a:gd name="T73" fmla="*/ 270 h 1235"/>
                <a:gd name="T74" fmla="*/ 3351 w 5390"/>
                <a:gd name="T75" fmla="*/ 1156 h 1235"/>
                <a:gd name="T76" fmla="*/ 3443 w 5390"/>
                <a:gd name="T77" fmla="*/ 1040 h 1235"/>
                <a:gd name="T78" fmla="*/ 3452 w 5390"/>
                <a:gd name="T79" fmla="*/ 870 h 1235"/>
                <a:gd name="T80" fmla="*/ 3354 w 5390"/>
                <a:gd name="T81" fmla="*/ 735 h 1235"/>
                <a:gd name="T82" fmla="*/ 1667 w 5390"/>
                <a:gd name="T83" fmla="*/ 1215 h 1235"/>
                <a:gd name="T84" fmla="*/ 1233 w 5390"/>
                <a:gd name="T85" fmla="*/ 501 h 1235"/>
                <a:gd name="T86" fmla="*/ 1292 w 5390"/>
                <a:gd name="T87" fmla="*/ 589 h 1235"/>
                <a:gd name="T88" fmla="*/ 1250 w 5390"/>
                <a:gd name="T89" fmla="*/ 689 h 1235"/>
                <a:gd name="T90" fmla="*/ 1568 w 5390"/>
                <a:gd name="T91" fmla="*/ 1215 h 1235"/>
                <a:gd name="T92" fmla="*/ 1509 w 5390"/>
                <a:gd name="T93" fmla="*/ 718 h 1235"/>
                <a:gd name="T94" fmla="*/ 1525 w 5390"/>
                <a:gd name="T95" fmla="*/ 511 h 1235"/>
                <a:gd name="T96" fmla="*/ 1436 w 5390"/>
                <a:gd name="T97" fmla="*/ 362 h 1235"/>
                <a:gd name="T98" fmla="*/ 1280 w 5390"/>
                <a:gd name="T99" fmla="*/ 280 h 1235"/>
                <a:gd name="T100" fmla="*/ 1309 w 5390"/>
                <a:gd name="T101" fmla="*/ 1215 h 1235"/>
                <a:gd name="T102" fmla="*/ 367 w 5390"/>
                <a:gd name="T103" fmla="*/ 702 h 1235"/>
                <a:gd name="T104" fmla="*/ 436 w 5390"/>
                <a:gd name="T105" fmla="*/ 528 h 1235"/>
                <a:gd name="T106" fmla="*/ 459 w 5390"/>
                <a:gd name="T107" fmla="*/ 632 h 1235"/>
                <a:gd name="T108" fmla="*/ 387 w 5390"/>
                <a:gd name="T109" fmla="*/ 701 h 1235"/>
                <a:gd name="T110" fmla="*/ 403 w 5390"/>
                <a:gd name="T111" fmla="*/ 930 h 1235"/>
                <a:gd name="T112" fmla="*/ 572 w 5390"/>
                <a:gd name="T113" fmla="*/ 869 h 1235"/>
                <a:gd name="T114" fmla="*/ 680 w 5390"/>
                <a:gd name="T115" fmla="*/ 735 h 1235"/>
                <a:gd name="T116" fmla="*/ 703 w 5390"/>
                <a:gd name="T117" fmla="*/ 547 h 1235"/>
                <a:gd name="T118" fmla="*/ 629 w 5390"/>
                <a:gd name="T119" fmla="*/ 386 h 1235"/>
                <a:gd name="T120" fmla="*/ 485 w 5390"/>
                <a:gd name="T121" fmla="*/ 289 h 1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90" h="1235">
                  <a:moveTo>
                    <a:pt x="5015" y="1235"/>
                  </a:moveTo>
                  <a:lnTo>
                    <a:pt x="5036" y="1235"/>
                  </a:lnTo>
                  <a:lnTo>
                    <a:pt x="5056" y="1233"/>
                  </a:lnTo>
                  <a:lnTo>
                    <a:pt x="5074" y="1232"/>
                  </a:lnTo>
                  <a:lnTo>
                    <a:pt x="5095" y="1229"/>
                  </a:lnTo>
                  <a:lnTo>
                    <a:pt x="5113" y="1226"/>
                  </a:lnTo>
                  <a:lnTo>
                    <a:pt x="5131" y="1222"/>
                  </a:lnTo>
                  <a:lnTo>
                    <a:pt x="5149" y="1218"/>
                  </a:lnTo>
                  <a:lnTo>
                    <a:pt x="5165" y="1212"/>
                  </a:lnTo>
                  <a:lnTo>
                    <a:pt x="5182" y="1206"/>
                  </a:lnTo>
                  <a:lnTo>
                    <a:pt x="5198" y="1199"/>
                  </a:lnTo>
                  <a:lnTo>
                    <a:pt x="5214" y="1192"/>
                  </a:lnTo>
                  <a:lnTo>
                    <a:pt x="5230" y="1185"/>
                  </a:lnTo>
                  <a:lnTo>
                    <a:pt x="5244" y="1176"/>
                  </a:lnTo>
                  <a:lnTo>
                    <a:pt x="5259" y="1166"/>
                  </a:lnTo>
                  <a:lnTo>
                    <a:pt x="5272" y="1156"/>
                  </a:lnTo>
                  <a:lnTo>
                    <a:pt x="5285" y="1146"/>
                  </a:lnTo>
                  <a:lnTo>
                    <a:pt x="5296" y="1134"/>
                  </a:lnTo>
                  <a:lnTo>
                    <a:pt x="5308" y="1123"/>
                  </a:lnTo>
                  <a:lnTo>
                    <a:pt x="5319" y="1111"/>
                  </a:lnTo>
                  <a:lnTo>
                    <a:pt x="5329" y="1098"/>
                  </a:lnTo>
                  <a:lnTo>
                    <a:pt x="5338" y="1086"/>
                  </a:lnTo>
                  <a:lnTo>
                    <a:pt x="5347" y="1071"/>
                  </a:lnTo>
                  <a:lnTo>
                    <a:pt x="5355" y="1057"/>
                  </a:lnTo>
                  <a:lnTo>
                    <a:pt x="5362" y="1041"/>
                  </a:lnTo>
                  <a:lnTo>
                    <a:pt x="5368" y="1027"/>
                  </a:lnTo>
                  <a:lnTo>
                    <a:pt x="5374" y="1011"/>
                  </a:lnTo>
                  <a:lnTo>
                    <a:pt x="5380" y="994"/>
                  </a:lnTo>
                  <a:lnTo>
                    <a:pt x="5383" y="976"/>
                  </a:lnTo>
                  <a:lnTo>
                    <a:pt x="5387" y="959"/>
                  </a:lnTo>
                  <a:lnTo>
                    <a:pt x="5388" y="942"/>
                  </a:lnTo>
                  <a:lnTo>
                    <a:pt x="5390" y="923"/>
                  </a:lnTo>
                  <a:lnTo>
                    <a:pt x="5390" y="905"/>
                  </a:lnTo>
                  <a:lnTo>
                    <a:pt x="5390" y="270"/>
                  </a:lnTo>
                  <a:lnTo>
                    <a:pt x="5148" y="270"/>
                  </a:lnTo>
                  <a:lnTo>
                    <a:pt x="5148" y="882"/>
                  </a:lnTo>
                  <a:lnTo>
                    <a:pt x="5148" y="895"/>
                  </a:lnTo>
                  <a:lnTo>
                    <a:pt x="5146" y="906"/>
                  </a:lnTo>
                  <a:lnTo>
                    <a:pt x="5144" y="918"/>
                  </a:lnTo>
                  <a:lnTo>
                    <a:pt x="5141" y="929"/>
                  </a:lnTo>
                  <a:lnTo>
                    <a:pt x="5138" y="939"/>
                  </a:lnTo>
                  <a:lnTo>
                    <a:pt x="5132" y="949"/>
                  </a:lnTo>
                  <a:lnTo>
                    <a:pt x="5126" y="958"/>
                  </a:lnTo>
                  <a:lnTo>
                    <a:pt x="5119" y="966"/>
                  </a:lnTo>
                  <a:lnTo>
                    <a:pt x="5110" y="974"/>
                  </a:lnTo>
                  <a:lnTo>
                    <a:pt x="5100" y="981"/>
                  </a:lnTo>
                  <a:lnTo>
                    <a:pt x="5090" y="986"/>
                  </a:lnTo>
                  <a:lnTo>
                    <a:pt x="5077" y="991"/>
                  </a:lnTo>
                  <a:lnTo>
                    <a:pt x="5064" y="995"/>
                  </a:lnTo>
                  <a:lnTo>
                    <a:pt x="5050" y="998"/>
                  </a:lnTo>
                  <a:lnTo>
                    <a:pt x="5033" y="999"/>
                  </a:lnTo>
                  <a:lnTo>
                    <a:pt x="5015" y="1001"/>
                  </a:lnTo>
                  <a:lnTo>
                    <a:pt x="4998" y="999"/>
                  </a:lnTo>
                  <a:lnTo>
                    <a:pt x="4981" y="998"/>
                  </a:lnTo>
                  <a:lnTo>
                    <a:pt x="4966" y="995"/>
                  </a:lnTo>
                  <a:lnTo>
                    <a:pt x="4954" y="991"/>
                  </a:lnTo>
                  <a:lnTo>
                    <a:pt x="4941" y="986"/>
                  </a:lnTo>
                  <a:lnTo>
                    <a:pt x="4930" y="981"/>
                  </a:lnTo>
                  <a:lnTo>
                    <a:pt x="4920" y="974"/>
                  </a:lnTo>
                  <a:lnTo>
                    <a:pt x="4912" y="966"/>
                  </a:lnTo>
                  <a:lnTo>
                    <a:pt x="4905" y="958"/>
                  </a:lnTo>
                  <a:lnTo>
                    <a:pt x="4899" y="949"/>
                  </a:lnTo>
                  <a:lnTo>
                    <a:pt x="4893" y="939"/>
                  </a:lnTo>
                  <a:lnTo>
                    <a:pt x="4890" y="929"/>
                  </a:lnTo>
                  <a:lnTo>
                    <a:pt x="4886" y="918"/>
                  </a:lnTo>
                  <a:lnTo>
                    <a:pt x="4884" y="906"/>
                  </a:lnTo>
                  <a:lnTo>
                    <a:pt x="4883" y="895"/>
                  </a:lnTo>
                  <a:lnTo>
                    <a:pt x="4883" y="882"/>
                  </a:lnTo>
                  <a:lnTo>
                    <a:pt x="4883" y="270"/>
                  </a:lnTo>
                  <a:lnTo>
                    <a:pt x="4641" y="270"/>
                  </a:lnTo>
                  <a:lnTo>
                    <a:pt x="4641" y="905"/>
                  </a:lnTo>
                  <a:lnTo>
                    <a:pt x="4641" y="923"/>
                  </a:lnTo>
                  <a:lnTo>
                    <a:pt x="4642" y="942"/>
                  </a:lnTo>
                  <a:lnTo>
                    <a:pt x="4644" y="959"/>
                  </a:lnTo>
                  <a:lnTo>
                    <a:pt x="4648" y="976"/>
                  </a:lnTo>
                  <a:lnTo>
                    <a:pt x="4651" y="994"/>
                  </a:lnTo>
                  <a:lnTo>
                    <a:pt x="4657" y="1011"/>
                  </a:lnTo>
                  <a:lnTo>
                    <a:pt x="4661" y="1027"/>
                  </a:lnTo>
                  <a:lnTo>
                    <a:pt x="4668" y="1041"/>
                  </a:lnTo>
                  <a:lnTo>
                    <a:pt x="4676" y="1057"/>
                  </a:lnTo>
                  <a:lnTo>
                    <a:pt x="4683" y="1071"/>
                  </a:lnTo>
                  <a:lnTo>
                    <a:pt x="4691" y="1086"/>
                  </a:lnTo>
                  <a:lnTo>
                    <a:pt x="4702" y="1098"/>
                  </a:lnTo>
                  <a:lnTo>
                    <a:pt x="4712" y="1111"/>
                  </a:lnTo>
                  <a:lnTo>
                    <a:pt x="4723" y="1123"/>
                  </a:lnTo>
                  <a:lnTo>
                    <a:pt x="4735" y="1134"/>
                  </a:lnTo>
                  <a:lnTo>
                    <a:pt x="4746" y="1146"/>
                  </a:lnTo>
                  <a:lnTo>
                    <a:pt x="4759" y="1156"/>
                  </a:lnTo>
                  <a:lnTo>
                    <a:pt x="4772" y="1166"/>
                  </a:lnTo>
                  <a:lnTo>
                    <a:pt x="4786" y="1176"/>
                  </a:lnTo>
                  <a:lnTo>
                    <a:pt x="4801" y="1185"/>
                  </a:lnTo>
                  <a:lnTo>
                    <a:pt x="4817" y="1192"/>
                  </a:lnTo>
                  <a:lnTo>
                    <a:pt x="4831" y="1199"/>
                  </a:lnTo>
                  <a:lnTo>
                    <a:pt x="4848" y="1206"/>
                  </a:lnTo>
                  <a:lnTo>
                    <a:pt x="4864" y="1212"/>
                  </a:lnTo>
                  <a:lnTo>
                    <a:pt x="4882" y="1218"/>
                  </a:lnTo>
                  <a:lnTo>
                    <a:pt x="4900" y="1222"/>
                  </a:lnTo>
                  <a:lnTo>
                    <a:pt x="4918" y="1226"/>
                  </a:lnTo>
                  <a:lnTo>
                    <a:pt x="4936" y="1229"/>
                  </a:lnTo>
                  <a:lnTo>
                    <a:pt x="4956" y="1232"/>
                  </a:lnTo>
                  <a:lnTo>
                    <a:pt x="4975" y="1233"/>
                  </a:lnTo>
                  <a:lnTo>
                    <a:pt x="4995" y="1235"/>
                  </a:lnTo>
                  <a:lnTo>
                    <a:pt x="5015" y="1235"/>
                  </a:lnTo>
                  <a:close/>
                  <a:moveTo>
                    <a:pt x="4030" y="999"/>
                  </a:moveTo>
                  <a:lnTo>
                    <a:pt x="4030" y="999"/>
                  </a:lnTo>
                  <a:lnTo>
                    <a:pt x="4005" y="998"/>
                  </a:lnTo>
                  <a:lnTo>
                    <a:pt x="3979" y="994"/>
                  </a:lnTo>
                  <a:lnTo>
                    <a:pt x="3954" y="988"/>
                  </a:lnTo>
                  <a:lnTo>
                    <a:pt x="3930" y="981"/>
                  </a:lnTo>
                  <a:lnTo>
                    <a:pt x="3908" y="971"/>
                  </a:lnTo>
                  <a:lnTo>
                    <a:pt x="3886" y="958"/>
                  </a:lnTo>
                  <a:lnTo>
                    <a:pt x="3866" y="943"/>
                  </a:lnTo>
                  <a:lnTo>
                    <a:pt x="3849" y="928"/>
                  </a:lnTo>
                  <a:lnTo>
                    <a:pt x="3833" y="910"/>
                  </a:lnTo>
                  <a:lnTo>
                    <a:pt x="3817" y="890"/>
                  </a:lnTo>
                  <a:lnTo>
                    <a:pt x="3806" y="869"/>
                  </a:lnTo>
                  <a:lnTo>
                    <a:pt x="3794" y="846"/>
                  </a:lnTo>
                  <a:lnTo>
                    <a:pt x="3787" y="823"/>
                  </a:lnTo>
                  <a:lnTo>
                    <a:pt x="3780" y="797"/>
                  </a:lnTo>
                  <a:lnTo>
                    <a:pt x="3777" y="771"/>
                  </a:lnTo>
                  <a:lnTo>
                    <a:pt x="3776" y="742"/>
                  </a:lnTo>
                  <a:lnTo>
                    <a:pt x="3777" y="715"/>
                  </a:lnTo>
                  <a:lnTo>
                    <a:pt x="3780" y="688"/>
                  </a:lnTo>
                  <a:lnTo>
                    <a:pt x="3787" y="663"/>
                  </a:lnTo>
                  <a:lnTo>
                    <a:pt x="3794" y="639"/>
                  </a:lnTo>
                  <a:lnTo>
                    <a:pt x="3806" y="616"/>
                  </a:lnTo>
                  <a:lnTo>
                    <a:pt x="3817" y="594"/>
                  </a:lnTo>
                  <a:lnTo>
                    <a:pt x="3833" y="576"/>
                  </a:lnTo>
                  <a:lnTo>
                    <a:pt x="3849" y="557"/>
                  </a:lnTo>
                  <a:lnTo>
                    <a:pt x="3866" y="541"/>
                  </a:lnTo>
                  <a:lnTo>
                    <a:pt x="3886" y="527"/>
                  </a:lnTo>
                  <a:lnTo>
                    <a:pt x="3908" y="515"/>
                  </a:lnTo>
                  <a:lnTo>
                    <a:pt x="3930" y="505"/>
                  </a:lnTo>
                  <a:lnTo>
                    <a:pt x="3954" y="497"/>
                  </a:lnTo>
                  <a:lnTo>
                    <a:pt x="3979" y="491"/>
                  </a:lnTo>
                  <a:lnTo>
                    <a:pt x="4005" y="487"/>
                  </a:lnTo>
                  <a:lnTo>
                    <a:pt x="4030" y="487"/>
                  </a:lnTo>
                  <a:lnTo>
                    <a:pt x="4058" y="487"/>
                  </a:lnTo>
                  <a:lnTo>
                    <a:pt x="4084" y="491"/>
                  </a:lnTo>
                  <a:lnTo>
                    <a:pt x="4108" y="497"/>
                  </a:lnTo>
                  <a:lnTo>
                    <a:pt x="4133" y="505"/>
                  </a:lnTo>
                  <a:lnTo>
                    <a:pt x="4154" y="515"/>
                  </a:lnTo>
                  <a:lnTo>
                    <a:pt x="4176" y="527"/>
                  </a:lnTo>
                  <a:lnTo>
                    <a:pt x="4196" y="541"/>
                  </a:lnTo>
                  <a:lnTo>
                    <a:pt x="4213" y="557"/>
                  </a:lnTo>
                  <a:lnTo>
                    <a:pt x="4229" y="576"/>
                  </a:lnTo>
                  <a:lnTo>
                    <a:pt x="4244" y="594"/>
                  </a:lnTo>
                  <a:lnTo>
                    <a:pt x="4257" y="616"/>
                  </a:lnTo>
                  <a:lnTo>
                    <a:pt x="4268" y="639"/>
                  </a:lnTo>
                  <a:lnTo>
                    <a:pt x="4275" y="663"/>
                  </a:lnTo>
                  <a:lnTo>
                    <a:pt x="4282" y="688"/>
                  </a:lnTo>
                  <a:lnTo>
                    <a:pt x="4285" y="715"/>
                  </a:lnTo>
                  <a:lnTo>
                    <a:pt x="4287" y="742"/>
                  </a:lnTo>
                  <a:lnTo>
                    <a:pt x="4285" y="771"/>
                  </a:lnTo>
                  <a:lnTo>
                    <a:pt x="4282" y="797"/>
                  </a:lnTo>
                  <a:lnTo>
                    <a:pt x="4275" y="823"/>
                  </a:lnTo>
                  <a:lnTo>
                    <a:pt x="4268" y="846"/>
                  </a:lnTo>
                  <a:lnTo>
                    <a:pt x="4257" y="869"/>
                  </a:lnTo>
                  <a:lnTo>
                    <a:pt x="4244" y="890"/>
                  </a:lnTo>
                  <a:lnTo>
                    <a:pt x="4229" y="910"/>
                  </a:lnTo>
                  <a:lnTo>
                    <a:pt x="4213" y="928"/>
                  </a:lnTo>
                  <a:lnTo>
                    <a:pt x="4196" y="943"/>
                  </a:lnTo>
                  <a:lnTo>
                    <a:pt x="4176" y="958"/>
                  </a:lnTo>
                  <a:lnTo>
                    <a:pt x="4154" y="971"/>
                  </a:lnTo>
                  <a:lnTo>
                    <a:pt x="4133" y="981"/>
                  </a:lnTo>
                  <a:lnTo>
                    <a:pt x="4108" y="988"/>
                  </a:lnTo>
                  <a:lnTo>
                    <a:pt x="4084" y="994"/>
                  </a:lnTo>
                  <a:lnTo>
                    <a:pt x="4058" y="998"/>
                  </a:lnTo>
                  <a:lnTo>
                    <a:pt x="4030" y="999"/>
                  </a:lnTo>
                  <a:close/>
                  <a:moveTo>
                    <a:pt x="4030" y="1235"/>
                  </a:moveTo>
                  <a:lnTo>
                    <a:pt x="4030" y="1235"/>
                  </a:lnTo>
                  <a:lnTo>
                    <a:pt x="4056" y="1235"/>
                  </a:lnTo>
                  <a:lnTo>
                    <a:pt x="4082" y="1233"/>
                  </a:lnTo>
                  <a:lnTo>
                    <a:pt x="4107" y="1229"/>
                  </a:lnTo>
                  <a:lnTo>
                    <a:pt x="4131" y="1226"/>
                  </a:lnTo>
                  <a:lnTo>
                    <a:pt x="4156" y="1221"/>
                  </a:lnTo>
                  <a:lnTo>
                    <a:pt x="4180" y="1213"/>
                  </a:lnTo>
                  <a:lnTo>
                    <a:pt x="4203" y="1206"/>
                  </a:lnTo>
                  <a:lnTo>
                    <a:pt x="4225" y="1198"/>
                  </a:lnTo>
                  <a:lnTo>
                    <a:pt x="4248" y="1187"/>
                  </a:lnTo>
                  <a:lnTo>
                    <a:pt x="4268" y="1177"/>
                  </a:lnTo>
                  <a:lnTo>
                    <a:pt x="4290" y="1166"/>
                  </a:lnTo>
                  <a:lnTo>
                    <a:pt x="4310" y="1153"/>
                  </a:lnTo>
                  <a:lnTo>
                    <a:pt x="4329" y="1139"/>
                  </a:lnTo>
                  <a:lnTo>
                    <a:pt x="4347" y="1124"/>
                  </a:lnTo>
                  <a:lnTo>
                    <a:pt x="4366" y="1110"/>
                  </a:lnTo>
                  <a:lnTo>
                    <a:pt x="4383" y="1093"/>
                  </a:lnTo>
                  <a:lnTo>
                    <a:pt x="4399" y="1077"/>
                  </a:lnTo>
                  <a:lnTo>
                    <a:pt x="4415" y="1058"/>
                  </a:lnTo>
                  <a:lnTo>
                    <a:pt x="4429" y="1040"/>
                  </a:lnTo>
                  <a:lnTo>
                    <a:pt x="4444" y="1021"/>
                  </a:lnTo>
                  <a:lnTo>
                    <a:pt x="4457" y="1001"/>
                  </a:lnTo>
                  <a:lnTo>
                    <a:pt x="4468" y="981"/>
                  </a:lnTo>
                  <a:lnTo>
                    <a:pt x="4480" y="959"/>
                  </a:lnTo>
                  <a:lnTo>
                    <a:pt x="4490" y="936"/>
                  </a:lnTo>
                  <a:lnTo>
                    <a:pt x="4498" y="915"/>
                  </a:lnTo>
                  <a:lnTo>
                    <a:pt x="4506" y="892"/>
                  </a:lnTo>
                  <a:lnTo>
                    <a:pt x="4513" y="867"/>
                  </a:lnTo>
                  <a:lnTo>
                    <a:pt x="4519" y="844"/>
                  </a:lnTo>
                  <a:lnTo>
                    <a:pt x="4523" y="818"/>
                  </a:lnTo>
                  <a:lnTo>
                    <a:pt x="4526" y="794"/>
                  </a:lnTo>
                  <a:lnTo>
                    <a:pt x="4527" y="768"/>
                  </a:lnTo>
                  <a:lnTo>
                    <a:pt x="4527" y="742"/>
                  </a:lnTo>
                  <a:lnTo>
                    <a:pt x="4527" y="716"/>
                  </a:lnTo>
                  <a:lnTo>
                    <a:pt x="4526" y="691"/>
                  </a:lnTo>
                  <a:lnTo>
                    <a:pt x="4523" y="666"/>
                  </a:lnTo>
                  <a:lnTo>
                    <a:pt x="4519" y="642"/>
                  </a:lnTo>
                  <a:lnTo>
                    <a:pt x="4513" y="617"/>
                  </a:lnTo>
                  <a:lnTo>
                    <a:pt x="4506" y="594"/>
                  </a:lnTo>
                  <a:lnTo>
                    <a:pt x="4498" y="571"/>
                  </a:lnTo>
                  <a:lnTo>
                    <a:pt x="4490" y="548"/>
                  </a:lnTo>
                  <a:lnTo>
                    <a:pt x="4480" y="527"/>
                  </a:lnTo>
                  <a:lnTo>
                    <a:pt x="4468" y="505"/>
                  </a:lnTo>
                  <a:lnTo>
                    <a:pt x="4457" y="484"/>
                  </a:lnTo>
                  <a:lnTo>
                    <a:pt x="4444" y="464"/>
                  </a:lnTo>
                  <a:lnTo>
                    <a:pt x="4429" y="445"/>
                  </a:lnTo>
                  <a:lnTo>
                    <a:pt x="4415" y="426"/>
                  </a:lnTo>
                  <a:lnTo>
                    <a:pt x="4399" y="409"/>
                  </a:lnTo>
                  <a:lnTo>
                    <a:pt x="4383" y="392"/>
                  </a:lnTo>
                  <a:lnTo>
                    <a:pt x="4366" y="376"/>
                  </a:lnTo>
                  <a:lnTo>
                    <a:pt x="4347" y="360"/>
                  </a:lnTo>
                  <a:lnTo>
                    <a:pt x="4329" y="346"/>
                  </a:lnTo>
                  <a:lnTo>
                    <a:pt x="4310" y="333"/>
                  </a:lnTo>
                  <a:lnTo>
                    <a:pt x="4290" y="320"/>
                  </a:lnTo>
                  <a:lnTo>
                    <a:pt x="4268" y="309"/>
                  </a:lnTo>
                  <a:lnTo>
                    <a:pt x="4248" y="297"/>
                  </a:lnTo>
                  <a:lnTo>
                    <a:pt x="4225" y="287"/>
                  </a:lnTo>
                  <a:lnTo>
                    <a:pt x="4203" y="279"/>
                  </a:lnTo>
                  <a:lnTo>
                    <a:pt x="4180" y="271"/>
                  </a:lnTo>
                  <a:lnTo>
                    <a:pt x="4156" y="266"/>
                  </a:lnTo>
                  <a:lnTo>
                    <a:pt x="4131" y="260"/>
                  </a:lnTo>
                  <a:lnTo>
                    <a:pt x="4107" y="256"/>
                  </a:lnTo>
                  <a:lnTo>
                    <a:pt x="4082" y="253"/>
                  </a:lnTo>
                  <a:lnTo>
                    <a:pt x="4056" y="250"/>
                  </a:lnTo>
                  <a:lnTo>
                    <a:pt x="4030" y="250"/>
                  </a:lnTo>
                  <a:lnTo>
                    <a:pt x="4006" y="250"/>
                  </a:lnTo>
                  <a:lnTo>
                    <a:pt x="3980" y="253"/>
                  </a:lnTo>
                  <a:lnTo>
                    <a:pt x="3956" y="256"/>
                  </a:lnTo>
                  <a:lnTo>
                    <a:pt x="3931" y="260"/>
                  </a:lnTo>
                  <a:lnTo>
                    <a:pt x="3907" y="266"/>
                  </a:lnTo>
                  <a:lnTo>
                    <a:pt x="3882" y="271"/>
                  </a:lnTo>
                  <a:lnTo>
                    <a:pt x="3859" y="279"/>
                  </a:lnTo>
                  <a:lnTo>
                    <a:pt x="3838" y="287"/>
                  </a:lnTo>
                  <a:lnTo>
                    <a:pt x="3814" y="297"/>
                  </a:lnTo>
                  <a:lnTo>
                    <a:pt x="3793" y="309"/>
                  </a:lnTo>
                  <a:lnTo>
                    <a:pt x="3773" y="320"/>
                  </a:lnTo>
                  <a:lnTo>
                    <a:pt x="3753" y="333"/>
                  </a:lnTo>
                  <a:lnTo>
                    <a:pt x="3732" y="346"/>
                  </a:lnTo>
                  <a:lnTo>
                    <a:pt x="3714" y="360"/>
                  </a:lnTo>
                  <a:lnTo>
                    <a:pt x="3696" y="376"/>
                  </a:lnTo>
                  <a:lnTo>
                    <a:pt x="3679" y="392"/>
                  </a:lnTo>
                  <a:lnTo>
                    <a:pt x="3663" y="409"/>
                  </a:lnTo>
                  <a:lnTo>
                    <a:pt x="3647" y="426"/>
                  </a:lnTo>
                  <a:lnTo>
                    <a:pt x="3633" y="445"/>
                  </a:lnTo>
                  <a:lnTo>
                    <a:pt x="3619" y="464"/>
                  </a:lnTo>
                  <a:lnTo>
                    <a:pt x="3606" y="484"/>
                  </a:lnTo>
                  <a:lnTo>
                    <a:pt x="3594" y="505"/>
                  </a:lnTo>
                  <a:lnTo>
                    <a:pt x="3583" y="527"/>
                  </a:lnTo>
                  <a:lnTo>
                    <a:pt x="3573" y="548"/>
                  </a:lnTo>
                  <a:lnTo>
                    <a:pt x="3564" y="571"/>
                  </a:lnTo>
                  <a:lnTo>
                    <a:pt x="3557" y="594"/>
                  </a:lnTo>
                  <a:lnTo>
                    <a:pt x="3550" y="617"/>
                  </a:lnTo>
                  <a:lnTo>
                    <a:pt x="3544" y="642"/>
                  </a:lnTo>
                  <a:lnTo>
                    <a:pt x="3539" y="666"/>
                  </a:lnTo>
                  <a:lnTo>
                    <a:pt x="3537" y="691"/>
                  </a:lnTo>
                  <a:lnTo>
                    <a:pt x="3535" y="716"/>
                  </a:lnTo>
                  <a:lnTo>
                    <a:pt x="3534" y="742"/>
                  </a:lnTo>
                  <a:lnTo>
                    <a:pt x="3535" y="768"/>
                  </a:lnTo>
                  <a:lnTo>
                    <a:pt x="3537" y="794"/>
                  </a:lnTo>
                  <a:lnTo>
                    <a:pt x="3539" y="818"/>
                  </a:lnTo>
                  <a:lnTo>
                    <a:pt x="3544" y="844"/>
                  </a:lnTo>
                  <a:lnTo>
                    <a:pt x="3550" y="867"/>
                  </a:lnTo>
                  <a:lnTo>
                    <a:pt x="3557" y="892"/>
                  </a:lnTo>
                  <a:lnTo>
                    <a:pt x="3564" y="915"/>
                  </a:lnTo>
                  <a:lnTo>
                    <a:pt x="3573" y="936"/>
                  </a:lnTo>
                  <a:lnTo>
                    <a:pt x="3583" y="959"/>
                  </a:lnTo>
                  <a:lnTo>
                    <a:pt x="3594" y="981"/>
                  </a:lnTo>
                  <a:lnTo>
                    <a:pt x="3606" y="1001"/>
                  </a:lnTo>
                  <a:lnTo>
                    <a:pt x="3619" y="1021"/>
                  </a:lnTo>
                  <a:lnTo>
                    <a:pt x="3633" y="1040"/>
                  </a:lnTo>
                  <a:lnTo>
                    <a:pt x="3647" y="1058"/>
                  </a:lnTo>
                  <a:lnTo>
                    <a:pt x="3663" y="1077"/>
                  </a:lnTo>
                  <a:lnTo>
                    <a:pt x="3679" y="1093"/>
                  </a:lnTo>
                  <a:lnTo>
                    <a:pt x="3696" y="1110"/>
                  </a:lnTo>
                  <a:lnTo>
                    <a:pt x="3714" y="1124"/>
                  </a:lnTo>
                  <a:lnTo>
                    <a:pt x="3732" y="1139"/>
                  </a:lnTo>
                  <a:lnTo>
                    <a:pt x="3753" y="1153"/>
                  </a:lnTo>
                  <a:lnTo>
                    <a:pt x="3773" y="1166"/>
                  </a:lnTo>
                  <a:lnTo>
                    <a:pt x="3793" y="1177"/>
                  </a:lnTo>
                  <a:lnTo>
                    <a:pt x="3814" y="1187"/>
                  </a:lnTo>
                  <a:lnTo>
                    <a:pt x="3838" y="1198"/>
                  </a:lnTo>
                  <a:lnTo>
                    <a:pt x="3859" y="1206"/>
                  </a:lnTo>
                  <a:lnTo>
                    <a:pt x="3882" y="1213"/>
                  </a:lnTo>
                  <a:lnTo>
                    <a:pt x="3907" y="1221"/>
                  </a:lnTo>
                  <a:lnTo>
                    <a:pt x="3931" y="1226"/>
                  </a:lnTo>
                  <a:lnTo>
                    <a:pt x="3956" y="1229"/>
                  </a:lnTo>
                  <a:lnTo>
                    <a:pt x="3980" y="1233"/>
                  </a:lnTo>
                  <a:lnTo>
                    <a:pt x="4006" y="1235"/>
                  </a:lnTo>
                  <a:lnTo>
                    <a:pt x="4030" y="1235"/>
                  </a:lnTo>
                  <a:close/>
                  <a:moveTo>
                    <a:pt x="3135" y="999"/>
                  </a:moveTo>
                  <a:lnTo>
                    <a:pt x="3135" y="999"/>
                  </a:lnTo>
                  <a:lnTo>
                    <a:pt x="2985" y="999"/>
                  </a:lnTo>
                  <a:lnTo>
                    <a:pt x="2985" y="840"/>
                  </a:lnTo>
                  <a:lnTo>
                    <a:pt x="3135" y="840"/>
                  </a:lnTo>
                  <a:lnTo>
                    <a:pt x="3143" y="840"/>
                  </a:lnTo>
                  <a:lnTo>
                    <a:pt x="3152" y="841"/>
                  </a:lnTo>
                  <a:lnTo>
                    <a:pt x="3161" y="843"/>
                  </a:lnTo>
                  <a:lnTo>
                    <a:pt x="3168" y="846"/>
                  </a:lnTo>
                  <a:lnTo>
                    <a:pt x="3175" y="849"/>
                  </a:lnTo>
                  <a:lnTo>
                    <a:pt x="3182" y="851"/>
                  </a:lnTo>
                  <a:lnTo>
                    <a:pt x="3188" y="856"/>
                  </a:lnTo>
                  <a:lnTo>
                    <a:pt x="3194" y="862"/>
                  </a:lnTo>
                  <a:lnTo>
                    <a:pt x="3200" y="867"/>
                  </a:lnTo>
                  <a:lnTo>
                    <a:pt x="3204" y="873"/>
                  </a:lnTo>
                  <a:lnTo>
                    <a:pt x="3208" y="879"/>
                  </a:lnTo>
                  <a:lnTo>
                    <a:pt x="3211" y="886"/>
                  </a:lnTo>
                  <a:lnTo>
                    <a:pt x="3214" y="895"/>
                  </a:lnTo>
                  <a:lnTo>
                    <a:pt x="3215" y="902"/>
                  </a:lnTo>
                  <a:lnTo>
                    <a:pt x="3217" y="910"/>
                  </a:lnTo>
                  <a:lnTo>
                    <a:pt x="3217" y="919"/>
                  </a:lnTo>
                  <a:lnTo>
                    <a:pt x="3217" y="928"/>
                  </a:lnTo>
                  <a:lnTo>
                    <a:pt x="3215" y="936"/>
                  </a:lnTo>
                  <a:lnTo>
                    <a:pt x="3214" y="943"/>
                  </a:lnTo>
                  <a:lnTo>
                    <a:pt x="3211" y="951"/>
                  </a:lnTo>
                  <a:lnTo>
                    <a:pt x="3208" y="958"/>
                  </a:lnTo>
                  <a:lnTo>
                    <a:pt x="3204" y="965"/>
                  </a:lnTo>
                  <a:lnTo>
                    <a:pt x="3200" y="971"/>
                  </a:lnTo>
                  <a:lnTo>
                    <a:pt x="3194" y="976"/>
                  </a:lnTo>
                  <a:lnTo>
                    <a:pt x="3188" y="982"/>
                  </a:lnTo>
                  <a:lnTo>
                    <a:pt x="3182" y="986"/>
                  </a:lnTo>
                  <a:lnTo>
                    <a:pt x="3175" y="989"/>
                  </a:lnTo>
                  <a:lnTo>
                    <a:pt x="3168" y="994"/>
                  </a:lnTo>
                  <a:lnTo>
                    <a:pt x="3161" y="995"/>
                  </a:lnTo>
                  <a:lnTo>
                    <a:pt x="3152" y="998"/>
                  </a:lnTo>
                  <a:lnTo>
                    <a:pt x="3143" y="999"/>
                  </a:lnTo>
                  <a:lnTo>
                    <a:pt x="3135" y="999"/>
                  </a:lnTo>
                  <a:close/>
                  <a:moveTo>
                    <a:pt x="3109" y="487"/>
                  </a:moveTo>
                  <a:lnTo>
                    <a:pt x="3109" y="487"/>
                  </a:lnTo>
                  <a:lnTo>
                    <a:pt x="3125" y="487"/>
                  </a:lnTo>
                  <a:lnTo>
                    <a:pt x="3139" y="491"/>
                  </a:lnTo>
                  <a:lnTo>
                    <a:pt x="3152" y="497"/>
                  </a:lnTo>
                  <a:lnTo>
                    <a:pt x="3164" y="505"/>
                  </a:lnTo>
                  <a:lnTo>
                    <a:pt x="3169" y="511"/>
                  </a:lnTo>
                  <a:lnTo>
                    <a:pt x="3174" y="517"/>
                  </a:lnTo>
                  <a:lnTo>
                    <a:pt x="3177" y="523"/>
                  </a:lnTo>
                  <a:lnTo>
                    <a:pt x="3181" y="530"/>
                  </a:lnTo>
                  <a:lnTo>
                    <a:pt x="3182" y="537"/>
                  </a:lnTo>
                  <a:lnTo>
                    <a:pt x="3185" y="544"/>
                  </a:lnTo>
                  <a:lnTo>
                    <a:pt x="3187" y="551"/>
                  </a:lnTo>
                  <a:lnTo>
                    <a:pt x="3187" y="560"/>
                  </a:lnTo>
                  <a:lnTo>
                    <a:pt x="3187" y="569"/>
                  </a:lnTo>
                  <a:lnTo>
                    <a:pt x="3185" y="577"/>
                  </a:lnTo>
                  <a:lnTo>
                    <a:pt x="3182" y="586"/>
                  </a:lnTo>
                  <a:lnTo>
                    <a:pt x="3181" y="593"/>
                  </a:lnTo>
                  <a:lnTo>
                    <a:pt x="3177" y="599"/>
                  </a:lnTo>
                  <a:lnTo>
                    <a:pt x="3174" y="604"/>
                  </a:lnTo>
                  <a:lnTo>
                    <a:pt x="3168" y="610"/>
                  </a:lnTo>
                  <a:lnTo>
                    <a:pt x="3164" y="616"/>
                  </a:lnTo>
                  <a:lnTo>
                    <a:pt x="3152" y="625"/>
                  </a:lnTo>
                  <a:lnTo>
                    <a:pt x="3139" y="630"/>
                  </a:lnTo>
                  <a:lnTo>
                    <a:pt x="3125" y="633"/>
                  </a:lnTo>
                  <a:lnTo>
                    <a:pt x="3109" y="635"/>
                  </a:lnTo>
                  <a:lnTo>
                    <a:pt x="2985" y="635"/>
                  </a:lnTo>
                  <a:lnTo>
                    <a:pt x="2985" y="487"/>
                  </a:lnTo>
                  <a:lnTo>
                    <a:pt x="3109" y="487"/>
                  </a:lnTo>
                  <a:close/>
                  <a:moveTo>
                    <a:pt x="3341" y="727"/>
                  </a:moveTo>
                  <a:lnTo>
                    <a:pt x="3341" y="727"/>
                  </a:lnTo>
                  <a:lnTo>
                    <a:pt x="3351" y="718"/>
                  </a:lnTo>
                  <a:lnTo>
                    <a:pt x="3361" y="709"/>
                  </a:lnTo>
                  <a:lnTo>
                    <a:pt x="3370" y="699"/>
                  </a:lnTo>
                  <a:lnTo>
                    <a:pt x="3378" y="691"/>
                  </a:lnTo>
                  <a:lnTo>
                    <a:pt x="3385" y="681"/>
                  </a:lnTo>
                  <a:lnTo>
                    <a:pt x="3393" y="669"/>
                  </a:lnTo>
                  <a:lnTo>
                    <a:pt x="3400" y="658"/>
                  </a:lnTo>
                  <a:lnTo>
                    <a:pt x="3406" y="646"/>
                  </a:lnTo>
                  <a:lnTo>
                    <a:pt x="3411" y="635"/>
                  </a:lnTo>
                  <a:lnTo>
                    <a:pt x="3416" y="622"/>
                  </a:lnTo>
                  <a:lnTo>
                    <a:pt x="3420" y="609"/>
                  </a:lnTo>
                  <a:lnTo>
                    <a:pt x="3423" y="596"/>
                  </a:lnTo>
                  <a:lnTo>
                    <a:pt x="3426" y="583"/>
                  </a:lnTo>
                  <a:lnTo>
                    <a:pt x="3427" y="569"/>
                  </a:lnTo>
                  <a:lnTo>
                    <a:pt x="3429" y="554"/>
                  </a:lnTo>
                  <a:lnTo>
                    <a:pt x="3429" y="538"/>
                  </a:lnTo>
                  <a:lnTo>
                    <a:pt x="3429" y="523"/>
                  </a:lnTo>
                  <a:lnTo>
                    <a:pt x="3427" y="508"/>
                  </a:lnTo>
                  <a:lnTo>
                    <a:pt x="3426" y="494"/>
                  </a:lnTo>
                  <a:lnTo>
                    <a:pt x="3423" y="480"/>
                  </a:lnTo>
                  <a:lnTo>
                    <a:pt x="3420" y="465"/>
                  </a:lnTo>
                  <a:lnTo>
                    <a:pt x="3416" y="452"/>
                  </a:lnTo>
                  <a:lnTo>
                    <a:pt x="3411" y="439"/>
                  </a:lnTo>
                  <a:lnTo>
                    <a:pt x="3407" y="426"/>
                  </a:lnTo>
                  <a:lnTo>
                    <a:pt x="3401" y="413"/>
                  </a:lnTo>
                  <a:lnTo>
                    <a:pt x="3394" y="402"/>
                  </a:lnTo>
                  <a:lnTo>
                    <a:pt x="3387" y="391"/>
                  </a:lnTo>
                  <a:lnTo>
                    <a:pt x="3380" y="380"/>
                  </a:lnTo>
                  <a:lnTo>
                    <a:pt x="3371" y="370"/>
                  </a:lnTo>
                  <a:lnTo>
                    <a:pt x="3362" y="360"/>
                  </a:lnTo>
                  <a:lnTo>
                    <a:pt x="3352" y="350"/>
                  </a:lnTo>
                  <a:lnTo>
                    <a:pt x="3344" y="342"/>
                  </a:lnTo>
                  <a:lnTo>
                    <a:pt x="3322" y="326"/>
                  </a:lnTo>
                  <a:lnTo>
                    <a:pt x="3298" y="312"/>
                  </a:lnTo>
                  <a:lnTo>
                    <a:pt x="3272" y="299"/>
                  </a:lnTo>
                  <a:lnTo>
                    <a:pt x="3244" y="289"/>
                  </a:lnTo>
                  <a:lnTo>
                    <a:pt x="3215" y="280"/>
                  </a:lnTo>
                  <a:lnTo>
                    <a:pt x="3184" y="274"/>
                  </a:lnTo>
                  <a:lnTo>
                    <a:pt x="3151" y="271"/>
                  </a:lnTo>
                  <a:lnTo>
                    <a:pt x="3116" y="270"/>
                  </a:lnTo>
                  <a:lnTo>
                    <a:pt x="2742" y="270"/>
                  </a:lnTo>
                  <a:lnTo>
                    <a:pt x="2742" y="1215"/>
                  </a:lnTo>
                  <a:lnTo>
                    <a:pt x="3142" y="1215"/>
                  </a:lnTo>
                  <a:lnTo>
                    <a:pt x="3177" y="1213"/>
                  </a:lnTo>
                  <a:lnTo>
                    <a:pt x="3211" y="1210"/>
                  </a:lnTo>
                  <a:lnTo>
                    <a:pt x="3243" y="1203"/>
                  </a:lnTo>
                  <a:lnTo>
                    <a:pt x="3273" y="1195"/>
                  </a:lnTo>
                  <a:lnTo>
                    <a:pt x="3300" y="1185"/>
                  </a:lnTo>
                  <a:lnTo>
                    <a:pt x="3326" y="1172"/>
                  </a:lnTo>
                  <a:lnTo>
                    <a:pt x="3339" y="1165"/>
                  </a:lnTo>
                  <a:lnTo>
                    <a:pt x="3351" y="1156"/>
                  </a:lnTo>
                  <a:lnTo>
                    <a:pt x="3362" y="1149"/>
                  </a:lnTo>
                  <a:lnTo>
                    <a:pt x="3372" y="1140"/>
                  </a:lnTo>
                  <a:lnTo>
                    <a:pt x="3382" y="1130"/>
                  </a:lnTo>
                  <a:lnTo>
                    <a:pt x="3393" y="1120"/>
                  </a:lnTo>
                  <a:lnTo>
                    <a:pt x="3401" y="1110"/>
                  </a:lnTo>
                  <a:lnTo>
                    <a:pt x="3410" y="1100"/>
                  </a:lnTo>
                  <a:lnTo>
                    <a:pt x="3417" y="1088"/>
                  </a:lnTo>
                  <a:lnTo>
                    <a:pt x="3424" y="1077"/>
                  </a:lnTo>
                  <a:lnTo>
                    <a:pt x="3431" y="1064"/>
                  </a:lnTo>
                  <a:lnTo>
                    <a:pt x="3437" y="1053"/>
                  </a:lnTo>
                  <a:lnTo>
                    <a:pt x="3443" y="1040"/>
                  </a:lnTo>
                  <a:lnTo>
                    <a:pt x="3447" y="1027"/>
                  </a:lnTo>
                  <a:lnTo>
                    <a:pt x="3450" y="1012"/>
                  </a:lnTo>
                  <a:lnTo>
                    <a:pt x="3454" y="998"/>
                  </a:lnTo>
                  <a:lnTo>
                    <a:pt x="3456" y="984"/>
                  </a:lnTo>
                  <a:lnTo>
                    <a:pt x="3459" y="969"/>
                  </a:lnTo>
                  <a:lnTo>
                    <a:pt x="3459" y="953"/>
                  </a:lnTo>
                  <a:lnTo>
                    <a:pt x="3460" y="938"/>
                  </a:lnTo>
                  <a:lnTo>
                    <a:pt x="3459" y="920"/>
                  </a:lnTo>
                  <a:lnTo>
                    <a:pt x="3457" y="903"/>
                  </a:lnTo>
                  <a:lnTo>
                    <a:pt x="3454" y="887"/>
                  </a:lnTo>
                  <a:lnTo>
                    <a:pt x="3452" y="870"/>
                  </a:lnTo>
                  <a:lnTo>
                    <a:pt x="3447" y="856"/>
                  </a:lnTo>
                  <a:lnTo>
                    <a:pt x="3442" y="840"/>
                  </a:lnTo>
                  <a:lnTo>
                    <a:pt x="3434" y="826"/>
                  </a:lnTo>
                  <a:lnTo>
                    <a:pt x="3427" y="813"/>
                  </a:lnTo>
                  <a:lnTo>
                    <a:pt x="3420" y="800"/>
                  </a:lnTo>
                  <a:lnTo>
                    <a:pt x="3410" y="787"/>
                  </a:lnTo>
                  <a:lnTo>
                    <a:pt x="3401" y="775"/>
                  </a:lnTo>
                  <a:lnTo>
                    <a:pt x="3390" y="764"/>
                  </a:lnTo>
                  <a:lnTo>
                    <a:pt x="3378" y="754"/>
                  </a:lnTo>
                  <a:lnTo>
                    <a:pt x="3367" y="744"/>
                  </a:lnTo>
                  <a:lnTo>
                    <a:pt x="3354" y="735"/>
                  </a:lnTo>
                  <a:lnTo>
                    <a:pt x="3341" y="727"/>
                  </a:lnTo>
                  <a:close/>
                  <a:moveTo>
                    <a:pt x="2314" y="982"/>
                  </a:moveTo>
                  <a:lnTo>
                    <a:pt x="2314" y="982"/>
                  </a:lnTo>
                  <a:lnTo>
                    <a:pt x="2314" y="270"/>
                  </a:lnTo>
                  <a:lnTo>
                    <a:pt x="2072" y="270"/>
                  </a:lnTo>
                  <a:lnTo>
                    <a:pt x="2072" y="1215"/>
                  </a:lnTo>
                  <a:lnTo>
                    <a:pt x="2641" y="1215"/>
                  </a:lnTo>
                  <a:lnTo>
                    <a:pt x="2641" y="982"/>
                  </a:lnTo>
                  <a:lnTo>
                    <a:pt x="2314" y="982"/>
                  </a:lnTo>
                  <a:close/>
                  <a:moveTo>
                    <a:pt x="1667" y="1215"/>
                  </a:moveTo>
                  <a:lnTo>
                    <a:pt x="1667" y="1215"/>
                  </a:lnTo>
                  <a:lnTo>
                    <a:pt x="1909" y="1215"/>
                  </a:lnTo>
                  <a:lnTo>
                    <a:pt x="1909" y="270"/>
                  </a:lnTo>
                  <a:lnTo>
                    <a:pt x="1667" y="270"/>
                  </a:lnTo>
                  <a:lnTo>
                    <a:pt x="1667" y="1215"/>
                  </a:lnTo>
                  <a:close/>
                  <a:moveTo>
                    <a:pt x="1057" y="492"/>
                  </a:moveTo>
                  <a:lnTo>
                    <a:pt x="1057" y="492"/>
                  </a:lnTo>
                  <a:lnTo>
                    <a:pt x="1191" y="492"/>
                  </a:lnTo>
                  <a:lnTo>
                    <a:pt x="1202" y="494"/>
                  </a:lnTo>
                  <a:lnTo>
                    <a:pt x="1212" y="495"/>
                  </a:lnTo>
                  <a:lnTo>
                    <a:pt x="1222" y="497"/>
                  </a:lnTo>
                  <a:lnTo>
                    <a:pt x="1233" y="501"/>
                  </a:lnTo>
                  <a:lnTo>
                    <a:pt x="1241" y="505"/>
                  </a:lnTo>
                  <a:lnTo>
                    <a:pt x="1250" y="510"/>
                  </a:lnTo>
                  <a:lnTo>
                    <a:pt x="1257" y="515"/>
                  </a:lnTo>
                  <a:lnTo>
                    <a:pt x="1264" y="523"/>
                  </a:lnTo>
                  <a:lnTo>
                    <a:pt x="1270" y="530"/>
                  </a:lnTo>
                  <a:lnTo>
                    <a:pt x="1276" y="538"/>
                  </a:lnTo>
                  <a:lnTo>
                    <a:pt x="1282" y="547"/>
                  </a:lnTo>
                  <a:lnTo>
                    <a:pt x="1284" y="557"/>
                  </a:lnTo>
                  <a:lnTo>
                    <a:pt x="1289" y="567"/>
                  </a:lnTo>
                  <a:lnTo>
                    <a:pt x="1290" y="577"/>
                  </a:lnTo>
                  <a:lnTo>
                    <a:pt x="1292" y="589"/>
                  </a:lnTo>
                  <a:lnTo>
                    <a:pt x="1293" y="599"/>
                  </a:lnTo>
                  <a:lnTo>
                    <a:pt x="1292" y="612"/>
                  </a:lnTo>
                  <a:lnTo>
                    <a:pt x="1290" y="622"/>
                  </a:lnTo>
                  <a:lnTo>
                    <a:pt x="1289" y="633"/>
                  </a:lnTo>
                  <a:lnTo>
                    <a:pt x="1284" y="643"/>
                  </a:lnTo>
                  <a:lnTo>
                    <a:pt x="1282" y="652"/>
                  </a:lnTo>
                  <a:lnTo>
                    <a:pt x="1276" y="660"/>
                  </a:lnTo>
                  <a:lnTo>
                    <a:pt x="1270" y="669"/>
                  </a:lnTo>
                  <a:lnTo>
                    <a:pt x="1264" y="676"/>
                  </a:lnTo>
                  <a:lnTo>
                    <a:pt x="1257" y="683"/>
                  </a:lnTo>
                  <a:lnTo>
                    <a:pt x="1250" y="689"/>
                  </a:lnTo>
                  <a:lnTo>
                    <a:pt x="1241" y="694"/>
                  </a:lnTo>
                  <a:lnTo>
                    <a:pt x="1233" y="698"/>
                  </a:lnTo>
                  <a:lnTo>
                    <a:pt x="1222" y="701"/>
                  </a:lnTo>
                  <a:lnTo>
                    <a:pt x="1212" y="704"/>
                  </a:lnTo>
                  <a:lnTo>
                    <a:pt x="1202" y="705"/>
                  </a:lnTo>
                  <a:lnTo>
                    <a:pt x="1191" y="705"/>
                  </a:lnTo>
                  <a:lnTo>
                    <a:pt x="1057" y="705"/>
                  </a:lnTo>
                  <a:lnTo>
                    <a:pt x="1057" y="492"/>
                  </a:lnTo>
                  <a:close/>
                  <a:moveTo>
                    <a:pt x="1309" y="1215"/>
                  </a:moveTo>
                  <a:lnTo>
                    <a:pt x="1309" y="1215"/>
                  </a:lnTo>
                  <a:lnTo>
                    <a:pt x="1568" y="1215"/>
                  </a:lnTo>
                  <a:lnTo>
                    <a:pt x="1374" y="866"/>
                  </a:lnTo>
                  <a:lnTo>
                    <a:pt x="1391" y="854"/>
                  </a:lnTo>
                  <a:lnTo>
                    <a:pt x="1408" y="843"/>
                  </a:lnTo>
                  <a:lnTo>
                    <a:pt x="1424" y="830"/>
                  </a:lnTo>
                  <a:lnTo>
                    <a:pt x="1440" y="817"/>
                  </a:lnTo>
                  <a:lnTo>
                    <a:pt x="1454" y="803"/>
                  </a:lnTo>
                  <a:lnTo>
                    <a:pt x="1467" y="787"/>
                  </a:lnTo>
                  <a:lnTo>
                    <a:pt x="1480" y="771"/>
                  </a:lnTo>
                  <a:lnTo>
                    <a:pt x="1490" y="754"/>
                  </a:lnTo>
                  <a:lnTo>
                    <a:pt x="1500" y="737"/>
                  </a:lnTo>
                  <a:lnTo>
                    <a:pt x="1509" y="718"/>
                  </a:lnTo>
                  <a:lnTo>
                    <a:pt x="1518" y="699"/>
                  </a:lnTo>
                  <a:lnTo>
                    <a:pt x="1523" y="681"/>
                  </a:lnTo>
                  <a:lnTo>
                    <a:pt x="1528" y="660"/>
                  </a:lnTo>
                  <a:lnTo>
                    <a:pt x="1532" y="639"/>
                  </a:lnTo>
                  <a:lnTo>
                    <a:pt x="1534" y="619"/>
                  </a:lnTo>
                  <a:lnTo>
                    <a:pt x="1535" y="597"/>
                  </a:lnTo>
                  <a:lnTo>
                    <a:pt x="1535" y="579"/>
                  </a:lnTo>
                  <a:lnTo>
                    <a:pt x="1534" y="561"/>
                  </a:lnTo>
                  <a:lnTo>
                    <a:pt x="1531" y="544"/>
                  </a:lnTo>
                  <a:lnTo>
                    <a:pt x="1528" y="528"/>
                  </a:lnTo>
                  <a:lnTo>
                    <a:pt x="1525" y="511"/>
                  </a:lnTo>
                  <a:lnTo>
                    <a:pt x="1519" y="495"/>
                  </a:lnTo>
                  <a:lnTo>
                    <a:pt x="1515" y="481"/>
                  </a:lnTo>
                  <a:lnTo>
                    <a:pt x="1509" y="465"/>
                  </a:lnTo>
                  <a:lnTo>
                    <a:pt x="1502" y="451"/>
                  </a:lnTo>
                  <a:lnTo>
                    <a:pt x="1495" y="436"/>
                  </a:lnTo>
                  <a:lnTo>
                    <a:pt x="1486" y="424"/>
                  </a:lnTo>
                  <a:lnTo>
                    <a:pt x="1477" y="409"/>
                  </a:lnTo>
                  <a:lnTo>
                    <a:pt x="1469" y="398"/>
                  </a:lnTo>
                  <a:lnTo>
                    <a:pt x="1459" y="385"/>
                  </a:lnTo>
                  <a:lnTo>
                    <a:pt x="1447" y="373"/>
                  </a:lnTo>
                  <a:lnTo>
                    <a:pt x="1436" y="362"/>
                  </a:lnTo>
                  <a:lnTo>
                    <a:pt x="1424" y="352"/>
                  </a:lnTo>
                  <a:lnTo>
                    <a:pt x="1413" y="342"/>
                  </a:lnTo>
                  <a:lnTo>
                    <a:pt x="1400" y="332"/>
                  </a:lnTo>
                  <a:lnTo>
                    <a:pt x="1387" y="323"/>
                  </a:lnTo>
                  <a:lnTo>
                    <a:pt x="1372" y="314"/>
                  </a:lnTo>
                  <a:lnTo>
                    <a:pt x="1358" y="307"/>
                  </a:lnTo>
                  <a:lnTo>
                    <a:pt x="1343" y="300"/>
                  </a:lnTo>
                  <a:lnTo>
                    <a:pt x="1328" y="294"/>
                  </a:lnTo>
                  <a:lnTo>
                    <a:pt x="1312" y="289"/>
                  </a:lnTo>
                  <a:lnTo>
                    <a:pt x="1296" y="284"/>
                  </a:lnTo>
                  <a:lnTo>
                    <a:pt x="1280" y="280"/>
                  </a:lnTo>
                  <a:lnTo>
                    <a:pt x="1263" y="276"/>
                  </a:lnTo>
                  <a:lnTo>
                    <a:pt x="1247" y="274"/>
                  </a:lnTo>
                  <a:lnTo>
                    <a:pt x="1230" y="271"/>
                  </a:lnTo>
                  <a:lnTo>
                    <a:pt x="1211" y="270"/>
                  </a:lnTo>
                  <a:lnTo>
                    <a:pt x="1194" y="270"/>
                  </a:lnTo>
                  <a:lnTo>
                    <a:pt x="815" y="270"/>
                  </a:lnTo>
                  <a:lnTo>
                    <a:pt x="815" y="1215"/>
                  </a:lnTo>
                  <a:lnTo>
                    <a:pt x="1057" y="1215"/>
                  </a:lnTo>
                  <a:lnTo>
                    <a:pt x="1057" y="910"/>
                  </a:lnTo>
                  <a:lnTo>
                    <a:pt x="1143" y="910"/>
                  </a:lnTo>
                  <a:lnTo>
                    <a:pt x="1309" y="1215"/>
                  </a:lnTo>
                  <a:close/>
                  <a:moveTo>
                    <a:pt x="1014" y="210"/>
                  </a:moveTo>
                  <a:lnTo>
                    <a:pt x="1014" y="210"/>
                  </a:lnTo>
                  <a:lnTo>
                    <a:pt x="1240" y="210"/>
                  </a:lnTo>
                  <a:lnTo>
                    <a:pt x="1384" y="0"/>
                  </a:lnTo>
                  <a:lnTo>
                    <a:pt x="1181" y="0"/>
                  </a:lnTo>
                  <a:lnTo>
                    <a:pt x="1127" y="76"/>
                  </a:lnTo>
                  <a:lnTo>
                    <a:pt x="1073" y="0"/>
                  </a:lnTo>
                  <a:lnTo>
                    <a:pt x="870" y="0"/>
                  </a:lnTo>
                  <a:lnTo>
                    <a:pt x="1014" y="210"/>
                  </a:lnTo>
                  <a:close/>
                  <a:moveTo>
                    <a:pt x="367" y="702"/>
                  </a:moveTo>
                  <a:lnTo>
                    <a:pt x="367" y="702"/>
                  </a:lnTo>
                  <a:lnTo>
                    <a:pt x="242" y="702"/>
                  </a:lnTo>
                  <a:lnTo>
                    <a:pt x="242" y="501"/>
                  </a:lnTo>
                  <a:lnTo>
                    <a:pt x="367" y="501"/>
                  </a:lnTo>
                  <a:lnTo>
                    <a:pt x="377" y="501"/>
                  </a:lnTo>
                  <a:lnTo>
                    <a:pt x="387" y="503"/>
                  </a:lnTo>
                  <a:lnTo>
                    <a:pt x="397" y="505"/>
                  </a:lnTo>
                  <a:lnTo>
                    <a:pt x="406" y="508"/>
                  </a:lnTo>
                  <a:lnTo>
                    <a:pt x="415" y="513"/>
                  </a:lnTo>
                  <a:lnTo>
                    <a:pt x="422" y="517"/>
                  </a:lnTo>
                  <a:lnTo>
                    <a:pt x="429" y="523"/>
                  </a:lnTo>
                  <a:lnTo>
                    <a:pt x="436" y="528"/>
                  </a:lnTo>
                  <a:lnTo>
                    <a:pt x="442" y="536"/>
                  </a:lnTo>
                  <a:lnTo>
                    <a:pt x="448" y="543"/>
                  </a:lnTo>
                  <a:lnTo>
                    <a:pt x="452" y="551"/>
                  </a:lnTo>
                  <a:lnTo>
                    <a:pt x="456" y="560"/>
                  </a:lnTo>
                  <a:lnTo>
                    <a:pt x="459" y="570"/>
                  </a:lnTo>
                  <a:lnTo>
                    <a:pt x="462" y="580"/>
                  </a:lnTo>
                  <a:lnTo>
                    <a:pt x="464" y="590"/>
                  </a:lnTo>
                  <a:lnTo>
                    <a:pt x="464" y="600"/>
                  </a:lnTo>
                  <a:lnTo>
                    <a:pt x="464" y="612"/>
                  </a:lnTo>
                  <a:lnTo>
                    <a:pt x="462" y="622"/>
                  </a:lnTo>
                  <a:lnTo>
                    <a:pt x="459" y="632"/>
                  </a:lnTo>
                  <a:lnTo>
                    <a:pt x="456" y="642"/>
                  </a:lnTo>
                  <a:lnTo>
                    <a:pt x="452" y="650"/>
                  </a:lnTo>
                  <a:lnTo>
                    <a:pt x="448" y="659"/>
                  </a:lnTo>
                  <a:lnTo>
                    <a:pt x="442" y="666"/>
                  </a:lnTo>
                  <a:lnTo>
                    <a:pt x="436" y="673"/>
                  </a:lnTo>
                  <a:lnTo>
                    <a:pt x="429" y="681"/>
                  </a:lnTo>
                  <a:lnTo>
                    <a:pt x="422" y="686"/>
                  </a:lnTo>
                  <a:lnTo>
                    <a:pt x="415" y="691"/>
                  </a:lnTo>
                  <a:lnTo>
                    <a:pt x="406" y="695"/>
                  </a:lnTo>
                  <a:lnTo>
                    <a:pt x="397" y="698"/>
                  </a:lnTo>
                  <a:lnTo>
                    <a:pt x="387" y="701"/>
                  </a:lnTo>
                  <a:lnTo>
                    <a:pt x="377" y="702"/>
                  </a:lnTo>
                  <a:lnTo>
                    <a:pt x="367" y="702"/>
                  </a:lnTo>
                  <a:close/>
                  <a:moveTo>
                    <a:pt x="367" y="270"/>
                  </a:moveTo>
                  <a:lnTo>
                    <a:pt x="367" y="270"/>
                  </a:lnTo>
                  <a:lnTo>
                    <a:pt x="0" y="270"/>
                  </a:lnTo>
                  <a:lnTo>
                    <a:pt x="0" y="1215"/>
                  </a:lnTo>
                  <a:lnTo>
                    <a:pt x="242" y="1215"/>
                  </a:lnTo>
                  <a:lnTo>
                    <a:pt x="242" y="932"/>
                  </a:lnTo>
                  <a:lnTo>
                    <a:pt x="367" y="932"/>
                  </a:lnTo>
                  <a:lnTo>
                    <a:pt x="386" y="930"/>
                  </a:lnTo>
                  <a:lnTo>
                    <a:pt x="403" y="930"/>
                  </a:lnTo>
                  <a:lnTo>
                    <a:pt x="420" y="928"/>
                  </a:lnTo>
                  <a:lnTo>
                    <a:pt x="436" y="925"/>
                  </a:lnTo>
                  <a:lnTo>
                    <a:pt x="454" y="922"/>
                  </a:lnTo>
                  <a:lnTo>
                    <a:pt x="469" y="918"/>
                  </a:lnTo>
                  <a:lnTo>
                    <a:pt x="485" y="913"/>
                  </a:lnTo>
                  <a:lnTo>
                    <a:pt x="501" y="907"/>
                  </a:lnTo>
                  <a:lnTo>
                    <a:pt x="515" y="900"/>
                  </a:lnTo>
                  <a:lnTo>
                    <a:pt x="530" y="895"/>
                  </a:lnTo>
                  <a:lnTo>
                    <a:pt x="544" y="886"/>
                  </a:lnTo>
                  <a:lnTo>
                    <a:pt x="559" y="879"/>
                  </a:lnTo>
                  <a:lnTo>
                    <a:pt x="572" y="869"/>
                  </a:lnTo>
                  <a:lnTo>
                    <a:pt x="585" y="860"/>
                  </a:lnTo>
                  <a:lnTo>
                    <a:pt x="596" y="850"/>
                  </a:lnTo>
                  <a:lnTo>
                    <a:pt x="608" y="839"/>
                  </a:lnTo>
                  <a:lnTo>
                    <a:pt x="619" y="828"/>
                  </a:lnTo>
                  <a:lnTo>
                    <a:pt x="629" y="816"/>
                  </a:lnTo>
                  <a:lnTo>
                    <a:pt x="639" y="804"/>
                  </a:lnTo>
                  <a:lnTo>
                    <a:pt x="649" y="791"/>
                  </a:lnTo>
                  <a:lnTo>
                    <a:pt x="658" y="778"/>
                  </a:lnTo>
                  <a:lnTo>
                    <a:pt x="667" y="764"/>
                  </a:lnTo>
                  <a:lnTo>
                    <a:pt x="674" y="750"/>
                  </a:lnTo>
                  <a:lnTo>
                    <a:pt x="680" y="735"/>
                  </a:lnTo>
                  <a:lnTo>
                    <a:pt x="685" y="719"/>
                  </a:lnTo>
                  <a:lnTo>
                    <a:pt x="691" y="704"/>
                  </a:lnTo>
                  <a:lnTo>
                    <a:pt x="695" y="688"/>
                  </a:lnTo>
                  <a:lnTo>
                    <a:pt x="700" y="671"/>
                  </a:lnTo>
                  <a:lnTo>
                    <a:pt x="703" y="653"/>
                  </a:lnTo>
                  <a:lnTo>
                    <a:pt x="704" y="636"/>
                  </a:lnTo>
                  <a:lnTo>
                    <a:pt x="706" y="619"/>
                  </a:lnTo>
                  <a:lnTo>
                    <a:pt x="707" y="600"/>
                  </a:lnTo>
                  <a:lnTo>
                    <a:pt x="706" y="583"/>
                  </a:lnTo>
                  <a:lnTo>
                    <a:pt x="704" y="566"/>
                  </a:lnTo>
                  <a:lnTo>
                    <a:pt x="703" y="547"/>
                  </a:lnTo>
                  <a:lnTo>
                    <a:pt x="700" y="531"/>
                  </a:lnTo>
                  <a:lnTo>
                    <a:pt x="695" y="514"/>
                  </a:lnTo>
                  <a:lnTo>
                    <a:pt x="691" y="498"/>
                  </a:lnTo>
                  <a:lnTo>
                    <a:pt x="685" y="482"/>
                  </a:lnTo>
                  <a:lnTo>
                    <a:pt x="680" y="467"/>
                  </a:lnTo>
                  <a:lnTo>
                    <a:pt x="674" y="452"/>
                  </a:lnTo>
                  <a:lnTo>
                    <a:pt x="667" y="438"/>
                  </a:lnTo>
                  <a:lnTo>
                    <a:pt x="658" y="424"/>
                  </a:lnTo>
                  <a:lnTo>
                    <a:pt x="649" y="411"/>
                  </a:lnTo>
                  <a:lnTo>
                    <a:pt x="639" y="398"/>
                  </a:lnTo>
                  <a:lnTo>
                    <a:pt x="629" y="386"/>
                  </a:lnTo>
                  <a:lnTo>
                    <a:pt x="619" y="373"/>
                  </a:lnTo>
                  <a:lnTo>
                    <a:pt x="608" y="363"/>
                  </a:lnTo>
                  <a:lnTo>
                    <a:pt x="596" y="352"/>
                  </a:lnTo>
                  <a:lnTo>
                    <a:pt x="585" y="342"/>
                  </a:lnTo>
                  <a:lnTo>
                    <a:pt x="572" y="332"/>
                  </a:lnTo>
                  <a:lnTo>
                    <a:pt x="559" y="323"/>
                  </a:lnTo>
                  <a:lnTo>
                    <a:pt x="544" y="316"/>
                  </a:lnTo>
                  <a:lnTo>
                    <a:pt x="530" y="307"/>
                  </a:lnTo>
                  <a:lnTo>
                    <a:pt x="515" y="300"/>
                  </a:lnTo>
                  <a:lnTo>
                    <a:pt x="501" y="294"/>
                  </a:lnTo>
                  <a:lnTo>
                    <a:pt x="485" y="289"/>
                  </a:lnTo>
                  <a:lnTo>
                    <a:pt x="469" y="284"/>
                  </a:lnTo>
                  <a:lnTo>
                    <a:pt x="454" y="280"/>
                  </a:lnTo>
                  <a:lnTo>
                    <a:pt x="436" y="276"/>
                  </a:lnTo>
                  <a:lnTo>
                    <a:pt x="420" y="274"/>
                  </a:lnTo>
                  <a:lnTo>
                    <a:pt x="403" y="271"/>
                  </a:lnTo>
                  <a:lnTo>
                    <a:pt x="386" y="270"/>
                  </a:lnTo>
                  <a:lnTo>
                    <a:pt x="367" y="270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7" name="Freeform 61">
              <a:extLst>
                <a:ext uri="{FF2B5EF4-FFF2-40B4-BE49-F238E27FC236}">
                  <a16:creationId xmlns:a16="http://schemas.microsoft.com/office/drawing/2014/main" id="{9A7FB958-D9FA-FE32-9F69-1BA77B987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8813" y="3919538"/>
              <a:ext cx="1828800" cy="519113"/>
            </a:xfrm>
            <a:custGeom>
              <a:avLst/>
              <a:gdLst>
                <a:gd name="T0" fmla="*/ 3258 w 3454"/>
                <a:gd name="T1" fmla="*/ 960 h 979"/>
                <a:gd name="T2" fmla="*/ 3374 w 3454"/>
                <a:gd name="T3" fmla="*/ 897 h 979"/>
                <a:gd name="T4" fmla="*/ 3417 w 3454"/>
                <a:gd name="T5" fmla="*/ 845 h 979"/>
                <a:gd name="T6" fmla="*/ 3444 w 3454"/>
                <a:gd name="T7" fmla="*/ 781 h 979"/>
                <a:gd name="T8" fmla="*/ 3454 w 3454"/>
                <a:gd name="T9" fmla="*/ 708 h 979"/>
                <a:gd name="T10" fmla="*/ 3443 w 3454"/>
                <a:gd name="T11" fmla="*/ 631 h 979"/>
                <a:gd name="T12" fmla="*/ 3412 w 3454"/>
                <a:gd name="T13" fmla="*/ 573 h 979"/>
                <a:gd name="T14" fmla="*/ 3332 w 3454"/>
                <a:gd name="T15" fmla="*/ 502 h 979"/>
                <a:gd name="T16" fmla="*/ 3133 w 3454"/>
                <a:gd name="T17" fmla="*/ 423 h 979"/>
                <a:gd name="T18" fmla="*/ 2996 w 3454"/>
                <a:gd name="T19" fmla="*/ 369 h 979"/>
                <a:gd name="T20" fmla="*/ 2946 w 3454"/>
                <a:gd name="T21" fmla="*/ 318 h 979"/>
                <a:gd name="T22" fmla="*/ 2934 w 3454"/>
                <a:gd name="T23" fmla="*/ 245 h 979"/>
                <a:gd name="T24" fmla="*/ 2962 w 3454"/>
                <a:gd name="T25" fmla="*/ 179 h 979"/>
                <a:gd name="T26" fmla="*/ 3021 w 3454"/>
                <a:gd name="T27" fmla="*/ 136 h 979"/>
                <a:gd name="T28" fmla="*/ 3106 w 3454"/>
                <a:gd name="T29" fmla="*/ 120 h 979"/>
                <a:gd name="T30" fmla="*/ 3199 w 3454"/>
                <a:gd name="T31" fmla="*/ 139 h 979"/>
                <a:gd name="T32" fmla="*/ 3268 w 3454"/>
                <a:gd name="T33" fmla="*/ 185 h 979"/>
                <a:gd name="T34" fmla="*/ 3314 w 3454"/>
                <a:gd name="T35" fmla="*/ 252 h 979"/>
                <a:gd name="T36" fmla="*/ 3391 w 3454"/>
                <a:gd name="T37" fmla="*/ 143 h 979"/>
                <a:gd name="T38" fmla="*/ 3304 w 3454"/>
                <a:gd name="T39" fmla="*/ 59 h 979"/>
                <a:gd name="T40" fmla="*/ 3189 w 3454"/>
                <a:gd name="T41" fmla="*/ 8 h 979"/>
                <a:gd name="T42" fmla="*/ 3048 w 3454"/>
                <a:gd name="T43" fmla="*/ 4 h 979"/>
                <a:gd name="T44" fmla="*/ 2918 w 3454"/>
                <a:gd name="T45" fmla="*/ 53 h 979"/>
                <a:gd name="T46" fmla="*/ 2845 w 3454"/>
                <a:gd name="T47" fmla="*/ 129 h 979"/>
                <a:gd name="T48" fmla="*/ 2818 w 3454"/>
                <a:gd name="T49" fmla="*/ 192 h 979"/>
                <a:gd name="T50" fmla="*/ 2808 w 3454"/>
                <a:gd name="T51" fmla="*/ 267 h 979"/>
                <a:gd name="T52" fmla="*/ 2818 w 3454"/>
                <a:gd name="T53" fmla="*/ 340 h 979"/>
                <a:gd name="T54" fmla="*/ 2846 w 3454"/>
                <a:gd name="T55" fmla="*/ 397 h 979"/>
                <a:gd name="T56" fmla="*/ 2921 w 3454"/>
                <a:gd name="T57" fmla="*/ 465 h 979"/>
                <a:gd name="T58" fmla="*/ 3106 w 3454"/>
                <a:gd name="T59" fmla="*/ 538 h 979"/>
                <a:gd name="T60" fmla="*/ 3254 w 3454"/>
                <a:gd name="T61" fmla="*/ 596 h 979"/>
                <a:gd name="T62" fmla="*/ 3314 w 3454"/>
                <a:gd name="T63" fmla="*/ 649 h 979"/>
                <a:gd name="T64" fmla="*/ 3329 w 3454"/>
                <a:gd name="T65" fmla="*/ 726 h 979"/>
                <a:gd name="T66" fmla="*/ 3302 w 3454"/>
                <a:gd name="T67" fmla="*/ 794 h 979"/>
                <a:gd name="T68" fmla="*/ 3235 w 3454"/>
                <a:gd name="T69" fmla="*/ 840 h 979"/>
                <a:gd name="T70" fmla="*/ 3129 w 3454"/>
                <a:gd name="T71" fmla="*/ 857 h 979"/>
                <a:gd name="T72" fmla="*/ 3016 w 3454"/>
                <a:gd name="T73" fmla="*/ 838 h 979"/>
                <a:gd name="T74" fmla="*/ 2934 w 3454"/>
                <a:gd name="T75" fmla="*/ 785 h 979"/>
                <a:gd name="T76" fmla="*/ 2882 w 3454"/>
                <a:gd name="T77" fmla="*/ 705 h 979"/>
                <a:gd name="T78" fmla="*/ 2803 w 3454"/>
                <a:gd name="T79" fmla="*/ 821 h 979"/>
                <a:gd name="T80" fmla="*/ 2898 w 3454"/>
                <a:gd name="T81" fmla="*/ 917 h 979"/>
                <a:gd name="T82" fmla="*/ 3031 w 3454"/>
                <a:gd name="T83" fmla="*/ 970 h 979"/>
                <a:gd name="T84" fmla="*/ 2139 w 3454"/>
                <a:gd name="T85" fmla="*/ 17 h 979"/>
                <a:gd name="T86" fmla="*/ 1676 w 3454"/>
                <a:gd name="T87" fmla="*/ 962 h 979"/>
                <a:gd name="T88" fmla="*/ 2139 w 3454"/>
                <a:gd name="T89" fmla="*/ 17 h 979"/>
                <a:gd name="T90" fmla="*/ 1345 w 3454"/>
                <a:gd name="T91" fmla="*/ 426 h 979"/>
                <a:gd name="T92" fmla="*/ 819 w 3454"/>
                <a:gd name="T93" fmla="*/ 17 h 979"/>
                <a:gd name="T94" fmla="*/ 296 w 3454"/>
                <a:gd name="T95" fmla="*/ 979 h 979"/>
                <a:gd name="T96" fmla="*/ 420 w 3454"/>
                <a:gd name="T97" fmla="*/ 962 h 979"/>
                <a:gd name="T98" fmla="*/ 509 w 3454"/>
                <a:gd name="T99" fmla="*/ 916 h 979"/>
                <a:gd name="T100" fmla="*/ 560 w 3454"/>
                <a:gd name="T101" fmla="*/ 866 h 979"/>
                <a:gd name="T102" fmla="*/ 596 w 3454"/>
                <a:gd name="T103" fmla="*/ 801 h 979"/>
                <a:gd name="T104" fmla="*/ 613 w 3454"/>
                <a:gd name="T105" fmla="*/ 721 h 979"/>
                <a:gd name="T106" fmla="*/ 491 w 3454"/>
                <a:gd name="T107" fmla="*/ 685 h 979"/>
                <a:gd name="T108" fmla="*/ 469 w 3454"/>
                <a:gd name="T109" fmla="*/ 777 h 979"/>
                <a:gd name="T110" fmla="*/ 409 w 3454"/>
                <a:gd name="T111" fmla="*/ 834 h 979"/>
                <a:gd name="T112" fmla="*/ 318 w 3454"/>
                <a:gd name="T113" fmla="*/ 856 h 979"/>
                <a:gd name="T114" fmla="*/ 233 w 3454"/>
                <a:gd name="T115" fmla="*/ 851 h 979"/>
                <a:gd name="T116" fmla="*/ 167 w 3454"/>
                <a:gd name="T117" fmla="*/ 824 h 979"/>
                <a:gd name="T118" fmla="*/ 121 w 3454"/>
                <a:gd name="T119" fmla="*/ 775 h 979"/>
                <a:gd name="T120" fmla="*/ 21 w 3454"/>
                <a:gd name="T121" fmla="*/ 850 h 979"/>
                <a:gd name="T122" fmla="*/ 99 w 3454"/>
                <a:gd name="T123" fmla="*/ 926 h 979"/>
                <a:gd name="T124" fmla="*/ 201 w 3454"/>
                <a:gd name="T125" fmla="*/ 969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54" h="979">
                  <a:moveTo>
                    <a:pt x="3126" y="979"/>
                  </a:moveTo>
                  <a:lnTo>
                    <a:pt x="3162" y="979"/>
                  </a:lnTo>
                  <a:lnTo>
                    <a:pt x="3196" y="975"/>
                  </a:lnTo>
                  <a:lnTo>
                    <a:pt x="3228" y="969"/>
                  </a:lnTo>
                  <a:lnTo>
                    <a:pt x="3258" y="960"/>
                  </a:lnTo>
                  <a:lnTo>
                    <a:pt x="3289" y="950"/>
                  </a:lnTo>
                  <a:lnTo>
                    <a:pt x="3314" y="937"/>
                  </a:lnTo>
                  <a:lnTo>
                    <a:pt x="3340" y="923"/>
                  </a:lnTo>
                  <a:lnTo>
                    <a:pt x="3362" y="906"/>
                  </a:lnTo>
                  <a:lnTo>
                    <a:pt x="3374" y="897"/>
                  </a:lnTo>
                  <a:lnTo>
                    <a:pt x="3384" y="887"/>
                  </a:lnTo>
                  <a:lnTo>
                    <a:pt x="3392" y="877"/>
                  </a:lnTo>
                  <a:lnTo>
                    <a:pt x="3401" y="867"/>
                  </a:lnTo>
                  <a:lnTo>
                    <a:pt x="3410" y="856"/>
                  </a:lnTo>
                  <a:lnTo>
                    <a:pt x="3417" y="845"/>
                  </a:lnTo>
                  <a:lnTo>
                    <a:pt x="3424" y="833"/>
                  </a:lnTo>
                  <a:lnTo>
                    <a:pt x="3430" y="821"/>
                  </a:lnTo>
                  <a:lnTo>
                    <a:pt x="3435" y="808"/>
                  </a:lnTo>
                  <a:lnTo>
                    <a:pt x="3440" y="795"/>
                  </a:lnTo>
                  <a:lnTo>
                    <a:pt x="3444" y="781"/>
                  </a:lnTo>
                  <a:lnTo>
                    <a:pt x="3447" y="768"/>
                  </a:lnTo>
                  <a:lnTo>
                    <a:pt x="3450" y="754"/>
                  </a:lnTo>
                  <a:lnTo>
                    <a:pt x="3453" y="739"/>
                  </a:lnTo>
                  <a:lnTo>
                    <a:pt x="3453" y="723"/>
                  </a:lnTo>
                  <a:lnTo>
                    <a:pt x="3454" y="708"/>
                  </a:lnTo>
                  <a:lnTo>
                    <a:pt x="3453" y="692"/>
                  </a:lnTo>
                  <a:lnTo>
                    <a:pt x="3451" y="676"/>
                  </a:lnTo>
                  <a:lnTo>
                    <a:pt x="3450" y="660"/>
                  </a:lnTo>
                  <a:lnTo>
                    <a:pt x="3447" y="646"/>
                  </a:lnTo>
                  <a:lnTo>
                    <a:pt x="3443" y="631"/>
                  </a:lnTo>
                  <a:lnTo>
                    <a:pt x="3438" y="619"/>
                  </a:lnTo>
                  <a:lnTo>
                    <a:pt x="3433" y="607"/>
                  </a:lnTo>
                  <a:lnTo>
                    <a:pt x="3427" y="594"/>
                  </a:lnTo>
                  <a:lnTo>
                    <a:pt x="3420" y="583"/>
                  </a:lnTo>
                  <a:lnTo>
                    <a:pt x="3412" y="573"/>
                  </a:lnTo>
                  <a:lnTo>
                    <a:pt x="3405" y="563"/>
                  </a:lnTo>
                  <a:lnTo>
                    <a:pt x="3395" y="553"/>
                  </a:lnTo>
                  <a:lnTo>
                    <a:pt x="3376" y="534"/>
                  </a:lnTo>
                  <a:lnTo>
                    <a:pt x="3355" y="518"/>
                  </a:lnTo>
                  <a:lnTo>
                    <a:pt x="3332" y="502"/>
                  </a:lnTo>
                  <a:lnTo>
                    <a:pt x="3307" y="489"/>
                  </a:lnTo>
                  <a:lnTo>
                    <a:pt x="3280" y="476"/>
                  </a:lnTo>
                  <a:lnTo>
                    <a:pt x="3253" y="465"/>
                  </a:lnTo>
                  <a:lnTo>
                    <a:pt x="3194" y="443"/>
                  </a:lnTo>
                  <a:lnTo>
                    <a:pt x="3133" y="423"/>
                  </a:lnTo>
                  <a:lnTo>
                    <a:pt x="3087" y="407"/>
                  </a:lnTo>
                  <a:lnTo>
                    <a:pt x="3045" y="393"/>
                  </a:lnTo>
                  <a:lnTo>
                    <a:pt x="3028" y="385"/>
                  </a:lnTo>
                  <a:lnTo>
                    <a:pt x="3012" y="377"/>
                  </a:lnTo>
                  <a:lnTo>
                    <a:pt x="2996" y="369"/>
                  </a:lnTo>
                  <a:lnTo>
                    <a:pt x="2983" y="360"/>
                  </a:lnTo>
                  <a:lnTo>
                    <a:pt x="2972" y="350"/>
                  </a:lnTo>
                  <a:lnTo>
                    <a:pt x="2962" y="340"/>
                  </a:lnTo>
                  <a:lnTo>
                    <a:pt x="2953" y="330"/>
                  </a:lnTo>
                  <a:lnTo>
                    <a:pt x="2946" y="318"/>
                  </a:lnTo>
                  <a:lnTo>
                    <a:pt x="2942" y="306"/>
                  </a:lnTo>
                  <a:lnTo>
                    <a:pt x="2937" y="291"/>
                  </a:lnTo>
                  <a:lnTo>
                    <a:pt x="2934" y="277"/>
                  </a:lnTo>
                  <a:lnTo>
                    <a:pt x="2934" y="261"/>
                  </a:lnTo>
                  <a:lnTo>
                    <a:pt x="2934" y="245"/>
                  </a:lnTo>
                  <a:lnTo>
                    <a:pt x="2937" y="231"/>
                  </a:lnTo>
                  <a:lnTo>
                    <a:pt x="2942" y="216"/>
                  </a:lnTo>
                  <a:lnTo>
                    <a:pt x="2946" y="204"/>
                  </a:lnTo>
                  <a:lnTo>
                    <a:pt x="2953" y="191"/>
                  </a:lnTo>
                  <a:lnTo>
                    <a:pt x="2962" y="179"/>
                  </a:lnTo>
                  <a:lnTo>
                    <a:pt x="2970" y="169"/>
                  </a:lnTo>
                  <a:lnTo>
                    <a:pt x="2982" y="159"/>
                  </a:lnTo>
                  <a:lnTo>
                    <a:pt x="2993" y="150"/>
                  </a:lnTo>
                  <a:lnTo>
                    <a:pt x="3006" y="143"/>
                  </a:lnTo>
                  <a:lnTo>
                    <a:pt x="3021" y="136"/>
                  </a:lnTo>
                  <a:lnTo>
                    <a:pt x="3037" y="130"/>
                  </a:lnTo>
                  <a:lnTo>
                    <a:pt x="3052" y="126"/>
                  </a:lnTo>
                  <a:lnTo>
                    <a:pt x="3070" y="123"/>
                  </a:lnTo>
                  <a:lnTo>
                    <a:pt x="3087" y="122"/>
                  </a:lnTo>
                  <a:lnTo>
                    <a:pt x="3106" y="120"/>
                  </a:lnTo>
                  <a:lnTo>
                    <a:pt x="3127" y="122"/>
                  </a:lnTo>
                  <a:lnTo>
                    <a:pt x="3147" y="125"/>
                  </a:lnTo>
                  <a:lnTo>
                    <a:pt x="3166" y="127"/>
                  </a:lnTo>
                  <a:lnTo>
                    <a:pt x="3183" y="132"/>
                  </a:lnTo>
                  <a:lnTo>
                    <a:pt x="3199" y="139"/>
                  </a:lnTo>
                  <a:lnTo>
                    <a:pt x="3215" y="146"/>
                  </a:lnTo>
                  <a:lnTo>
                    <a:pt x="3230" y="155"/>
                  </a:lnTo>
                  <a:lnTo>
                    <a:pt x="3244" y="163"/>
                  </a:lnTo>
                  <a:lnTo>
                    <a:pt x="3257" y="173"/>
                  </a:lnTo>
                  <a:lnTo>
                    <a:pt x="3268" y="185"/>
                  </a:lnTo>
                  <a:lnTo>
                    <a:pt x="3280" y="196"/>
                  </a:lnTo>
                  <a:lnTo>
                    <a:pt x="3290" y="209"/>
                  </a:lnTo>
                  <a:lnTo>
                    <a:pt x="3299" y="224"/>
                  </a:lnTo>
                  <a:lnTo>
                    <a:pt x="3307" y="237"/>
                  </a:lnTo>
                  <a:lnTo>
                    <a:pt x="3314" y="252"/>
                  </a:lnTo>
                  <a:lnTo>
                    <a:pt x="3322" y="267"/>
                  </a:lnTo>
                  <a:lnTo>
                    <a:pt x="3427" y="206"/>
                  </a:lnTo>
                  <a:lnTo>
                    <a:pt x="3417" y="183"/>
                  </a:lnTo>
                  <a:lnTo>
                    <a:pt x="3404" y="163"/>
                  </a:lnTo>
                  <a:lnTo>
                    <a:pt x="3391" y="143"/>
                  </a:lnTo>
                  <a:lnTo>
                    <a:pt x="3376" y="123"/>
                  </a:lnTo>
                  <a:lnTo>
                    <a:pt x="3361" y="106"/>
                  </a:lnTo>
                  <a:lnTo>
                    <a:pt x="3343" y="89"/>
                  </a:lnTo>
                  <a:lnTo>
                    <a:pt x="3325" y="73"/>
                  </a:lnTo>
                  <a:lnTo>
                    <a:pt x="3304" y="59"/>
                  </a:lnTo>
                  <a:lnTo>
                    <a:pt x="3284" y="46"/>
                  </a:lnTo>
                  <a:lnTo>
                    <a:pt x="3261" y="34"/>
                  </a:lnTo>
                  <a:lnTo>
                    <a:pt x="3238" y="24"/>
                  </a:lnTo>
                  <a:lnTo>
                    <a:pt x="3214" y="15"/>
                  </a:lnTo>
                  <a:lnTo>
                    <a:pt x="3189" y="8"/>
                  </a:lnTo>
                  <a:lnTo>
                    <a:pt x="3162" y="4"/>
                  </a:lnTo>
                  <a:lnTo>
                    <a:pt x="3134" y="1"/>
                  </a:lnTo>
                  <a:lnTo>
                    <a:pt x="3106" y="0"/>
                  </a:lnTo>
                  <a:lnTo>
                    <a:pt x="3077" y="1"/>
                  </a:lnTo>
                  <a:lnTo>
                    <a:pt x="3048" y="4"/>
                  </a:lnTo>
                  <a:lnTo>
                    <a:pt x="3019" y="10"/>
                  </a:lnTo>
                  <a:lnTo>
                    <a:pt x="2992" y="17"/>
                  </a:lnTo>
                  <a:lnTo>
                    <a:pt x="2966" y="27"/>
                  </a:lnTo>
                  <a:lnTo>
                    <a:pt x="2942" y="40"/>
                  </a:lnTo>
                  <a:lnTo>
                    <a:pt x="2918" y="53"/>
                  </a:lnTo>
                  <a:lnTo>
                    <a:pt x="2897" y="70"/>
                  </a:lnTo>
                  <a:lnTo>
                    <a:pt x="2878" y="87"/>
                  </a:lnTo>
                  <a:lnTo>
                    <a:pt x="2861" y="107"/>
                  </a:lnTo>
                  <a:lnTo>
                    <a:pt x="2852" y="119"/>
                  </a:lnTo>
                  <a:lnTo>
                    <a:pt x="2845" y="129"/>
                  </a:lnTo>
                  <a:lnTo>
                    <a:pt x="2838" y="142"/>
                  </a:lnTo>
                  <a:lnTo>
                    <a:pt x="2832" y="153"/>
                  </a:lnTo>
                  <a:lnTo>
                    <a:pt x="2826" y="166"/>
                  </a:lnTo>
                  <a:lnTo>
                    <a:pt x="2822" y="179"/>
                  </a:lnTo>
                  <a:lnTo>
                    <a:pt x="2818" y="192"/>
                  </a:lnTo>
                  <a:lnTo>
                    <a:pt x="2815" y="206"/>
                  </a:lnTo>
                  <a:lnTo>
                    <a:pt x="2812" y="221"/>
                  </a:lnTo>
                  <a:lnTo>
                    <a:pt x="2809" y="235"/>
                  </a:lnTo>
                  <a:lnTo>
                    <a:pt x="2809" y="251"/>
                  </a:lnTo>
                  <a:lnTo>
                    <a:pt x="2808" y="267"/>
                  </a:lnTo>
                  <a:lnTo>
                    <a:pt x="2809" y="283"/>
                  </a:lnTo>
                  <a:lnTo>
                    <a:pt x="2809" y="298"/>
                  </a:lnTo>
                  <a:lnTo>
                    <a:pt x="2812" y="313"/>
                  </a:lnTo>
                  <a:lnTo>
                    <a:pt x="2815" y="327"/>
                  </a:lnTo>
                  <a:lnTo>
                    <a:pt x="2818" y="340"/>
                  </a:lnTo>
                  <a:lnTo>
                    <a:pt x="2822" y="353"/>
                  </a:lnTo>
                  <a:lnTo>
                    <a:pt x="2828" y="364"/>
                  </a:lnTo>
                  <a:lnTo>
                    <a:pt x="2834" y="376"/>
                  </a:lnTo>
                  <a:lnTo>
                    <a:pt x="2839" y="387"/>
                  </a:lnTo>
                  <a:lnTo>
                    <a:pt x="2846" y="397"/>
                  </a:lnTo>
                  <a:lnTo>
                    <a:pt x="2854" y="407"/>
                  </a:lnTo>
                  <a:lnTo>
                    <a:pt x="2862" y="418"/>
                  </a:lnTo>
                  <a:lnTo>
                    <a:pt x="2880" y="435"/>
                  </a:lnTo>
                  <a:lnTo>
                    <a:pt x="2900" y="451"/>
                  </a:lnTo>
                  <a:lnTo>
                    <a:pt x="2921" y="465"/>
                  </a:lnTo>
                  <a:lnTo>
                    <a:pt x="2944" y="478"/>
                  </a:lnTo>
                  <a:lnTo>
                    <a:pt x="2969" y="489"/>
                  </a:lnTo>
                  <a:lnTo>
                    <a:pt x="2995" y="499"/>
                  </a:lnTo>
                  <a:lnTo>
                    <a:pt x="3050" y="519"/>
                  </a:lnTo>
                  <a:lnTo>
                    <a:pt x="3106" y="538"/>
                  </a:lnTo>
                  <a:lnTo>
                    <a:pt x="3156" y="554"/>
                  </a:lnTo>
                  <a:lnTo>
                    <a:pt x="3199" y="570"/>
                  </a:lnTo>
                  <a:lnTo>
                    <a:pt x="3219" y="578"/>
                  </a:lnTo>
                  <a:lnTo>
                    <a:pt x="3238" y="586"/>
                  </a:lnTo>
                  <a:lnTo>
                    <a:pt x="3254" y="596"/>
                  </a:lnTo>
                  <a:lnTo>
                    <a:pt x="3270" y="604"/>
                  </a:lnTo>
                  <a:lnTo>
                    <a:pt x="3283" y="614"/>
                  </a:lnTo>
                  <a:lnTo>
                    <a:pt x="3296" y="624"/>
                  </a:lnTo>
                  <a:lnTo>
                    <a:pt x="3306" y="636"/>
                  </a:lnTo>
                  <a:lnTo>
                    <a:pt x="3314" y="649"/>
                  </a:lnTo>
                  <a:lnTo>
                    <a:pt x="3320" y="663"/>
                  </a:lnTo>
                  <a:lnTo>
                    <a:pt x="3326" y="677"/>
                  </a:lnTo>
                  <a:lnTo>
                    <a:pt x="3329" y="693"/>
                  </a:lnTo>
                  <a:lnTo>
                    <a:pt x="3329" y="710"/>
                  </a:lnTo>
                  <a:lnTo>
                    <a:pt x="3329" y="726"/>
                  </a:lnTo>
                  <a:lnTo>
                    <a:pt x="3326" y="742"/>
                  </a:lnTo>
                  <a:lnTo>
                    <a:pt x="3322" y="756"/>
                  </a:lnTo>
                  <a:lnTo>
                    <a:pt x="3317" y="769"/>
                  </a:lnTo>
                  <a:lnTo>
                    <a:pt x="3310" y="782"/>
                  </a:lnTo>
                  <a:lnTo>
                    <a:pt x="3302" y="794"/>
                  </a:lnTo>
                  <a:lnTo>
                    <a:pt x="3291" y="805"/>
                  </a:lnTo>
                  <a:lnTo>
                    <a:pt x="3280" y="815"/>
                  </a:lnTo>
                  <a:lnTo>
                    <a:pt x="3266" y="825"/>
                  </a:lnTo>
                  <a:lnTo>
                    <a:pt x="3251" y="833"/>
                  </a:lnTo>
                  <a:lnTo>
                    <a:pt x="3235" y="840"/>
                  </a:lnTo>
                  <a:lnTo>
                    <a:pt x="3217" y="845"/>
                  </a:lnTo>
                  <a:lnTo>
                    <a:pt x="3196" y="851"/>
                  </a:lnTo>
                  <a:lnTo>
                    <a:pt x="3176" y="854"/>
                  </a:lnTo>
                  <a:lnTo>
                    <a:pt x="3153" y="856"/>
                  </a:lnTo>
                  <a:lnTo>
                    <a:pt x="3129" y="857"/>
                  </a:lnTo>
                  <a:lnTo>
                    <a:pt x="3104" y="856"/>
                  </a:lnTo>
                  <a:lnTo>
                    <a:pt x="3080" y="854"/>
                  </a:lnTo>
                  <a:lnTo>
                    <a:pt x="3057" y="850"/>
                  </a:lnTo>
                  <a:lnTo>
                    <a:pt x="3035" y="844"/>
                  </a:lnTo>
                  <a:lnTo>
                    <a:pt x="3016" y="838"/>
                  </a:lnTo>
                  <a:lnTo>
                    <a:pt x="2998" y="830"/>
                  </a:lnTo>
                  <a:lnTo>
                    <a:pt x="2979" y="821"/>
                  </a:lnTo>
                  <a:lnTo>
                    <a:pt x="2963" y="810"/>
                  </a:lnTo>
                  <a:lnTo>
                    <a:pt x="2949" y="798"/>
                  </a:lnTo>
                  <a:lnTo>
                    <a:pt x="2934" y="785"/>
                  </a:lnTo>
                  <a:lnTo>
                    <a:pt x="2921" y="771"/>
                  </a:lnTo>
                  <a:lnTo>
                    <a:pt x="2910" y="756"/>
                  </a:lnTo>
                  <a:lnTo>
                    <a:pt x="2900" y="739"/>
                  </a:lnTo>
                  <a:lnTo>
                    <a:pt x="2891" y="722"/>
                  </a:lnTo>
                  <a:lnTo>
                    <a:pt x="2882" y="705"/>
                  </a:lnTo>
                  <a:lnTo>
                    <a:pt x="2875" y="685"/>
                  </a:lnTo>
                  <a:lnTo>
                    <a:pt x="2767" y="748"/>
                  </a:lnTo>
                  <a:lnTo>
                    <a:pt x="2777" y="774"/>
                  </a:lnTo>
                  <a:lnTo>
                    <a:pt x="2790" y="798"/>
                  </a:lnTo>
                  <a:lnTo>
                    <a:pt x="2803" y="821"/>
                  </a:lnTo>
                  <a:lnTo>
                    <a:pt x="2819" y="844"/>
                  </a:lnTo>
                  <a:lnTo>
                    <a:pt x="2836" y="864"/>
                  </a:lnTo>
                  <a:lnTo>
                    <a:pt x="2855" y="883"/>
                  </a:lnTo>
                  <a:lnTo>
                    <a:pt x="2875" y="900"/>
                  </a:lnTo>
                  <a:lnTo>
                    <a:pt x="2898" y="917"/>
                  </a:lnTo>
                  <a:lnTo>
                    <a:pt x="2921" y="932"/>
                  </a:lnTo>
                  <a:lnTo>
                    <a:pt x="2947" y="943"/>
                  </a:lnTo>
                  <a:lnTo>
                    <a:pt x="2973" y="955"/>
                  </a:lnTo>
                  <a:lnTo>
                    <a:pt x="3001" y="963"/>
                  </a:lnTo>
                  <a:lnTo>
                    <a:pt x="3031" y="970"/>
                  </a:lnTo>
                  <a:lnTo>
                    <a:pt x="3061" y="976"/>
                  </a:lnTo>
                  <a:lnTo>
                    <a:pt x="3093" y="979"/>
                  </a:lnTo>
                  <a:lnTo>
                    <a:pt x="3126" y="979"/>
                  </a:lnTo>
                  <a:close/>
                  <a:moveTo>
                    <a:pt x="2139" y="17"/>
                  </a:moveTo>
                  <a:lnTo>
                    <a:pt x="2139" y="17"/>
                  </a:lnTo>
                  <a:lnTo>
                    <a:pt x="2139" y="722"/>
                  </a:lnTo>
                  <a:lnTo>
                    <a:pt x="1651" y="17"/>
                  </a:lnTo>
                  <a:lnTo>
                    <a:pt x="1550" y="17"/>
                  </a:lnTo>
                  <a:lnTo>
                    <a:pt x="1550" y="962"/>
                  </a:lnTo>
                  <a:lnTo>
                    <a:pt x="1676" y="962"/>
                  </a:lnTo>
                  <a:lnTo>
                    <a:pt x="1676" y="257"/>
                  </a:lnTo>
                  <a:lnTo>
                    <a:pt x="2164" y="962"/>
                  </a:lnTo>
                  <a:lnTo>
                    <a:pt x="2265" y="962"/>
                  </a:lnTo>
                  <a:lnTo>
                    <a:pt x="2265" y="17"/>
                  </a:lnTo>
                  <a:lnTo>
                    <a:pt x="2139" y="17"/>
                  </a:lnTo>
                  <a:close/>
                  <a:moveTo>
                    <a:pt x="946" y="843"/>
                  </a:moveTo>
                  <a:lnTo>
                    <a:pt x="946" y="843"/>
                  </a:lnTo>
                  <a:lnTo>
                    <a:pt x="946" y="544"/>
                  </a:lnTo>
                  <a:lnTo>
                    <a:pt x="1345" y="544"/>
                  </a:lnTo>
                  <a:lnTo>
                    <a:pt x="1345" y="426"/>
                  </a:lnTo>
                  <a:lnTo>
                    <a:pt x="946" y="426"/>
                  </a:lnTo>
                  <a:lnTo>
                    <a:pt x="946" y="136"/>
                  </a:lnTo>
                  <a:lnTo>
                    <a:pt x="1378" y="136"/>
                  </a:lnTo>
                  <a:lnTo>
                    <a:pt x="1378" y="17"/>
                  </a:lnTo>
                  <a:lnTo>
                    <a:pt x="819" y="17"/>
                  </a:lnTo>
                  <a:lnTo>
                    <a:pt x="819" y="962"/>
                  </a:lnTo>
                  <a:lnTo>
                    <a:pt x="1385" y="962"/>
                  </a:lnTo>
                  <a:lnTo>
                    <a:pt x="1385" y="843"/>
                  </a:lnTo>
                  <a:lnTo>
                    <a:pt x="946" y="843"/>
                  </a:lnTo>
                  <a:close/>
                  <a:moveTo>
                    <a:pt x="296" y="979"/>
                  </a:moveTo>
                  <a:lnTo>
                    <a:pt x="296" y="979"/>
                  </a:lnTo>
                  <a:lnTo>
                    <a:pt x="329" y="979"/>
                  </a:lnTo>
                  <a:lnTo>
                    <a:pt x="360" y="975"/>
                  </a:lnTo>
                  <a:lnTo>
                    <a:pt x="390" y="969"/>
                  </a:lnTo>
                  <a:lnTo>
                    <a:pt x="420" y="962"/>
                  </a:lnTo>
                  <a:lnTo>
                    <a:pt x="447" y="952"/>
                  </a:lnTo>
                  <a:lnTo>
                    <a:pt x="473" y="939"/>
                  </a:lnTo>
                  <a:lnTo>
                    <a:pt x="486" y="932"/>
                  </a:lnTo>
                  <a:lnTo>
                    <a:pt x="498" y="923"/>
                  </a:lnTo>
                  <a:lnTo>
                    <a:pt x="509" y="916"/>
                  </a:lnTo>
                  <a:lnTo>
                    <a:pt x="521" y="906"/>
                  </a:lnTo>
                  <a:lnTo>
                    <a:pt x="531" y="897"/>
                  </a:lnTo>
                  <a:lnTo>
                    <a:pt x="541" y="887"/>
                  </a:lnTo>
                  <a:lnTo>
                    <a:pt x="551" y="876"/>
                  </a:lnTo>
                  <a:lnTo>
                    <a:pt x="560" y="866"/>
                  </a:lnTo>
                  <a:lnTo>
                    <a:pt x="568" y="853"/>
                  </a:lnTo>
                  <a:lnTo>
                    <a:pt x="576" y="841"/>
                  </a:lnTo>
                  <a:lnTo>
                    <a:pt x="583" y="828"/>
                  </a:lnTo>
                  <a:lnTo>
                    <a:pt x="590" y="814"/>
                  </a:lnTo>
                  <a:lnTo>
                    <a:pt x="596" y="801"/>
                  </a:lnTo>
                  <a:lnTo>
                    <a:pt x="600" y="785"/>
                  </a:lnTo>
                  <a:lnTo>
                    <a:pt x="604" y="771"/>
                  </a:lnTo>
                  <a:lnTo>
                    <a:pt x="609" y="755"/>
                  </a:lnTo>
                  <a:lnTo>
                    <a:pt x="612" y="738"/>
                  </a:lnTo>
                  <a:lnTo>
                    <a:pt x="613" y="721"/>
                  </a:lnTo>
                  <a:lnTo>
                    <a:pt x="614" y="703"/>
                  </a:lnTo>
                  <a:lnTo>
                    <a:pt x="614" y="685"/>
                  </a:lnTo>
                  <a:lnTo>
                    <a:pt x="614" y="17"/>
                  </a:lnTo>
                  <a:lnTo>
                    <a:pt x="491" y="17"/>
                  </a:lnTo>
                  <a:lnTo>
                    <a:pt x="491" y="685"/>
                  </a:lnTo>
                  <a:lnTo>
                    <a:pt x="489" y="706"/>
                  </a:lnTo>
                  <a:lnTo>
                    <a:pt x="486" y="726"/>
                  </a:lnTo>
                  <a:lnTo>
                    <a:pt x="482" y="745"/>
                  </a:lnTo>
                  <a:lnTo>
                    <a:pt x="476" y="762"/>
                  </a:lnTo>
                  <a:lnTo>
                    <a:pt x="469" y="777"/>
                  </a:lnTo>
                  <a:lnTo>
                    <a:pt x="460" y="791"/>
                  </a:lnTo>
                  <a:lnTo>
                    <a:pt x="449" y="804"/>
                  </a:lnTo>
                  <a:lnTo>
                    <a:pt x="437" y="815"/>
                  </a:lnTo>
                  <a:lnTo>
                    <a:pt x="424" y="825"/>
                  </a:lnTo>
                  <a:lnTo>
                    <a:pt x="409" y="834"/>
                  </a:lnTo>
                  <a:lnTo>
                    <a:pt x="393" y="841"/>
                  </a:lnTo>
                  <a:lnTo>
                    <a:pt x="375" y="847"/>
                  </a:lnTo>
                  <a:lnTo>
                    <a:pt x="358" y="851"/>
                  </a:lnTo>
                  <a:lnTo>
                    <a:pt x="338" y="854"/>
                  </a:lnTo>
                  <a:lnTo>
                    <a:pt x="318" y="856"/>
                  </a:lnTo>
                  <a:lnTo>
                    <a:pt x="296" y="857"/>
                  </a:lnTo>
                  <a:lnTo>
                    <a:pt x="280" y="857"/>
                  </a:lnTo>
                  <a:lnTo>
                    <a:pt x="263" y="856"/>
                  </a:lnTo>
                  <a:lnTo>
                    <a:pt x="247" y="853"/>
                  </a:lnTo>
                  <a:lnTo>
                    <a:pt x="233" y="851"/>
                  </a:lnTo>
                  <a:lnTo>
                    <a:pt x="218" y="847"/>
                  </a:lnTo>
                  <a:lnTo>
                    <a:pt x="204" y="843"/>
                  </a:lnTo>
                  <a:lnTo>
                    <a:pt x="191" y="837"/>
                  </a:lnTo>
                  <a:lnTo>
                    <a:pt x="178" y="831"/>
                  </a:lnTo>
                  <a:lnTo>
                    <a:pt x="167" y="824"/>
                  </a:lnTo>
                  <a:lnTo>
                    <a:pt x="157" y="817"/>
                  </a:lnTo>
                  <a:lnTo>
                    <a:pt x="146" y="807"/>
                  </a:lnTo>
                  <a:lnTo>
                    <a:pt x="136" y="798"/>
                  </a:lnTo>
                  <a:lnTo>
                    <a:pt x="128" y="787"/>
                  </a:lnTo>
                  <a:lnTo>
                    <a:pt x="121" y="775"/>
                  </a:lnTo>
                  <a:lnTo>
                    <a:pt x="113" y="762"/>
                  </a:lnTo>
                  <a:lnTo>
                    <a:pt x="108" y="749"/>
                  </a:lnTo>
                  <a:lnTo>
                    <a:pt x="0" y="811"/>
                  </a:lnTo>
                  <a:lnTo>
                    <a:pt x="10" y="831"/>
                  </a:lnTo>
                  <a:lnTo>
                    <a:pt x="21" y="850"/>
                  </a:lnTo>
                  <a:lnTo>
                    <a:pt x="34" y="868"/>
                  </a:lnTo>
                  <a:lnTo>
                    <a:pt x="49" y="884"/>
                  </a:lnTo>
                  <a:lnTo>
                    <a:pt x="64" y="900"/>
                  </a:lnTo>
                  <a:lnTo>
                    <a:pt x="80" y="913"/>
                  </a:lnTo>
                  <a:lnTo>
                    <a:pt x="99" y="926"/>
                  </a:lnTo>
                  <a:lnTo>
                    <a:pt x="118" y="937"/>
                  </a:lnTo>
                  <a:lnTo>
                    <a:pt x="136" y="947"/>
                  </a:lnTo>
                  <a:lnTo>
                    <a:pt x="157" y="956"/>
                  </a:lnTo>
                  <a:lnTo>
                    <a:pt x="178" y="963"/>
                  </a:lnTo>
                  <a:lnTo>
                    <a:pt x="201" y="969"/>
                  </a:lnTo>
                  <a:lnTo>
                    <a:pt x="224" y="973"/>
                  </a:lnTo>
                  <a:lnTo>
                    <a:pt x="247" y="978"/>
                  </a:lnTo>
                  <a:lnTo>
                    <a:pt x="272" y="979"/>
                  </a:lnTo>
                  <a:lnTo>
                    <a:pt x="296" y="9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8" name="Freeform 62">
              <a:extLst>
                <a:ext uri="{FF2B5EF4-FFF2-40B4-BE49-F238E27FC236}">
                  <a16:creationId xmlns:a16="http://schemas.microsoft.com/office/drawing/2014/main" id="{CC9C01EB-36B8-6440-F52D-1D9876E023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1338" y="3203575"/>
              <a:ext cx="1670050" cy="522288"/>
            </a:xfrm>
            <a:custGeom>
              <a:avLst/>
              <a:gdLst>
                <a:gd name="T0" fmla="*/ 3115 w 3156"/>
                <a:gd name="T1" fmla="*/ 376 h 985"/>
                <a:gd name="T2" fmla="*/ 3149 w 3156"/>
                <a:gd name="T3" fmla="*/ 20 h 985"/>
                <a:gd name="T4" fmla="*/ 3156 w 3156"/>
                <a:gd name="T5" fmla="*/ 738 h 985"/>
                <a:gd name="T6" fmla="*/ 2118 w 3156"/>
                <a:gd name="T7" fmla="*/ 20 h 985"/>
                <a:gd name="T8" fmla="*/ 2445 w 3156"/>
                <a:gd name="T9" fmla="*/ 731 h 985"/>
                <a:gd name="T10" fmla="*/ 1227 w 3156"/>
                <a:gd name="T11" fmla="*/ 748 h 985"/>
                <a:gd name="T12" fmla="*/ 1130 w 3156"/>
                <a:gd name="T13" fmla="*/ 719 h 985"/>
                <a:gd name="T14" fmla="*/ 1055 w 3156"/>
                <a:gd name="T15" fmla="*/ 659 h 985"/>
                <a:gd name="T16" fmla="*/ 1009 w 3156"/>
                <a:gd name="T17" fmla="*/ 573 h 985"/>
                <a:gd name="T18" fmla="*/ 999 w 3156"/>
                <a:gd name="T19" fmla="*/ 465 h 985"/>
                <a:gd name="T20" fmla="*/ 1028 w 3156"/>
                <a:gd name="T21" fmla="*/ 366 h 985"/>
                <a:gd name="T22" fmla="*/ 1090 w 3156"/>
                <a:gd name="T23" fmla="*/ 291 h 985"/>
                <a:gd name="T24" fmla="*/ 1176 w 3156"/>
                <a:gd name="T25" fmla="*/ 247 h 985"/>
                <a:gd name="T26" fmla="*/ 1280 w 3156"/>
                <a:gd name="T27" fmla="*/ 237 h 985"/>
                <a:gd name="T28" fmla="*/ 1378 w 3156"/>
                <a:gd name="T29" fmla="*/ 266 h 985"/>
                <a:gd name="T30" fmla="*/ 1453 w 3156"/>
                <a:gd name="T31" fmla="*/ 326 h 985"/>
                <a:gd name="T32" fmla="*/ 1499 w 3156"/>
                <a:gd name="T33" fmla="*/ 412 h 985"/>
                <a:gd name="T34" fmla="*/ 1509 w 3156"/>
                <a:gd name="T35" fmla="*/ 520 h 985"/>
                <a:gd name="T36" fmla="*/ 1479 w 3156"/>
                <a:gd name="T37" fmla="*/ 619 h 985"/>
                <a:gd name="T38" fmla="*/ 1418 w 3156"/>
                <a:gd name="T39" fmla="*/ 694 h 985"/>
                <a:gd name="T40" fmla="*/ 1330 w 3156"/>
                <a:gd name="T41" fmla="*/ 738 h 985"/>
                <a:gd name="T42" fmla="*/ 1254 w 3156"/>
                <a:gd name="T43" fmla="*/ 985 h 985"/>
                <a:gd name="T44" fmla="*/ 1330 w 3156"/>
                <a:gd name="T45" fmla="*/ 979 h 985"/>
                <a:gd name="T46" fmla="*/ 1425 w 3156"/>
                <a:gd name="T47" fmla="*/ 956 h 985"/>
                <a:gd name="T48" fmla="*/ 1512 w 3156"/>
                <a:gd name="T49" fmla="*/ 915 h 985"/>
                <a:gd name="T50" fmla="*/ 1588 w 3156"/>
                <a:gd name="T51" fmla="*/ 859 h 985"/>
                <a:gd name="T52" fmla="*/ 1653 w 3156"/>
                <a:gd name="T53" fmla="*/ 790 h 985"/>
                <a:gd name="T54" fmla="*/ 1702 w 3156"/>
                <a:gd name="T55" fmla="*/ 709 h 985"/>
                <a:gd name="T56" fmla="*/ 1735 w 3156"/>
                <a:gd name="T57" fmla="*/ 617 h 985"/>
                <a:gd name="T58" fmla="*/ 1749 w 3156"/>
                <a:gd name="T59" fmla="*/ 518 h 985"/>
                <a:gd name="T60" fmla="*/ 1745 w 3156"/>
                <a:gd name="T61" fmla="*/ 416 h 985"/>
                <a:gd name="T62" fmla="*/ 1721 w 3156"/>
                <a:gd name="T63" fmla="*/ 320 h 985"/>
                <a:gd name="T64" fmla="*/ 1679 w 3156"/>
                <a:gd name="T65" fmla="*/ 234 h 985"/>
                <a:gd name="T66" fmla="*/ 1623 w 3156"/>
                <a:gd name="T67" fmla="*/ 159 h 985"/>
                <a:gd name="T68" fmla="*/ 1552 w 3156"/>
                <a:gd name="T69" fmla="*/ 96 h 985"/>
                <a:gd name="T70" fmla="*/ 1470 w 3156"/>
                <a:gd name="T71" fmla="*/ 47 h 985"/>
                <a:gd name="T72" fmla="*/ 1378 w 3156"/>
                <a:gd name="T73" fmla="*/ 14 h 985"/>
                <a:gd name="T74" fmla="*/ 1280 w 3156"/>
                <a:gd name="T75" fmla="*/ 0 h 985"/>
                <a:gd name="T76" fmla="*/ 1178 w 3156"/>
                <a:gd name="T77" fmla="*/ 6 h 985"/>
                <a:gd name="T78" fmla="*/ 1083 w 3156"/>
                <a:gd name="T79" fmla="*/ 29 h 985"/>
                <a:gd name="T80" fmla="*/ 995 w 3156"/>
                <a:gd name="T81" fmla="*/ 70 h 985"/>
                <a:gd name="T82" fmla="*/ 919 w 3156"/>
                <a:gd name="T83" fmla="*/ 126 h 985"/>
                <a:gd name="T84" fmla="*/ 855 w 3156"/>
                <a:gd name="T85" fmla="*/ 195 h 985"/>
                <a:gd name="T86" fmla="*/ 806 w 3156"/>
                <a:gd name="T87" fmla="*/ 276 h 985"/>
                <a:gd name="T88" fmla="*/ 772 w 3156"/>
                <a:gd name="T89" fmla="*/ 368 h 985"/>
                <a:gd name="T90" fmla="*/ 757 w 3156"/>
                <a:gd name="T91" fmla="*/ 467 h 985"/>
                <a:gd name="T92" fmla="*/ 763 w 3156"/>
                <a:gd name="T93" fmla="*/ 569 h 985"/>
                <a:gd name="T94" fmla="*/ 786 w 3156"/>
                <a:gd name="T95" fmla="*/ 665 h 985"/>
                <a:gd name="T96" fmla="*/ 828 w 3156"/>
                <a:gd name="T97" fmla="*/ 751 h 985"/>
                <a:gd name="T98" fmla="*/ 885 w 3156"/>
                <a:gd name="T99" fmla="*/ 826 h 985"/>
                <a:gd name="T100" fmla="*/ 956 w 3156"/>
                <a:gd name="T101" fmla="*/ 889 h 985"/>
                <a:gd name="T102" fmla="*/ 1038 w 3156"/>
                <a:gd name="T103" fmla="*/ 938 h 985"/>
                <a:gd name="T104" fmla="*/ 1129 w 3156"/>
                <a:gd name="T105" fmla="*/ 971 h 985"/>
                <a:gd name="T106" fmla="*/ 1228 w 3156"/>
                <a:gd name="T107" fmla="*/ 985 h 985"/>
                <a:gd name="T108" fmla="*/ 471 w 3156"/>
                <a:gd name="T109" fmla="*/ 480 h 985"/>
                <a:gd name="T110" fmla="*/ 242 w 3156"/>
                <a:gd name="T111" fmla="*/ 20 h 985"/>
                <a:gd name="T112" fmla="*/ 242 w 3156"/>
                <a:gd name="T113" fmla="*/ 543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56" h="985">
                  <a:moveTo>
                    <a:pt x="2789" y="738"/>
                  </a:moveTo>
                  <a:lnTo>
                    <a:pt x="2789" y="599"/>
                  </a:lnTo>
                  <a:lnTo>
                    <a:pt x="3115" y="599"/>
                  </a:lnTo>
                  <a:lnTo>
                    <a:pt x="3115" y="376"/>
                  </a:lnTo>
                  <a:lnTo>
                    <a:pt x="2789" y="376"/>
                  </a:lnTo>
                  <a:lnTo>
                    <a:pt x="2789" y="246"/>
                  </a:lnTo>
                  <a:lnTo>
                    <a:pt x="3149" y="246"/>
                  </a:lnTo>
                  <a:lnTo>
                    <a:pt x="3149" y="20"/>
                  </a:lnTo>
                  <a:lnTo>
                    <a:pt x="2547" y="20"/>
                  </a:lnTo>
                  <a:lnTo>
                    <a:pt x="2547" y="965"/>
                  </a:lnTo>
                  <a:lnTo>
                    <a:pt x="3156" y="965"/>
                  </a:lnTo>
                  <a:lnTo>
                    <a:pt x="3156" y="738"/>
                  </a:lnTo>
                  <a:lnTo>
                    <a:pt x="2789" y="738"/>
                  </a:lnTo>
                  <a:close/>
                  <a:moveTo>
                    <a:pt x="2118" y="731"/>
                  </a:moveTo>
                  <a:lnTo>
                    <a:pt x="2118" y="731"/>
                  </a:lnTo>
                  <a:lnTo>
                    <a:pt x="2118" y="20"/>
                  </a:lnTo>
                  <a:lnTo>
                    <a:pt x="1876" y="20"/>
                  </a:lnTo>
                  <a:lnTo>
                    <a:pt x="1876" y="965"/>
                  </a:lnTo>
                  <a:lnTo>
                    <a:pt x="2445" y="965"/>
                  </a:lnTo>
                  <a:lnTo>
                    <a:pt x="2445" y="731"/>
                  </a:lnTo>
                  <a:lnTo>
                    <a:pt x="2118" y="731"/>
                  </a:lnTo>
                  <a:close/>
                  <a:moveTo>
                    <a:pt x="1254" y="750"/>
                  </a:moveTo>
                  <a:lnTo>
                    <a:pt x="1254" y="750"/>
                  </a:lnTo>
                  <a:lnTo>
                    <a:pt x="1227" y="748"/>
                  </a:lnTo>
                  <a:lnTo>
                    <a:pt x="1201" y="744"/>
                  </a:lnTo>
                  <a:lnTo>
                    <a:pt x="1176" y="738"/>
                  </a:lnTo>
                  <a:lnTo>
                    <a:pt x="1153" y="731"/>
                  </a:lnTo>
                  <a:lnTo>
                    <a:pt x="1130" y="719"/>
                  </a:lnTo>
                  <a:lnTo>
                    <a:pt x="1109" y="708"/>
                  </a:lnTo>
                  <a:lnTo>
                    <a:pt x="1090" y="694"/>
                  </a:lnTo>
                  <a:lnTo>
                    <a:pt x="1071" y="678"/>
                  </a:lnTo>
                  <a:lnTo>
                    <a:pt x="1055" y="659"/>
                  </a:lnTo>
                  <a:lnTo>
                    <a:pt x="1041" y="640"/>
                  </a:lnTo>
                  <a:lnTo>
                    <a:pt x="1028" y="619"/>
                  </a:lnTo>
                  <a:lnTo>
                    <a:pt x="1018" y="596"/>
                  </a:lnTo>
                  <a:lnTo>
                    <a:pt x="1009" y="573"/>
                  </a:lnTo>
                  <a:lnTo>
                    <a:pt x="1004" y="547"/>
                  </a:lnTo>
                  <a:lnTo>
                    <a:pt x="999" y="520"/>
                  </a:lnTo>
                  <a:lnTo>
                    <a:pt x="998" y="492"/>
                  </a:lnTo>
                  <a:lnTo>
                    <a:pt x="999" y="465"/>
                  </a:lnTo>
                  <a:lnTo>
                    <a:pt x="1004" y="438"/>
                  </a:lnTo>
                  <a:lnTo>
                    <a:pt x="1009" y="412"/>
                  </a:lnTo>
                  <a:lnTo>
                    <a:pt x="1018" y="389"/>
                  </a:lnTo>
                  <a:lnTo>
                    <a:pt x="1028" y="366"/>
                  </a:lnTo>
                  <a:lnTo>
                    <a:pt x="1041" y="345"/>
                  </a:lnTo>
                  <a:lnTo>
                    <a:pt x="1055" y="326"/>
                  </a:lnTo>
                  <a:lnTo>
                    <a:pt x="1071" y="307"/>
                  </a:lnTo>
                  <a:lnTo>
                    <a:pt x="1090" y="291"/>
                  </a:lnTo>
                  <a:lnTo>
                    <a:pt x="1109" y="277"/>
                  </a:lnTo>
                  <a:lnTo>
                    <a:pt x="1130" y="266"/>
                  </a:lnTo>
                  <a:lnTo>
                    <a:pt x="1153" y="254"/>
                  </a:lnTo>
                  <a:lnTo>
                    <a:pt x="1176" y="247"/>
                  </a:lnTo>
                  <a:lnTo>
                    <a:pt x="1201" y="241"/>
                  </a:lnTo>
                  <a:lnTo>
                    <a:pt x="1227" y="237"/>
                  </a:lnTo>
                  <a:lnTo>
                    <a:pt x="1254" y="235"/>
                  </a:lnTo>
                  <a:lnTo>
                    <a:pt x="1280" y="237"/>
                  </a:lnTo>
                  <a:lnTo>
                    <a:pt x="1306" y="241"/>
                  </a:lnTo>
                  <a:lnTo>
                    <a:pt x="1330" y="247"/>
                  </a:lnTo>
                  <a:lnTo>
                    <a:pt x="1355" y="254"/>
                  </a:lnTo>
                  <a:lnTo>
                    <a:pt x="1378" y="266"/>
                  </a:lnTo>
                  <a:lnTo>
                    <a:pt x="1398" y="277"/>
                  </a:lnTo>
                  <a:lnTo>
                    <a:pt x="1418" y="291"/>
                  </a:lnTo>
                  <a:lnTo>
                    <a:pt x="1436" y="307"/>
                  </a:lnTo>
                  <a:lnTo>
                    <a:pt x="1453" y="326"/>
                  </a:lnTo>
                  <a:lnTo>
                    <a:pt x="1467" y="345"/>
                  </a:lnTo>
                  <a:lnTo>
                    <a:pt x="1479" y="366"/>
                  </a:lnTo>
                  <a:lnTo>
                    <a:pt x="1490" y="389"/>
                  </a:lnTo>
                  <a:lnTo>
                    <a:pt x="1499" y="412"/>
                  </a:lnTo>
                  <a:lnTo>
                    <a:pt x="1505" y="438"/>
                  </a:lnTo>
                  <a:lnTo>
                    <a:pt x="1509" y="465"/>
                  </a:lnTo>
                  <a:lnTo>
                    <a:pt x="1509" y="492"/>
                  </a:lnTo>
                  <a:lnTo>
                    <a:pt x="1509" y="520"/>
                  </a:lnTo>
                  <a:lnTo>
                    <a:pt x="1505" y="547"/>
                  </a:lnTo>
                  <a:lnTo>
                    <a:pt x="1499" y="573"/>
                  </a:lnTo>
                  <a:lnTo>
                    <a:pt x="1490" y="596"/>
                  </a:lnTo>
                  <a:lnTo>
                    <a:pt x="1479" y="619"/>
                  </a:lnTo>
                  <a:lnTo>
                    <a:pt x="1467" y="640"/>
                  </a:lnTo>
                  <a:lnTo>
                    <a:pt x="1453" y="659"/>
                  </a:lnTo>
                  <a:lnTo>
                    <a:pt x="1436" y="678"/>
                  </a:lnTo>
                  <a:lnTo>
                    <a:pt x="1418" y="694"/>
                  </a:lnTo>
                  <a:lnTo>
                    <a:pt x="1398" y="708"/>
                  </a:lnTo>
                  <a:lnTo>
                    <a:pt x="1378" y="719"/>
                  </a:lnTo>
                  <a:lnTo>
                    <a:pt x="1355" y="731"/>
                  </a:lnTo>
                  <a:lnTo>
                    <a:pt x="1330" y="738"/>
                  </a:lnTo>
                  <a:lnTo>
                    <a:pt x="1306" y="744"/>
                  </a:lnTo>
                  <a:lnTo>
                    <a:pt x="1280" y="748"/>
                  </a:lnTo>
                  <a:lnTo>
                    <a:pt x="1254" y="750"/>
                  </a:lnTo>
                  <a:close/>
                  <a:moveTo>
                    <a:pt x="1254" y="985"/>
                  </a:moveTo>
                  <a:lnTo>
                    <a:pt x="1254" y="985"/>
                  </a:lnTo>
                  <a:lnTo>
                    <a:pt x="1280" y="985"/>
                  </a:lnTo>
                  <a:lnTo>
                    <a:pt x="1305" y="982"/>
                  </a:lnTo>
                  <a:lnTo>
                    <a:pt x="1330" y="979"/>
                  </a:lnTo>
                  <a:lnTo>
                    <a:pt x="1355" y="975"/>
                  </a:lnTo>
                  <a:lnTo>
                    <a:pt x="1378" y="971"/>
                  </a:lnTo>
                  <a:lnTo>
                    <a:pt x="1402" y="964"/>
                  </a:lnTo>
                  <a:lnTo>
                    <a:pt x="1425" y="956"/>
                  </a:lnTo>
                  <a:lnTo>
                    <a:pt x="1449" y="948"/>
                  </a:lnTo>
                  <a:lnTo>
                    <a:pt x="1470" y="938"/>
                  </a:lnTo>
                  <a:lnTo>
                    <a:pt x="1492" y="928"/>
                  </a:lnTo>
                  <a:lnTo>
                    <a:pt x="1512" y="915"/>
                  </a:lnTo>
                  <a:lnTo>
                    <a:pt x="1532" y="903"/>
                  </a:lnTo>
                  <a:lnTo>
                    <a:pt x="1552" y="889"/>
                  </a:lnTo>
                  <a:lnTo>
                    <a:pt x="1571" y="874"/>
                  </a:lnTo>
                  <a:lnTo>
                    <a:pt x="1588" y="859"/>
                  </a:lnTo>
                  <a:lnTo>
                    <a:pt x="1605" y="843"/>
                  </a:lnTo>
                  <a:lnTo>
                    <a:pt x="1623" y="826"/>
                  </a:lnTo>
                  <a:lnTo>
                    <a:pt x="1637" y="808"/>
                  </a:lnTo>
                  <a:lnTo>
                    <a:pt x="1653" y="790"/>
                  </a:lnTo>
                  <a:lnTo>
                    <a:pt x="1666" y="771"/>
                  </a:lnTo>
                  <a:lnTo>
                    <a:pt x="1679" y="751"/>
                  </a:lnTo>
                  <a:lnTo>
                    <a:pt x="1690" y="729"/>
                  </a:lnTo>
                  <a:lnTo>
                    <a:pt x="1702" y="709"/>
                  </a:lnTo>
                  <a:lnTo>
                    <a:pt x="1712" y="686"/>
                  </a:lnTo>
                  <a:lnTo>
                    <a:pt x="1721" y="665"/>
                  </a:lnTo>
                  <a:lnTo>
                    <a:pt x="1728" y="642"/>
                  </a:lnTo>
                  <a:lnTo>
                    <a:pt x="1735" y="617"/>
                  </a:lnTo>
                  <a:lnTo>
                    <a:pt x="1741" y="593"/>
                  </a:lnTo>
                  <a:lnTo>
                    <a:pt x="1745" y="569"/>
                  </a:lnTo>
                  <a:lnTo>
                    <a:pt x="1748" y="544"/>
                  </a:lnTo>
                  <a:lnTo>
                    <a:pt x="1749" y="518"/>
                  </a:lnTo>
                  <a:lnTo>
                    <a:pt x="1751" y="492"/>
                  </a:lnTo>
                  <a:lnTo>
                    <a:pt x="1749" y="467"/>
                  </a:lnTo>
                  <a:lnTo>
                    <a:pt x="1748" y="441"/>
                  </a:lnTo>
                  <a:lnTo>
                    <a:pt x="1745" y="416"/>
                  </a:lnTo>
                  <a:lnTo>
                    <a:pt x="1741" y="392"/>
                  </a:lnTo>
                  <a:lnTo>
                    <a:pt x="1735" y="368"/>
                  </a:lnTo>
                  <a:lnTo>
                    <a:pt x="1728" y="343"/>
                  </a:lnTo>
                  <a:lnTo>
                    <a:pt x="1721" y="320"/>
                  </a:lnTo>
                  <a:lnTo>
                    <a:pt x="1712" y="299"/>
                  </a:lnTo>
                  <a:lnTo>
                    <a:pt x="1702" y="276"/>
                  </a:lnTo>
                  <a:lnTo>
                    <a:pt x="1690" y="256"/>
                  </a:lnTo>
                  <a:lnTo>
                    <a:pt x="1679" y="234"/>
                  </a:lnTo>
                  <a:lnTo>
                    <a:pt x="1666" y="214"/>
                  </a:lnTo>
                  <a:lnTo>
                    <a:pt x="1653" y="195"/>
                  </a:lnTo>
                  <a:lnTo>
                    <a:pt x="1637" y="177"/>
                  </a:lnTo>
                  <a:lnTo>
                    <a:pt x="1623" y="159"/>
                  </a:lnTo>
                  <a:lnTo>
                    <a:pt x="1605" y="142"/>
                  </a:lnTo>
                  <a:lnTo>
                    <a:pt x="1588" y="126"/>
                  </a:lnTo>
                  <a:lnTo>
                    <a:pt x="1571" y="111"/>
                  </a:lnTo>
                  <a:lnTo>
                    <a:pt x="1552" y="96"/>
                  </a:lnTo>
                  <a:lnTo>
                    <a:pt x="1532" y="82"/>
                  </a:lnTo>
                  <a:lnTo>
                    <a:pt x="1512" y="70"/>
                  </a:lnTo>
                  <a:lnTo>
                    <a:pt x="1492" y="57"/>
                  </a:lnTo>
                  <a:lnTo>
                    <a:pt x="1470" y="47"/>
                  </a:lnTo>
                  <a:lnTo>
                    <a:pt x="1449" y="37"/>
                  </a:lnTo>
                  <a:lnTo>
                    <a:pt x="1425" y="29"/>
                  </a:lnTo>
                  <a:lnTo>
                    <a:pt x="1402" y="21"/>
                  </a:lnTo>
                  <a:lnTo>
                    <a:pt x="1378" y="14"/>
                  </a:lnTo>
                  <a:lnTo>
                    <a:pt x="1355" y="10"/>
                  </a:lnTo>
                  <a:lnTo>
                    <a:pt x="1330" y="6"/>
                  </a:lnTo>
                  <a:lnTo>
                    <a:pt x="1305" y="3"/>
                  </a:lnTo>
                  <a:lnTo>
                    <a:pt x="1280" y="0"/>
                  </a:lnTo>
                  <a:lnTo>
                    <a:pt x="1254" y="0"/>
                  </a:lnTo>
                  <a:lnTo>
                    <a:pt x="1228" y="0"/>
                  </a:lnTo>
                  <a:lnTo>
                    <a:pt x="1202" y="3"/>
                  </a:lnTo>
                  <a:lnTo>
                    <a:pt x="1178" y="6"/>
                  </a:lnTo>
                  <a:lnTo>
                    <a:pt x="1153" y="10"/>
                  </a:lnTo>
                  <a:lnTo>
                    <a:pt x="1129" y="14"/>
                  </a:lnTo>
                  <a:lnTo>
                    <a:pt x="1106" y="21"/>
                  </a:lnTo>
                  <a:lnTo>
                    <a:pt x="1083" y="29"/>
                  </a:lnTo>
                  <a:lnTo>
                    <a:pt x="1060" y="37"/>
                  </a:lnTo>
                  <a:lnTo>
                    <a:pt x="1038" y="47"/>
                  </a:lnTo>
                  <a:lnTo>
                    <a:pt x="1017" y="57"/>
                  </a:lnTo>
                  <a:lnTo>
                    <a:pt x="995" y="70"/>
                  </a:lnTo>
                  <a:lnTo>
                    <a:pt x="975" y="82"/>
                  </a:lnTo>
                  <a:lnTo>
                    <a:pt x="956" y="96"/>
                  </a:lnTo>
                  <a:lnTo>
                    <a:pt x="937" y="111"/>
                  </a:lnTo>
                  <a:lnTo>
                    <a:pt x="919" y="126"/>
                  </a:lnTo>
                  <a:lnTo>
                    <a:pt x="901" y="142"/>
                  </a:lnTo>
                  <a:lnTo>
                    <a:pt x="885" y="159"/>
                  </a:lnTo>
                  <a:lnTo>
                    <a:pt x="870" y="177"/>
                  </a:lnTo>
                  <a:lnTo>
                    <a:pt x="855" y="195"/>
                  </a:lnTo>
                  <a:lnTo>
                    <a:pt x="841" y="214"/>
                  </a:lnTo>
                  <a:lnTo>
                    <a:pt x="828" y="234"/>
                  </a:lnTo>
                  <a:lnTo>
                    <a:pt x="816" y="256"/>
                  </a:lnTo>
                  <a:lnTo>
                    <a:pt x="806" y="276"/>
                  </a:lnTo>
                  <a:lnTo>
                    <a:pt x="796" y="299"/>
                  </a:lnTo>
                  <a:lnTo>
                    <a:pt x="786" y="320"/>
                  </a:lnTo>
                  <a:lnTo>
                    <a:pt x="779" y="343"/>
                  </a:lnTo>
                  <a:lnTo>
                    <a:pt x="772" y="368"/>
                  </a:lnTo>
                  <a:lnTo>
                    <a:pt x="767" y="392"/>
                  </a:lnTo>
                  <a:lnTo>
                    <a:pt x="763" y="416"/>
                  </a:lnTo>
                  <a:lnTo>
                    <a:pt x="759" y="441"/>
                  </a:lnTo>
                  <a:lnTo>
                    <a:pt x="757" y="467"/>
                  </a:lnTo>
                  <a:lnTo>
                    <a:pt x="757" y="492"/>
                  </a:lnTo>
                  <a:lnTo>
                    <a:pt x="757" y="518"/>
                  </a:lnTo>
                  <a:lnTo>
                    <a:pt x="759" y="544"/>
                  </a:lnTo>
                  <a:lnTo>
                    <a:pt x="763" y="569"/>
                  </a:lnTo>
                  <a:lnTo>
                    <a:pt x="767" y="593"/>
                  </a:lnTo>
                  <a:lnTo>
                    <a:pt x="772" y="617"/>
                  </a:lnTo>
                  <a:lnTo>
                    <a:pt x="779" y="642"/>
                  </a:lnTo>
                  <a:lnTo>
                    <a:pt x="786" y="665"/>
                  </a:lnTo>
                  <a:lnTo>
                    <a:pt x="796" y="686"/>
                  </a:lnTo>
                  <a:lnTo>
                    <a:pt x="806" y="709"/>
                  </a:lnTo>
                  <a:lnTo>
                    <a:pt x="816" y="729"/>
                  </a:lnTo>
                  <a:lnTo>
                    <a:pt x="828" y="751"/>
                  </a:lnTo>
                  <a:lnTo>
                    <a:pt x="841" y="771"/>
                  </a:lnTo>
                  <a:lnTo>
                    <a:pt x="855" y="790"/>
                  </a:lnTo>
                  <a:lnTo>
                    <a:pt x="870" y="808"/>
                  </a:lnTo>
                  <a:lnTo>
                    <a:pt x="885" y="826"/>
                  </a:lnTo>
                  <a:lnTo>
                    <a:pt x="901" y="843"/>
                  </a:lnTo>
                  <a:lnTo>
                    <a:pt x="919" y="859"/>
                  </a:lnTo>
                  <a:lnTo>
                    <a:pt x="937" y="874"/>
                  </a:lnTo>
                  <a:lnTo>
                    <a:pt x="956" y="889"/>
                  </a:lnTo>
                  <a:lnTo>
                    <a:pt x="975" y="903"/>
                  </a:lnTo>
                  <a:lnTo>
                    <a:pt x="995" y="915"/>
                  </a:lnTo>
                  <a:lnTo>
                    <a:pt x="1017" y="928"/>
                  </a:lnTo>
                  <a:lnTo>
                    <a:pt x="1038" y="938"/>
                  </a:lnTo>
                  <a:lnTo>
                    <a:pt x="1060" y="948"/>
                  </a:lnTo>
                  <a:lnTo>
                    <a:pt x="1083" y="956"/>
                  </a:lnTo>
                  <a:lnTo>
                    <a:pt x="1106" y="964"/>
                  </a:lnTo>
                  <a:lnTo>
                    <a:pt x="1129" y="971"/>
                  </a:lnTo>
                  <a:lnTo>
                    <a:pt x="1153" y="975"/>
                  </a:lnTo>
                  <a:lnTo>
                    <a:pt x="1178" y="979"/>
                  </a:lnTo>
                  <a:lnTo>
                    <a:pt x="1202" y="982"/>
                  </a:lnTo>
                  <a:lnTo>
                    <a:pt x="1228" y="985"/>
                  </a:lnTo>
                  <a:lnTo>
                    <a:pt x="1254" y="985"/>
                  </a:lnTo>
                  <a:close/>
                  <a:moveTo>
                    <a:pt x="785" y="965"/>
                  </a:moveTo>
                  <a:lnTo>
                    <a:pt x="785" y="965"/>
                  </a:lnTo>
                  <a:lnTo>
                    <a:pt x="471" y="480"/>
                  </a:lnTo>
                  <a:lnTo>
                    <a:pt x="772" y="20"/>
                  </a:lnTo>
                  <a:lnTo>
                    <a:pt x="501" y="20"/>
                  </a:lnTo>
                  <a:lnTo>
                    <a:pt x="242" y="416"/>
                  </a:lnTo>
                  <a:lnTo>
                    <a:pt x="242" y="20"/>
                  </a:lnTo>
                  <a:lnTo>
                    <a:pt x="0" y="20"/>
                  </a:lnTo>
                  <a:lnTo>
                    <a:pt x="0" y="965"/>
                  </a:lnTo>
                  <a:lnTo>
                    <a:pt x="242" y="965"/>
                  </a:lnTo>
                  <a:lnTo>
                    <a:pt x="242" y="543"/>
                  </a:lnTo>
                  <a:lnTo>
                    <a:pt x="514" y="965"/>
                  </a:lnTo>
                  <a:lnTo>
                    <a:pt x="785" y="965"/>
                  </a:lnTo>
                  <a:close/>
                </a:path>
              </a:pathLst>
            </a:custGeom>
            <a:solidFill>
              <a:srgbClr val="F9B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  <p:sp>
          <p:nvSpPr>
            <p:cNvPr id="1059" name="Freeform 63">
              <a:extLst>
                <a:ext uri="{FF2B5EF4-FFF2-40B4-BE49-F238E27FC236}">
                  <a16:creationId xmlns:a16="http://schemas.microsoft.com/office/drawing/2014/main" id="{79C7BA46-9117-F012-F563-B71F092C50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0" y="3214688"/>
              <a:ext cx="895350" cy="500063"/>
            </a:xfrm>
            <a:custGeom>
              <a:avLst/>
              <a:gdLst>
                <a:gd name="T0" fmla="*/ 1096 w 1691"/>
                <a:gd name="T1" fmla="*/ 616 h 945"/>
                <a:gd name="T2" fmla="*/ 1264 w 1691"/>
                <a:gd name="T3" fmla="*/ 149 h 945"/>
                <a:gd name="T4" fmla="*/ 1436 w 1691"/>
                <a:gd name="T5" fmla="*/ 616 h 945"/>
                <a:gd name="T6" fmla="*/ 1096 w 1691"/>
                <a:gd name="T7" fmla="*/ 616 h 945"/>
                <a:gd name="T8" fmla="*/ 1555 w 1691"/>
                <a:gd name="T9" fmla="*/ 945 h 945"/>
                <a:gd name="T10" fmla="*/ 1555 w 1691"/>
                <a:gd name="T11" fmla="*/ 945 h 945"/>
                <a:gd name="T12" fmla="*/ 1691 w 1691"/>
                <a:gd name="T13" fmla="*/ 945 h 945"/>
                <a:gd name="T14" fmla="*/ 1336 w 1691"/>
                <a:gd name="T15" fmla="*/ 0 h 945"/>
                <a:gd name="T16" fmla="*/ 1194 w 1691"/>
                <a:gd name="T17" fmla="*/ 0 h 945"/>
                <a:gd name="T18" fmla="*/ 841 w 1691"/>
                <a:gd name="T19" fmla="*/ 945 h 945"/>
                <a:gd name="T20" fmla="*/ 975 w 1691"/>
                <a:gd name="T21" fmla="*/ 945 h 945"/>
                <a:gd name="T22" fmla="*/ 1053 w 1691"/>
                <a:gd name="T23" fmla="*/ 732 h 945"/>
                <a:gd name="T24" fmla="*/ 1479 w 1691"/>
                <a:gd name="T25" fmla="*/ 732 h 945"/>
                <a:gd name="T26" fmla="*/ 1555 w 1691"/>
                <a:gd name="T27" fmla="*/ 945 h 945"/>
                <a:gd name="T28" fmla="*/ 589 w 1691"/>
                <a:gd name="T29" fmla="*/ 0 h 945"/>
                <a:gd name="T30" fmla="*/ 589 w 1691"/>
                <a:gd name="T31" fmla="*/ 0 h 945"/>
                <a:gd name="T32" fmla="*/ 589 w 1691"/>
                <a:gd name="T33" fmla="*/ 705 h 945"/>
                <a:gd name="T34" fmla="*/ 102 w 1691"/>
                <a:gd name="T35" fmla="*/ 0 h 945"/>
                <a:gd name="T36" fmla="*/ 0 w 1691"/>
                <a:gd name="T37" fmla="*/ 0 h 945"/>
                <a:gd name="T38" fmla="*/ 0 w 1691"/>
                <a:gd name="T39" fmla="*/ 945 h 945"/>
                <a:gd name="T40" fmla="*/ 127 w 1691"/>
                <a:gd name="T41" fmla="*/ 945 h 945"/>
                <a:gd name="T42" fmla="*/ 127 w 1691"/>
                <a:gd name="T43" fmla="*/ 238 h 945"/>
                <a:gd name="T44" fmla="*/ 613 w 1691"/>
                <a:gd name="T45" fmla="*/ 945 h 945"/>
                <a:gd name="T46" fmla="*/ 716 w 1691"/>
                <a:gd name="T47" fmla="*/ 945 h 945"/>
                <a:gd name="T48" fmla="*/ 716 w 1691"/>
                <a:gd name="T49" fmla="*/ 0 h 945"/>
                <a:gd name="T50" fmla="*/ 589 w 1691"/>
                <a:gd name="T51" fmla="*/ 0 h 9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91" h="945">
                  <a:moveTo>
                    <a:pt x="1096" y="616"/>
                  </a:moveTo>
                  <a:lnTo>
                    <a:pt x="1264" y="149"/>
                  </a:lnTo>
                  <a:lnTo>
                    <a:pt x="1436" y="616"/>
                  </a:lnTo>
                  <a:lnTo>
                    <a:pt x="1096" y="616"/>
                  </a:lnTo>
                  <a:close/>
                  <a:moveTo>
                    <a:pt x="1555" y="945"/>
                  </a:moveTo>
                  <a:lnTo>
                    <a:pt x="1555" y="945"/>
                  </a:lnTo>
                  <a:lnTo>
                    <a:pt x="1691" y="945"/>
                  </a:lnTo>
                  <a:lnTo>
                    <a:pt x="1336" y="0"/>
                  </a:lnTo>
                  <a:lnTo>
                    <a:pt x="1194" y="0"/>
                  </a:lnTo>
                  <a:lnTo>
                    <a:pt x="841" y="945"/>
                  </a:lnTo>
                  <a:lnTo>
                    <a:pt x="975" y="945"/>
                  </a:lnTo>
                  <a:lnTo>
                    <a:pt x="1053" y="732"/>
                  </a:lnTo>
                  <a:lnTo>
                    <a:pt x="1479" y="732"/>
                  </a:lnTo>
                  <a:lnTo>
                    <a:pt x="1555" y="945"/>
                  </a:lnTo>
                  <a:close/>
                  <a:moveTo>
                    <a:pt x="589" y="0"/>
                  </a:moveTo>
                  <a:lnTo>
                    <a:pt x="589" y="0"/>
                  </a:lnTo>
                  <a:lnTo>
                    <a:pt x="589" y="705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945"/>
                  </a:lnTo>
                  <a:lnTo>
                    <a:pt x="127" y="945"/>
                  </a:lnTo>
                  <a:lnTo>
                    <a:pt x="127" y="238"/>
                  </a:lnTo>
                  <a:lnTo>
                    <a:pt x="613" y="945"/>
                  </a:lnTo>
                  <a:lnTo>
                    <a:pt x="716" y="945"/>
                  </a:lnTo>
                  <a:lnTo>
                    <a:pt x="716" y="0"/>
                  </a:lnTo>
                  <a:lnTo>
                    <a:pt x="58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/>
            </a:p>
          </p:txBody>
        </p:sp>
      </p:grpSp>
      <p:pic>
        <p:nvPicPr>
          <p:cNvPr id="1067" name="Obrázek 1066">
            <a:extLst>
              <a:ext uri="{FF2B5EF4-FFF2-40B4-BE49-F238E27FC236}">
                <a16:creationId xmlns:a16="http://schemas.microsoft.com/office/drawing/2014/main" id="{37979C49-9CE1-32D7-C18F-E3F7701675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9448" y="5177962"/>
            <a:ext cx="858082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15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Zástupný symbol pro obsah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4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289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000" dirty="0">
                <a:latin typeface="Metropolis" panose="00000500000000000000" pitchFamily="50" charset="0"/>
              </a:rPr>
              <a:t>Na kole jen s přilbou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825625"/>
            <a:ext cx="6001987" cy="4351338"/>
          </a:xfrm>
        </p:spPr>
        <p:txBody>
          <a:bodyPr/>
          <a:lstStyle/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13. ročník kampaně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69 partnerů (Policie ČR, ČKP, Horská služba, Ministerstvo dopravy, SMO, Platforma VIZE 0, 13 krajů, 31 měst, soukromý sektor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Multiplikace projektu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Důraz na kontaktní kampaň</a:t>
            </a:r>
          </a:p>
          <a:p>
            <a:endParaRPr lang="cs-CZ" dirty="0"/>
          </a:p>
        </p:txBody>
      </p:sp>
      <p:pic>
        <p:nvPicPr>
          <p:cNvPr id="17" name="Obrázek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394" y="0"/>
            <a:ext cx="4848606" cy="6858000"/>
          </a:xfrm>
          <a:prstGeom prst="rect">
            <a:avLst/>
          </a:prstGeom>
        </p:spPr>
      </p:pic>
      <p:pic>
        <p:nvPicPr>
          <p:cNvPr id="5" name="Obrázek 4" descr="Obsah obrázku Grafika, design&#10;&#10;Popis byl vytvořen automaticky">
            <a:extLst>
              <a:ext uri="{FF2B5EF4-FFF2-40B4-BE49-F238E27FC236}">
                <a16:creationId xmlns:a16="http://schemas.microsoft.com/office/drawing/2014/main" id="{C4B5CB7B-84C6-4DB8-2EFF-1FD5A6EA40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011823"/>
            <a:ext cx="1211120" cy="48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67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000" dirty="0">
                <a:latin typeface="Metropolis" panose="00000500000000000000" pitchFamily="50" charset="0"/>
              </a:rPr>
              <a:t>Témat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1" y="1825625"/>
            <a:ext cx="6091052" cy="2841378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Metropolis Extra Light" panose="00000300000000000000" pitchFamily="50" charset="0"/>
              </a:rPr>
              <a:t>Cyklistická přilba a její správné používání</a:t>
            </a:r>
          </a:p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Metropolis Extra Light" panose="00000300000000000000" pitchFamily="50" charset="0"/>
              </a:rPr>
              <a:t>Pravidla a povinnosti cyklistů</a:t>
            </a:r>
          </a:p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Metropolis Extra Light" panose="00000300000000000000" pitchFamily="50" charset="0"/>
              </a:rPr>
              <a:t>Alkohol </a:t>
            </a:r>
          </a:p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Metropolis Extra Light" panose="00000300000000000000" pitchFamily="50" charset="0"/>
              </a:rPr>
              <a:t>Viditelnost</a:t>
            </a:r>
          </a:p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Metropolis Extra Light" panose="00000300000000000000" pitchFamily="50" charset="0"/>
              </a:rPr>
              <a:t>Jízda s dětmi</a:t>
            </a:r>
          </a:p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Metropolis Extra Light" panose="00000300000000000000" pitchFamily="50" charset="0"/>
              </a:rPr>
              <a:t>Jízda ve městě</a:t>
            </a:r>
          </a:p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 err="1">
                <a:latin typeface="Metropolis Extra Light" panose="00000300000000000000" pitchFamily="50" charset="0"/>
              </a:rPr>
              <a:t>Elektrokola</a:t>
            </a:r>
            <a:r>
              <a:rPr lang="cs-CZ" sz="1800" dirty="0">
                <a:latin typeface="Metropolis Extra Light" panose="00000300000000000000" pitchFamily="50" charset="0"/>
              </a:rPr>
              <a:t>, </a:t>
            </a:r>
            <a:r>
              <a:rPr lang="cs-CZ" sz="1800" dirty="0" err="1">
                <a:latin typeface="Metropolis Extra Light" panose="00000300000000000000" pitchFamily="50" charset="0"/>
              </a:rPr>
              <a:t>elektrokoloběžky</a:t>
            </a:r>
            <a:endParaRPr lang="cs-CZ" sz="1800" dirty="0">
              <a:latin typeface="Metropolis Extra Light" panose="00000300000000000000" pitchFamily="50" charset="0"/>
            </a:endParaRPr>
          </a:p>
          <a:p>
            <a:pPr>
              <a:lnSpc>
                <a:spcPct val="110000"/>
              </a:lnSpc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800" dirty="0">
                <a:latin typeface="Metropolis Extra Light" panose="00000300000000000000" pitchFamily="50" charset="0"/>
              </a:rPr>
              <a:t>Cyklistická infrastruktura</a:t>
            </a:r>
          </a:p>
          <a:p>
            <a:endParaRPr lang="cs-CZ" dirty="0"/>
          </a:p>
          <a:p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394" y="0"/>
            <a:ext cx="4848606" cy="6858000"/>
          </a:xfrm>
          <a:prstGeom prst="rect">
            <a:avLst/>
          </a:prstGeom>
        </p:spPr>
      </p:pic>
      <p:pic>
        <p:nvPicPr>
          <p:cNvPr id="4" name="Obrázek 3" descr="Obsah obrázku Grafika, design&#10;&#10;Popis byl vytvořen automaticky">
            <a:extLst>
              <a:ext uri="{FF2B5EF4-FFF2-40B4-BE49-F238E27FC236}">
                <a16:creationId xmlns:a16="http://schemas.microsoft.com/office/drawing/2014/main" id="{75C101A1-5281-1A10-83C6-9FBB948253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011823"/>
            <a:ext cx="1211120" cy="48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93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000" dirty="0">
                <a:latin typeface="Metropolis" panose="00000500000000000000" pitchFamily="50" charset="0"/>
              </a:rPr>
              <a:t>Na kole jen s přilbou 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38200" y="1825625"/>
            <a:ext cx="5859483" cy="4351338"/>
          </a:xfrm>
        </p:spPr>
        <p:txBody>
          <a:bodyPr>
            <a:normAutofit/>
          </a:bodyPr>
          <a:lstStyle/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80+ akcí  (</a:t>
            </a:r>
            <a:r>
              <a:rPr lang="cs-CZ" sz="1500" dirty="0" err="1">
                <a:latin typeface="Metropolis Extra Light" panose="00000300000000000000" pitchFamily="50" charset="0"/>
              </a:rPr>
              <a:t>cyklohlídky</a:t>
            </a:r>
            <a:r>
              <a:rPr lang="cs-CZ" sz="1500" dirty="0">
                <a:latin typeface="Metropolis Extra Light" panose="00000300000000000000" pitchFamily="50" charset="0"/>
              </a:rPr>
              <a:t>, prezentace na veřejných akcích)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23 000+ oslovených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dalších cca 380 akcí provedených partnery pod logem kampaně Na kole jen s přilbou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Distribuce </a:t>
            </a:r>
            <a:r>
              <a:rPr lang="cs-CZ" sz="1500" dirty="0" err="1">
                <a:latin typeface="Metropolis Extra Light" panose="00000300000000000000" pitchFamily="50" charset="0"/>
              </a:rPr>
              <a:t>info</a:t>
            </a:r>
            <a:r>
              <a:rPr lang="cs-CZ" sz="1500" dirty="0">
                <a:latin typeface="Metropolis Extra Light" panose="00000300000000000000" pitchFamily="50" charset="0"/>
              </a:rPr>
              <a:t> materiálů, </a:t>
            </a:r>
            <a:r>
              <a:rPr lang="cs-CZ" sz="1500" dirty="0" err="1">
                <a:latin typeface="Metropolis Extra Light" panose="00000300000000000000" pitchFamily="50" charset="0"/>
              </a:rPr>
              <a:t>cyklomap</a:t>
            </a:r>
            <a:endParaRPr lang="cs-CZ" sz="1500" dirty="0">
              <a:latin typeface="Metropolis Extra Light" panose="00000300000000000000" pitchFamily="50" charset="0"/>
            </a:endParaRP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Distribuce reflexních materiálů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Plakátovací a reklamní plochy, média a online</a:t>
            </a:r>
          </a:p>
          <a:p>
            <a:pPr>
              <a:buClr>
                <a:srgbClr val="009EE0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latin typeface="Metropolis Extra Light" panose="00000300000000000000" pitchFamily="50" charset="0"/>
              </a:rPr>
              <a:t>Soutěže o hodnotné ceny </a:t>
            </a:r>
            <a:endParaRPr lang="cs-CZ" dirty="0"/>
          </a:p>
          <a:p>
            <a:endParaRPr lang="cs-CZ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3394" y="0"/>
            <a:ext cx="4848606" cy="6858000"/>
          </a:xfrm>
          <a:prstGeom prst="rect">
            <a:avLst/>
          </a:prstGeom>
        </p:spPr>
      </p:pic>
      <p:pic>
        <p:nvPicPr>
          <p:cNvPr id="5" name="Obrázek 4" descr="Obsah obrázku Grafika, design&#10;&#10;Popis byl vytvořen automaticky">
            <a:extLst>
              <a:ext uri="{FF2B5EF4-FFF2-40B4-BE49-F238E27FC236}">
                <a16:creationId xmlns:a16="http://schemas.microsoft.com/office/drawing/2014/main" id="{29D4D4D1-7965-9B32-45CA-4CEFB018B8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011823"/>
            <a:ext cx="1211120" cy="48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746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ancelář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Kancelář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394</TotalTime>
  <Words>901</Words>
  <Application>Microsoft Office PowerPoint</Application>
  <PresentationFormat>Širokoúhlá obrazovka</PresentationFormat>
  <Paragraphs>169</Paragraphs>
  <Slides>26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26</vt:i4>
      </vt:variant>
    </vt:vector>
  </HeadingPairs>
  <TitlesOfParts>
    <vt:vector size="38" baseType="lpstr">
      <vt:lpstr>.AppleSystemUIFont</vt:lpstr>
      <vt:lpstr>Arial</vt:lpstr>
      <vt:lpstr>Arial Black</vt:lpstr>
      <vt:lpstr>Calibri</vt:lpstr>
      <vt:lpstr>Calibri Light</vt:lpstr>
      <vt:lpstr>Metropolis</vt:lpstr>
      <vt:lpstr>Metropolis Extra Light</vt:lpstr>
      <vt:lpstr>Roboto</vt:lpstr>
      <vt:lpstr>Wingdings</vt:lpstr>
      <vt:lpstr>Motiv Office</vt:lpstr>
      <vt:lpstr>Chart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Na kole jen s přilbou </vt:lpstr>
      <vt:lpstr>Témata</vt:lpstr>
      <vt:lpstr>Na kole jen s přilbou </vt:lpstr>
      <vt:lpstr>Bezpečný cyklista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Policie Č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STRAKA Jan</dc:creator>
  <cp:lastModifiedBy>PIDRMANOVÁ Zuzana</cp:lastModifiedBy>
  <cp:revision>214</cp:revision>
  <cp:lastPrinted>2022-01-07T07:09:44Z</cp:lastPrinted>
  <dcterms:created xsi:type="dcterms:W3CDTF">2022-01-03T07:00:04Z</dcterms:created>
  <dcterms:modified xsi:type="dcterms:W3CDTF">2023-04-24T09:32:55Z</dcterms:modified>
</cp:coreProperties>
</file>